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4"/>
  </p:sldMasterIdLst>
  <p:notesMasterIdLst>
    <p:notesMasterId r:id="rId36"/>
  </p:notesMasterIdLst>
  <p:sldIdLst>
    <p:sldId id="2147481649" r:id="rId5"/>
    <p:sldId id="2147483036" r:id="rId6"/>
    <p:sldId id="279" r:id="rId7"/>
    <p:sldId id="2147481628" r:id="rId8"/>
    <p:sldId id="2147483023" r:id="rId9"/>
    <p:sldId id="2147482989" r:id="rId10"/>
    <p:sldId id="2147483011" r:id="rId11"/>
    <p:sldId id="2147483020" r:id="rId12"/>
    <p:sldId id="2147483022" r:id="rId13"/>
    <p:sldId id="2147483120" r:id="rId14"/>
    <p:sldId id="2147483297" r:id="rId15"/>
    <p:sldId id="2147483026" r:id="rId16"/>
    <p:sldId id="2147483285" r:id="rId17"/>
    <p:sldId id="2147483028" r:id="rId18"/>
    <p:sldId id="2147483298" r:id="rId19"/>
    <p:sldId id="2147483287" r:id="rId20"/>
    <p:sldId id="2147483119" r:id="rId21"/>
    <p:sldId id="2147483031" r:id="rId22"/>
    <p:sldId id="2147483034" r:id="rId23"/>
    <p:sldId id="2147483044" r:id="rId24"/>
    <p:sldId id="2147483279" r:id="rId25"/>
    <p:sldId id="2147483274" r:id="rId26"/>
    <p:sldId id="2147483278" r:id="rId27"/>
    <p:sldId id="2147483288" r:id="rId28"/>
    <p:sldId id="2147483290" r:id="rId29"/>
    <p:sldId id="2147483295" r:id="rId30"/>
    <p:sldId id="2147483294" r:id="rId31"/>
    <p:sldId id="2147483293" r:id="rId32"/>
    <p:sldId id="2147483014" r:id="rId33"/>
    <p:sldId id="2147483035" r:id="rId34"/>
    <p:sldId id="310" r:id="rId35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092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http://customooxmlschemas.google.com/">
      <go:slidesCustomData xmlns=""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r:id="rId50" roundtripDataSignature="AMtx7mh3YP3xexYcFoahXa2ehi0H5V4Zaw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6836227-867B-D034-F107-B8728CBBEEC9}" name="LICHT Alexandra (EAC)" initials="L(" userId="S::alexandra.licht@ec.europa.eu::2643f3fa-8068-4eea-8577-90fa8e2ecad7" providerId="AD"/>
  <p188:author id="{49B91182-36B6-E847-4858-5952C0AC1DED}" name="AGUILAR MENDEZ Victor (EAC)" initials="VA" userId="S::Victor.AGUILAR-MENDEZ@ec.europa.eu::64ad853c-9484-49d3-bef4-c421194e353e" providerId="AD"/>
  <p188:author id="{E1435989-CF0C-01A3-7860-B7EA12A95F19}" name="Giacomo Bulian" initials="GB" userId="S::gibulian@emeal.nttdata.com::68f6dbed-ead1-46cb-9e4b-b45a5a79b583" providerId="AD"/>
  <p188:author id="{97A984EE-FB31-D24D-2E6F-A59932182F83}" name="Valere Meus" initials="VM" userId="S::valere.meus@uni-foundation.eu::e1466721-85b6-4fbf-ab1d-ece668a387a1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B2C71"/>
    <a:srgbClr val="D9D9D9"/>
    <a:srgbClr val="35528C"/>
    <a:srgbClr val="4D4D4D"/>
    <a:srgbClr val="A6A6A6"/>
    <a:srgbClr val="00B050"/>
    <a:srgbClr val="FF0000"/>
    <a:srgbClr val="000000"/>
    <a:srgbClr val="FFC000"/>
    <a:srgbClr val="005F9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CF6F727-DF4A-D665-893B-69374821CFCC}" v="12" dt="2025-09-30T16:44:36.23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002" autoAdjust="0"/>
    <p:restoredTop sz="95033" autoAdjust="0"/>
  </p:normalViewPr>
  <p:slideViewPr>
    <p:cSldViewPr snapToGrid="0">
      <p:cViewPr varScale="1">
        <p:scale>
          <a:sx n="69" d="100"/>
          <a:sy n="69" d="100"/>
        </p:scale>
        <p:origin x="946" y="58"/>
      </p:cViewPr>
      <p:guideLst>
        <p:guide orient="horz" pos="2092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50" Type="http://customschemas.google.com/relationships/presentationmetadata" Target="metadata"/><Relationship Id="rId55" Type="http://schemas.microsoft.com/office/2016/11/relationships/changesInfo" Target="changesInfos/changesInfo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54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53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notesMaster" Target="notesMasters/notesMaster1.xml"/><Relationship Id="rId57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52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56" Type="http://schemas.microsoft.com/office/2015/10/relationships/revisionInfo" Target="revisionInfo.xml"/><Relationship Id="rId8" Type="http://schemas.openxmlformats.org/officeDocument/2006/relationships/slide" Target="slides/slide4.xml"/><Relationship Id="rId51" Type="http://schemas.openxmlformats.org/officeDocument/2006/relationships/presProps" Target="pres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GUILAR MENDEZ Victor (EAC)" userId="64ad853c-9484-49d3-bef4-c421194e353e" providerId="ADAL" clId="{3E6DDA6C-09A9-4B5C-9499-99AD2AB05E52}"/>
    <pc:docChg chg="undo custSel addSld delSld modSld sldOrd">
      <pc:chgData name="AGUILAR MENDEZ Victor (EAC)" userId="64ad853c-9484-49d3-bef4-c421194e353e" providerId="ADAL" clId="{3E6DDA6C-09A9-4B5C-9499-99AD2AB05E52}" dt="2025-09-23T16:16:49.426" v="575" actId="1076"/>
      <pc:docMkLst>
        <pc:docMk/>
      </pc:docMkLst>
      <pc:sldChg chg="modSp mod">
        <pc:chgData name="AGUILAR MENDEZ Victor (EAC)" userId="64ad853c-9484-49d3-bef4-c421194e353e" providerId="ADAL" clId="{3E6DDA6C-09A9-4B5C-9499-99AD2AB05E52}" dt="2025-09-23T15:49:30.979" v="359" actId="20577"/>
        <pc:sldMkLst>
          <pc:docMk/>
          <pc:sldMk cId="1274045061" sldId="2147483011"/>
        </pc:sldMkLst>
        <pc:spChg chg="mod">
          <ac:chgData name="AGUILAR MENDEZ Victor (EAC)" userId="64ad853c-9484-49d3-bef4-c421194e353e" providerId="ADAL" clId="{3E6DDA6C-09A9-4B5C-9499-99AD2AB05E52}" dt="2025-09-23T15:49:30.979" v="359" actId="20577"/>
          <ac:spMkLst>
            <pc:docMk/>
            <pc:sldMk cId="1274045061" sldId="2147483011"/>
            <ac:spMk id="4" creationId="{B1B68C3B-35EA-B542-17DE-CE3DBFA0CDEF}"/>
          </ac:spMkLst>
        </pc:spChg>
      </pc:sldChg>
      <pc:sldChg chg="modSp mod modCm">
        <pc:chgData name="AGUILAR MENDEZ Victor (EAC)" userId="64ad853c-9484-49d3-bef4-c421194e353e" providerId="ADAL" clId="{3E6DDA6C-09A9-4B5C-9499-99AD2AB05E52}" dt="2025-09-23T16:16:49.426" v="575" actId="1076"/>
        <pc:sldMkLst>
          <pc:docMk/>
          <pc:sldMk cId="2109550326" sldId="2147483022"/>
        </pc:sldMkLst>
        <pc:spChg chg="mod">
          <ac:chgData name="AGUILAR MENDEZ Victor (EAC)" userId="64ad853c-9484-49d3-bef4-c421194e353e" providerId="ADAL" clId="{3E6DDA6C-09A9-4B5C-9499-99AD2AB05E52}" dt="2025-09-23T15:48:17.098" v="353" actId="20577"/>
          <ac:spMkLst>
            <pc:docMk/>
            <pc:sldMk cId="2109550326" sldId="2147483022"/>
            <ac:spMk id="2" creationId="{A3865A35-0FB1-6BC2-20AD-3D0D25E3BD89}"/>
          </ac:spMkLst>
        </pc:spChg>
        <pc:spChg chg="mod">
          <ac:chgData name="AGUILAR MENDEZ Victor (EAC)" userId="64ad853c-9484-49d3-bef4-c421194e353e" providerId="ADAL" clId="{3E6DDA6C-09A9-4B5C-9499-99AD2AB05E52}" dt="2025-09-23T15:48:19.697" v="354" actId="20577"/>
          <ac:spMkLst>
            <pc:docMk/>
            <pc:sldMk cId="2109550326" sldId="2147483022"/>
            <ac:spMk id="4" creationId="{5E7837E8-189F-FB31-034D-B36D314A23C3}"/>
          </ac:spMkLst>
        </pc:spChg>
        <pc:spChg chg="mod">
          <ac:chgData name="AGUILAR MENDEZ Victor (EAC)" userId="64ad853c-9484-49d3-bef4-c421194e353e" providerId="ADAL" clId="{3E6DDA6C-09A9-4B5C-9499-99AD2AB05E52}" dt="2025-09-23T16:16:49.426" v="575" actId="1076"/>
          <ac:spMkLst>
            <pc:docMk/>
            <pc:sldMk cId="2109550326" sldId="2147483022"/>
            <ac:spMk id="7" creationId="{99190799-ACA2-7FEA-BD39-E0B7770A34BD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AGUILAR MENDEZ Victor (EAC)" userId="64ad853c-9484-49d3-bef4-c421194e353e" providerId="ADAL" clId="{3E6DDA6C-09A9-4B5C-9499-99AD2AB05E52}" dt="2025-09-23T16:16:46.352" v="574" actId="20577"/>
              <pc2:cmMkLst xmlns:pc2="http://schemas.microsoft.com/office/powerpoint/2019/9/main/command">
                <pc:docMk/>
                <pc:sldMk cId="2109550326" sldId="2147483022"/>
                <pc2:cmMk id="{158D1B63-54E1-4554-9C37-6743DC812F3E}"/>
              </pc2:cmMkLst>
            </pc226:cmChg>
            <pc226:cmChg xmlns:pc226="http://schemas.microsoft.com/office/powerpoint/2022/06/main/command" chg="mod">
              <pc226:chgData name="AGUILAR MENDEZ Victor (EAC)" userId="64ad853c-9484-49d3-bef4-c421194e353e" providerId="ADAL" clId="{3E6DDA6C-09A9-4B5C-9499-99AD2AB05E52}" dt="2025-09-23T16:16:46.352" v="574" actId="20577"/>
              <pc2:cmMkLst xmlns:pc2="http://schemas.microsoft.com/office/powerpoint/2019/9/main/command">
                <pc:docMk/>
                <pc:sldMk cId="2109550326" sldId="2147483022"/>
                <pc2:cmMk id="{2C26A863-E487-4354-AD0B-10BC49DE221E}"/>
              </pc2:cmMkLst>
            </pc226:cmChg>
            <pc226:cmChg xmlns:pc226="http://schemas.microsoft.com/office/powerpoint/2022/06/main/command" chg="mod">
              <pc226:chgData name="AGUILAR MENDEZ Victor (EAC)" userId="64ad853c-9484-49d3-bef4-c421194e353e" providerId="ADAL" clId="{3E6DDA6C-09A9-4B5C-9499-99AD2AB05E52}" dt="2025-09-23T16:16:46.352" v="574" actId="20577"/>
              <pc2:cmMkLst xmlns:pc2="http://schemas.microsoft.com/office/powerpoint/2019/9/main/command">
                <pc:docMk/>
                <pc:sldMk cId="2109550326" sldId="2147483022"/>
                <pc2:cmMk id="{D8EEC9BA-3975-4B97-B67B-C85DDA27FC4C}"/>
              </pc2:cmMkLst>
            </pc226:cmChg>
          </p:ext>
        </pc:extLst>
      </pc:sldChg>
      <pc:sldChg chg="modSp mod">
        <pc:chgData name="AGUILAR MENDEZ Victor (EAC)" userId="64ad853c-9484-49d3-bef4-c421194e353e" providerId="ADAL" clId="{3E6DDA6C-09A9-4B5C-9499-99AD2AB05E52}" dt="2025-09-23T16:15:28.495" v="520" actId="1076"/>
        <pc:sldMkLst>
          <pc:docMk/>
          <pc:sldMk cId="4188114031" sldId="2147483026"/>
        </pc:sldMkLst>
        <pc:spChg chg="mod">
          <ac:chgData name="AGUILAR MENDEZ Victor (EAC)" userId="64ad853c-9484-49d3-bef4-c421194e353e" providerId="ADAL" clId="{3E6DDA6C-09A9-4B5C-9499-99AD2AB05E52}" dt="2025-09-23T16:15:28.495" v="520" actId="1076"/>
          <ac:spMkLst>
            <pc:docMk/>
            <pc:sldMk cId="4188114031" sldId="2147483026"/>
            <ac:spMk id="3" creationId="{D7018CEF-3CE0-F85E-D1F5-6402D1DAE3AB}"/>
          </ac:spMkLst>
        </pc:spChg>
      </pc:sldChg>
      <pc:sldChg chg="addSp delSp modSp mod">
        <pc:chgData name="AGUILAR MENDEZ Victor (EAC)" userId="64ad853c-9484-49d3-bef4-c421194e353e" providerId="ADAL" clId="{3E6DDA6C-09A9-4B5C-9499-99AD2AB05E52}" dt="2025-09-23T15:52:04.831" v="384" actId="1076"/>
        <pc:sldMkLst>
          <pc:docMk/>
          <pc:sldMk cId="2294442549" sldId="2147483028"/>
        </pc:sldMkLst>
        <pc:spChg chg="mod">
          <ac:chgData name="AGUILAR MENDEZ Victor (EAC)" userId="64ad853c-9484-49d3-bef4-c421194e353e" providerId="ADAL" clId="{3E6DDA6C-09A9-4B5C-9499-99AD2AB05E52}" dt="2025-09-23T15:50:46.787" v="382" actId="1035"/>
          <ac:spMkLst>
            <pc:docMk/>
            <pc:sldMk cId="2294442549" sldId="2147483028"/>
            <ac:spMk id="2" creationId="{71CE5A09-D2FF-EDBA-7B5C-43F1D670EC1C}"/>
          </ac:spMkLst>
        </pc:spChg>
        <pc:spChg chg="add mod">
          <ac:chgData name="AGUILAR MENDEZ Victor (EAC)" userId="64ad853c-9484-49d3-bef4-c421194e353e" providerId="ADAL" clId="{3E6DDA6C-09A9-4B5C-9499-99AD2AB05E52}" dt="2025-09-23T15:51:58.309" v="383" actId="1076"/>
          <ac:spMkLst>
            <pc:docMk/>
            <pc:sldMk cId="2294442549" sldId="2147483028"/>
            <ac:spMk id="3" creationId="{CB3724AC-D1AB-4EE6-FA8A-8F5585A477B1}"/>
          </ac:spMkLst>
        </pc:spChg>
        <pc:spChg chg="mod">
          <ac:chgData name="AGUILAR MENDEZ Victor (EAC)" userId="64ad853c-9484-49d3-bef4-c421194e353e" providerId="ADAL" clId="{3E6DDA6C-09A9-4B5C-9499-99AD2AB05E52}" dt="2025-09-23T15:50:40.534" v="365"/>
          <ac:spMkLst>
            <pc:docMk/>
            <pc:sldMk cId="2294442549" sldId="2147483028"/>
            <ac:spMk id="6" creationId="{B60EC1D0-9BD2-9761-FA6B-13429FC68DDE}"/>
          </ac:spMkLst>
        </pc:spChg>
        <pc:spChg chg="mod">
          <ac:chgData name="AGUILAR MENDEZ Victor (EAC)" userId="64ad853c-9484-49d3-bef4-c421194e353e" providerId="ADAL" clId="{3E6DDA6C-09A9-4B5C-9499-99AD2AB05E52}" dt="2025-09-23T15:50:40.534" v="365"/>
          <ac:spMkLst>
            <pc:docMk/>
            <pc:sldMk cId="2294442549" sldId="2147483028"/>
            <ac:spMk id="49" creationId="{3AC13E74-C18E-20AF-2AA1-0B0FF7FF661A}"/>
          </ac:spMkLst>
        </pc:spChg>
        <pc:spChg chg="mod">
          <ac:chgData name="AGUILAR MENDEZ Victor (EAC)" userId="64ad853c-9484-49d3-bef4-c421194e353e" providerId="ADAL" clId="{3E6DDA6C-09A9-4B5C-9499-99AD2AB05E52}" dt="2025-09-23T15:50:40.534" v="365"/>
          <ac:spMkLst>
            <pc:docMk/>
            <pc:sldMk cId="2294442549" sldId="2147483028"/>
            <ac:spMk id="52" creationId="{079EBBAD-7797-6F64-DC44-A69D6B4527E6}"/>
          </ac:spMkLst>
        </pc:spChg>
        <pc:spChg chg="mod">
          <ac:chgData name="AGUILAR MENDEZ Victor (EAC)" userId="64ad853c-9484-49d3-bef4-c421194e353e" providerId="ADAL" clId="{3E6DDA6C-09A9-4B5C-9499-99AD2AB05E52}" dt="2025-09-23T15:50:40.534" v="365"/>
          <ac:spMkLst>
            <pc:docMk/>
            <pc:sldMk cId="2294442549" sldId="2147483028"/>
            <ac:spMk id="53" creationId="{44EFC760-8BAC-776A-840A-589C84F491B0}"/>
          </ac:spMkLst>
        </pc:spChg>
        <pc:spChg chg="mod">
          <ac:chgData name="AGUILAR MENDEZ Victor (EAC)" userId="64ad853c-9484-49d3-bef4-c421194e353e" providerId="ADAL" clId="{3E6DDA6C-09A9-4B5C-9499-99AD2AB05E52}" dt="2025-09-23T15:50:40.534" v="365"/>
          <ac:spMkLst>
            <pc:docMk/>
            <pc:sldMk cId="2294442549" sldId="2147483028"/>
            <ac:spMk id="55" creationId="{E57940B3-F477-EF67-E6A3-CAFE907B3A49}"/>
          </ac:spMkLst>
        </pc:spChg>
        <pc:spChg chg="mod">
          <ac:chgData name="AGUILAR MENDEZ Victor (EAC)" userId="64ad853c-9484-49d3-bef4-c421194e353e" providerId="ADAL" clId="{3E6DDA6C-09A9-4B5C-9499-99AD2AB05E52}" dt="2025-09-23T15:50:40.534" v="365"/>
          <ac:spMkLst>
            <pc:docMk/>
            <pc:sldMk cId="2294442549" sldId="2147483028"/>
            <ac:spMk id="56" creationId="{EE3060EE-CF8E-E301-72F4-DA1EEB215BB4}"/>
          </ac:spMkLst>
        </pc:spChg>
        <pc:grpChg chg="mod">
          <ac:chgData name="AGUILAR MENDEZ Victor (EAC)" userId="64ad853c-9484-49d3-bef4-c421194e353e" providerId="ADAL" clId="{3E6DDA6C-09A9-4B5C-9499-99AD2AB05E52}" dt="2025-09-23T15:52:04.831" v="384" actId="1076"/>
          <ac:grpSpMkLst>
            <pc:docMk/>
            <pc:sldMk cId="2294442549" sldId="2147483028"/>
            <ac:grpSpMk id="5" creationId="{CDE64C54-AECC-BAB7-1CD3-C8B0842C5B5A}"/>
          </ac:grpSpMkLst>
        </pc:grpChg>
        <pc:grpChg chg="add mod">
          <ac:chgData name="AGUILAR MENDEZ Victor (EAC)" userId="64ad853c-9484-49d3-bef4-c421194e353e" providerId="ADAL" clId="{3E6DDA6C-09A9-4B5C-9499-99AD2AB05E52}" dt="2025-09-23T15:52:04.831" v="384" actId="1076"/>
          <ac:grpSpMkLst>
            <pc:docMk/>
            <pc:sldMk cId="2294442549" sldId="2147483028"/>
            <ac:grpSpMk id="50" creationId="{03DA1066-AE48-02FE-74C4-ACC644E98A66}"/>
          </ac:grpSpMkLst>
        </pc:grpChg>
        <pc:grpChg chg="add mod">
          <ac:chgData name="AGUILAR MENDEZ Victor (EAC)" userId="64ad853c-9484-49d3-bef4-c421194e353e" providerId="ADAL" clId="{3E6DDA6C-09A9-4B5C-9499-99AD2AB05E52}" dt="2025-09-23T15:52:04.831" v="384" actId="1076"/>
          <ac:grpSpMkLst>
            <pc:docMk/>
            <pc:sldMk cId="2294442549" sldId="2147483028"/>
            <ac:grpSpMk id="54" creationId="{4D6E2427-5F4E-BBDE-B6C9-3257AD8694F5}"/>
          </ac:grpSpMkLst>
        </pc:grpChg>
        <pc:picChg chg="add mod">
          <ac:chgData name="AGUILAR MENDEZ Victor (EAC)" userId="64ad853c-9484-49d3-bef4-c421194e353e" providerId="ADAL" clId="{3E6DDA6C-09A9-4B5C-9499-99AD2AB05E52}" dt="2025-09-23T15:52:04.831" v="384" actId="1076"/>
          <ac:picMkLst>
            <pc:docMk/>
            <pc:sldMk cId="2294442549" sldId="2147483028"/>
            <ac:picMk id="4" creationId="{737DFDF7-3A53-E11B-BF16-6533A030A40B}"/>
          </ac:picMkLst>
        </pc:picChg>
      </pc:sldChg>
      <pc:sldChg chg="modSp mod modCm">
        <pc:chgData name="AGUILAR MENDEZ Victor (EAC)" userId="64ad853c-9484-49d3-bef4-c421194e353e" providerId="ADAL" clId="{3E6DDA6C-09A9-4B5C-9499-99AD2AB05E52}" dt="2025-09-23T15:42:06.980" v="352" actId="113"/>
        <pc:sldMkLst>
          <pc:docMk/>
          <pc:sldMk cId="2680825070" sldId="2147483034"/>
        </pc:sldMkLst>
        <pc:spChg chg="mod">
          <ac:chgData name="AGUILAR MENDEZ Victor (EAC)" userId="64ad853c-9484-49d3-bef4-c421194e353e" providerId="ADAL" clId="{3E6DDA6C-09A9-4B5C-9499-99AD2AB05E52}" dt="2025-09-23T15:38:12.496" v="87" actId="20577"/>
          <ac:spMkLst>
            <pc:docMk/>
            <pc:sldMk cId="2680825070" sldId="2147483034"/>
            <ac:spMk id="2" creationId="{C1C2FA32-7F51-4ADA-23A1-AFA442692343}"/>
          </ac:spMkLst>
        </pc:spChg>
        <pc:spChg chg="mod">
          <ac:chgData name="AGUILAR MENDEZ Victor (EAC)" userId="64ad853c-9484-49d3-bef4-c421194e353e" providerId="ADAL" clId="{3E6DDA6C-09A9-4B5C-9499-99AD2AB05E52}" dt="2025-09-23T15:42:06.980" v="352" actId="113"/>
          <ac:spMkLst>
            <pc:docMk/>
            <pc:sldMk cId="2680825070" sldId="2147483034"/>
            <ac:spMk id="6" creationId="{4B484857-3B4C-5A6D-B314-E9AAF5DDEEA2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AGUILAR MENDEZ Victor (EAC)" userId="64ad853c-9484-49d3-bef4-c421194e353e" providerId="ADAL" clId="{3E6DDA6C-09A9-4B5C-9499-99AD2AB05E52}" dt="2025-09-23T15:41:36.526" v="345" actId="20577"/>
              <pc2:cmMkLst xmlns:pc2="http://schemas.microsoft.com/office/powerpoint/2019/9/main/command">
                <pc:docMk/>
                <pc:sldMk cId="2680825070" sldId="2147483034"/>
                <pc2:cmMk id="{428E7A1E-68F6-4CF3-A6C0-7A6E3D3ABB72}"/>
              </pc2:cmMkLst>
            </pc226:cmChg>
          </p:ext>
        </pc:extLst>
      </pc:sldChg>
      <pc:sldChg chg="ord">
        <pc:chgData name="AGUILAR MENDEZ Victor (EAC)" userId="64ad853c-9484-49d3-bef4-c421194e353e" providerId="ADAL" clId="{3E6DDA6C-09A9-4B5C-9499-99AD2AB05E52}" dt="2025-09-23T15:31:27.907" v="0" actId="20578"/>
        <pc:sldMkLst>
          <pc:docMk/>
          <pc:sldMk cId="745376176" sldId="2147483036"/>
        </pc:sldMkLst>
      </pc:sldChg>
      <pc:sldChg chg="modSp mod">
        <pc:chgData name="AGUILAR MENDEZ Victor (EAC)" userId="64ad853c-9484-49d3-bef4-c421194e353e" providerId="ADAL" clId="{3E6DDA6C-09A9-4B5C-9499-99AD2AB05E52}" dt="2025-09-23T16:11:33.455" v="496" actId="6549"/>
        <pc:sldMkLst>
          <pc:docMk/>
          <pc:sldMk cId="3323650168" sldId="2147483297"/>
        </pc:sldMkLst>
        <pc:graphicFrameChg chg="modGraphic">
          <ac:chgData name="AGUILAR MENDEZ Victor (EAC)" userId="64ad853c-9484-49d3-bef4-c421194e353e" providerId="ADAL" clId="{3E6DDA6C-09A9-4B5C-9499-99AD2AB05E52}" dt="2025-09-23T16:11:33.455" v="496" actId="6549"/>
          <ac:graphicFrameMkLst>
            <pc:docMk/>
            <pc:sldMk cId="3323650168" sldId="2147483297"/>
            <ac:graphicFrameMk id="6" creationId="{E988A95A-02EE-EED6-69B5-19BE36007D33}"/>
          </ac:graphicFrameMkLst>
        </pc:graphicFrameChg>
      </pc:sldChg>
      <pc:sldChg chg="modSp add mod">
        <pc:chgData name="AGUILAR MENDEZ Victor (EAC)" userId="64ad853c-9484-49d3-bef4-c421194e353e" providerId="ADAL" clId="{3E6DDA6C-09A9-4B5C-9499-99AD2AB05E52}" dt="2025-09-23T15:52:30.672" v="432" actId="1035"/>
        <pc:sldMkLst>
          <pc:docMk/>
          <pc:sldMk cId="628420582" sldId="2147483298"/>
        </pc:sldMkLst>
        <pc:spChg chg="mod">
          <ac:chgData name="AGUILAR MENDEZ Victor (EAC)" userId="64ad853c-9484-49d3-bef4-c421194e353e" providerId="ADAL" clId="{3E6DDA6C-09A9-4B5C-9499-99AD2AB05E52}" dt="2025-09-23T15:52:21.607" v="419" actId="1035"/>
          <ac:spMkLst>
            <pc:docMk/>
            <pc:sldMk cId="628420582" sldId="2147483298"/>
            <ac:spMk id="8" creationId="{6D8EF380-8004-EB3C-C1CE-40FD952AC884}"/>
          </ac:spMkLst>
        </pc:spChg>
        <pc:spChg chg="mod">
          <ac:chgData name="AGUILAR MENDEZ Victor (EAC)" userId="64ad853c-9484-49d3-bef4-c421194e353e" providerId="ADAL" clId="{3E6DDA6C-09A9-4B5C-9499-99AD2AB05E52}" dt="2025-09-23T15:52:30.672" v="432" actId="1035"/>
          <ac:spMkLst>
            <pc:docMk/>
            <pc:sldMk cId="628420582" sldId="2147483298"/>
            <ac:spMk id="9" creationId="{3314F224-0D5A-C164-684F-682E95A02C2A}"/>
          </ac:spMkLst>
        </pc:spChg>
        <pc:spChg chg="mod">
          <ac:chgData name="AGUILAR MENDEZ Victor (EAC)" userId="64ad853c-9484-49d3-bef4-c421194e353e" providerId="ADAL" clId="{3E6DDA6C-09A9-4B5C-9499-99AD2AB05E52}" dt="2025-09-23T15:52:30.672" v="432" actId="1035"/>
          <ac:spMkLst>
            <pc:docMk/>
            <pc:sldMk cId="628420582" sldId="2147483298"/>
            <ac:spMk id="10" creationId="{A595AA32-595A-61A5-0E51-0E9867D9A671}"/>
          </ac:spMkLst>
        </pc:spChg>
        <pc:spChg chg="mod">
          <ac:chgData name="AGUILAR MENDEZ Victor (EAC)" userId="64ad853c-9484-49d3-bef4-c421194e353e" providerId="ADAL" clId="{3E6DDA6C-09A9-4B5C-9499-99AD2AB05E52}" dt="2025-09-23T15:52:30.672" v="432" actId="1035"/>
          <ac:spMkLst>
            <pc:docMk/>
            <pc:sldMk cId="628420582" sldId="2147483298"/>
            <ac:spMk id="11" creationId="{3313FC32-9483-03A6-FA38-045A480999E4}"/>
          </ac:spMkLst>
        </pc:spChg>
        <pc:spChg chg="mod">
          <ac:chgData name="AGUILAR MENDEZ Victor (EAC)" userId="64ad853c-9484-49d3-bef4-c421194e353e" providerId="ADAL" clId="{3E6DDA6C-09A9-4B5C-9499-99AD2AB05E52}" dt="2025-09-23T15:52:30.672" v="432" actId="1035"/>
          <ac:spMkLst>
            <pc:docMk/>
            <pc:sldMk cId="628420582" sldId="2147483298"/>
            <ac:spMk id="13" creationId="{DFFA30A3-AAA0-ADB6-E24A-E214B9F96AFE}"/>
          </ac:spMkLst>
        </pc:spChg>
        <pc:spChg chg="mod">
          <ac:chgData name="AGUILAR MENDEZ Victor (EAC)" userId="64ad853c-9484-49d3-bef4-c421194e353e" providerId="ADAL" clId="{3E6DDA6C-09A9-4B5C-9499-99AD2AB05E52}" dt="2025-09-23T15:52:30.672" v="432" actId="1035"/>
          <ac:spMkLst>
            <pc:docMk/>
            <pc:sldMk cId="628420582" sldId="2147483298"/>
            <ac:spMk id="14" creationId="{ADBE066E-0EEB-2C7C-506F-0DE7BAB8884C}"/>
          </ac:spMkLst>
        </pc:spChg>
        <pc:spChg chg="mod">
          <ac:chgData name="AGUILAR MENDEZ Victor (EAC)" userId="64ad853c-9484-49d3-bef4-c421194e353e" providerId="ADAL" clId="{3E6DDA6C-09A9-4B5C-9499-99AD2AB05E52}" dt="2025-09-23T15:52:30.672" v="432" actId="1035"/>
          <ac:spMkLst>
            <pc:docMk/>
            <pc:sldMk cId="628420582" sldId="2147483298"/>
            <ac:spMk id="15" creationId="{3D20758F-CECB-7976-ACDA-B1095D493B2E}"/>
          </ac:spMkLst>
        </pc:spChg>
        <pc:spChg chg="mod">
          <ac:chgData name="AGUILAR MENDEZ Victor (EAC)" userId="64ad853c-9484-49d3-bef4-c421194e353e" providerId="ADAL" clId="{3E6DDA6C-09A9-4B5C-9499-99AD2AB05E52}" dt="2025-09-23T15:52:21.607" v="419" actId="1035"/>
          <ac:spMkLst>
            <pc:docMk/>
            <pc:sldMk cId="628420582" sldId="2147483298"/>
            <ac:spMk id="16" creationId="{8E672F9D-7C8A-2783-1241-DFDAFBCF7174}"/>
          </ac:spMkLst>
        </pc:spChg>
        <pc:spChg chg="mod">
          <ac:chgData name="AGUILAR MENDEZ Victor (EAC)" userId="64ad853c-9484-49d3-bef4-c421194e353e" providerId="ADAL" clId="{3E6DDA6C-09A9-4B5C-9499-99AD2AB05E52}" dt="2025-09-23T15:52:21.607" v="419" actId="1035"/>
          <ac:spMkLst>
            <pc:docMk/>
            <pc:sldMk cId="628420582" sldId="2147483298"/>
            <ac:spMk id="17" creationId="{C2F769D8-6498-C9A7-B390-9EDE2C11E079}"/>
          </ac:spMkLst>
        </pc:spChg>
        <pc:spChg chg="mod">
          <ac:chgData name="AGUILAR MENDEZ Victor (EAC)" userId="64ad853c-9484-49d3-bef4-c421194e353e" providerId="ADAL" clId="{3E6DDA6C-09A9-4B5C-9499-99AD2AB05E52}" dt="2025-09-23T15:52:30.672" v="432" actId="1035"/>
          <ac:spMkLst>
            <pc:docMk/>
            <pc:sldMk cId="628420582" sldId="2147483298"/>
            <ac:spMk id="18" creationId="{7DE0F5C7-A6B1-B468-1C64-33FAB7F1C14C}"/>
          </ac:spMkLst>
        </pc:spChg>
        <pc:spChg chg="mod">
          <ac:chgData name="AGUILAR MENDEZ Victor (EAC)" userId="64ad853c-9484-49d3-bef4-c421194e353e" providerId="ADAL" clId="{3E6DDA6C-09A9-4B5C-9499-99AD2AB05E52}" dt="2025-09-23T15:52:30.672" v="432" actId="1035"/>
          <ac:spMkLst>
            <pc:docMk/>
            <pc:sldMk cId="628420582" sldId="2147483298"/>
            <ac:spMk id="19" creationId="{ED4563C3-3E62-FACB-FEAF-584C74201059}"/>
          </ac:spMkLst>
        </pc:spChg>
        <pc:spChg chg="mod">
          <ac:chgData name="AGUILAR MENDEZ Victor (EAC)" userId="64ad853c-9484-49d3-bef4-c421194e353e" providerId="ADAL" clId="{3E6DDA6C-09A9-4B5C-9499-99AD2AB05E52}" dt="2025-09-23T15:52:30.672" v="432" actId="1035"/>
          <ac:spMkLst>
            <pc:docMk/>
            <pc:sldMk cId="628420582" sldId="2147483298"/>
            <ac:spMk id="20" creationId="{E36C2B0B-5DE2-8E5A-0C82-FCA23EA7E64D}"/>
          </ac:spMkLst>
        </pc:spChg>
        <pc:spChg chg="mod">
          <ac:chgData name="AGUILAR MENDEZ Victor (EAC)" userId="64ad853c-9484-49d3-bef4-c421194e353e" providerId="ADAL" clId="{3E6DDA6C-09A9-4B5C-9499-99AD2AB05E52}" dt="2025-09-23T15:52:30.672" v="432" actId="1035"/>
          <ac:spMkLst>
            <pc:docMk/>
            <pc:sldMk cId="628420582" sldId="2147483298"/>
            <ac:spMk id="21" creationId="{FAA5B883-59FC-28D4-80F4-B58DE4C6EB13}"/>
          </ac:spMkLst>
        </pc:spChg>
      </pc:sldChg>
      <pc:sldMasterChg chg="delSldLayout">
        <pc:chgData name="AGUILAR MENDEZ Victor (EAC)" userId="64ad853c-9484-49d3-bef4-c421194e353e" providerId="ADAL" clId="{3E6DDA6C-09A9-4B5C-9499-99AD2AB05E52}" dt="2025-09-23T15:52:08.346" v="385" actId="47"/>
        <pc:sldMasterMkLst>
          <pc:docMk/>
          <pc:sldMasterMk cId="0" sldId="2147483648"/>
        </pc:sldMasterMkLst>
      </pc:sldMasterChg>
    </pc:docChg>
  </pc:docChgLst>
  <pc:docChgLst>
    <pc:chgData name="POPESCU Alina-Gabriela (EAC-EXT)" userId="42aa860d-5fa2-4880-ba4f-6ca49a3a6a66" providerId="ADAL" clId="{F9B6566A-4BEB-4528-A823-EDEF8B9004D6}"/>
    <pc:docChg chg="undo custSel addSld modSld">
      <pc:chgData name="POPESCU Alina-Gabriela (EAC-EXT)" userId="42aa860d-5fa2-4880-ba4f-6ca49a3a6a66" providerId="ADAL" clId="{F9B6566A-4BEB-4528-A823-EDEF8B9004D6}" dt="2025-09-23T07:34:11.490" v="416" actId="14734"/>
      <pc:docMkLst>
        <pc:docMk/>
      </pc:docMkLst>
      <pc:sldChg chg="addSp modSp mod modCm">
        <pc:chgData name="POPESCU Alina-Gabriela (EAC-EXT)" userId="42aa860d-5fa2-4880-ba4f-6ca49a3a6a66" providerId="ADAL" clId="{F9B6566A-4BEB-4528-A823-EDEF8B9004D6}" dt="2025-09-23T07:14:50.676" v="395" actId="20577"/>
        <pc:sldMkLst>
          <pc:docMk/>
          <pc:sldMk cId="2109550326" sldId="2147483022"/>
        </pc:sldMkLst>
        <pc:spChg chg="add mod">
          <ac:chgData name="POPESCU Alina-Gabriela (EAC-EXT)" userId="42aa860d-5fa2-4880-ba4f-6ca49a3a6a66" providerId="ADAL" clId="{F9B6566A-4BEB-4528-A823-EDEF8B9004D6}" dt="2025-09-23T07:14:47.379" v="394" actId="1076"/>
          <ac:spMkLst>
            <pc:docMk/>
            <pc:sldMk cId="2109550326" sldId="2147483022"/>
            <ac:spMk id="2" creationId="{A3865A35-0FB1-6BC2-20AD-3D0D25E3BD89}"/>
          </ac:spMkLst>
        </pc:spChg>
        <pc:spChg chg="mod">
          <ac:chgData name="POPESCU Alina-Gabriela (EAC-EXT)" userId="42aa860d-5fa2-4880-ba4f-6ca49a3a6a66" providerId="ADAL" clId="{F9B6566A-4BEB-4528-A823-EDEF8B9004D6}" dt="2025-09-23T07:14:39.263" v="391" actId="14100"/>
          <ac:spMkLst>
            <pc:docMk/>
            <pc:sldMk cId="2109550326" sldId="2147483022"/>
            <ac:spMk id="3" creationId="{0117FEC1-A68F-AC2D-6AFA-D1F316B3B627}"/>
          </ac:spMkLst>
        </pc:spChg>
        <pc:spChg chg="mod">
          <ac:chgData name="POPESCU Alina-Gabriela (EAC-EXT)" userId="42aa860d-5fa2-4880-ba4f-6ca49a3a6a66" providerId="ADAL" clId="{F9B6566A-4BEB-4528-A823-EDEF8B9004D6}" dt="2025-09-23T07:14:50.676" v="395" actId="20577"/>
          <ac:spMkLst>
            <pc:docMk/>
            <pc:sldMk cId="2109550326" sldId="2147483022"/>
            <ac:spMk id="4" creationId="{5E7837E8-189F-FB31-034D-B36D314A23C3}"/>
          </ac:spMkLst>
        </pc:spChg>
        <pc:spChg chg="mod">
          <ac:chgData name="POPESCU Alina-Gabriela (EAC-EXT)" userId="42aa860d-5fa2-4880-ba4f-6ca49a3a6a66" providerId="ADAL" clId="{F9B6566A-4BEB-4528-A823-EDEF8B9004D6}" dt="2025-09-23T06:59:12.410" v="35" actId="20577"/>
          <ac:spMkLst>
            <pc:docMk/>
            <pc:sldMk cId="2109550326" sldId="2147483022"/>
            <ac:spMk id="7" creationId="{99190799-ACA2-7FEA-BD39-E0B7770A34BD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POPESCU Alina-Gabriela (EAC-EXT)" userId="42aa860d-5fa2-4880-ba4f-6ca49a3a6a66" providerId="ADAL" clId="{F9B6566A-4BEB-4528-A823-EDEF8B9004D6}" dt="2025-09-23T06:59:12.410" v="35" actId="20577"/>
              <pc2:cmMkLst xmlns:pc2="http://schemas.microsoft.com/office/powerpoint/2019/9/main/command">
                <pc:docMk/>
                <pc:sldMk cId="2109550326" sldId="2147483022"/>
                <pc2:cmMk id="{158D1B63-54E1-4554-9C37-6743DC812F3E}"/>
              </pc2:cmMkLst>
            </pc226:cmChg>
            <pc226:cmChg xmlns:pc226="http://schemas.microsoft.com/office/powerpoint/2022/06/main/command" chg="mod">
              <pc226:chgData name="POPESCU Alina-Gabriela (EAC-EXT)" userId="42aa860d-5fa2-4880-ba4f-6ca49a3a6a66" providerId="ADAL" clId="{F9B6566A-4BEB-4528-A823-EDEF8B9004D6}" dt="2025-09-23T06:59:12.410" v="35" actId="20577"/>
              <pc2:cmMkLst xmlns:pc2="http://schemas.microsoft.com/office/powerpoint/2019/9/main/command">
                <pc:docMk/>
                <pc:sldMk cId="2109550326" sldId="2147483022"/>
                <pc2:cmMk id="{2C26A863-E487-4354-AD0B-10BC49DE221E}"/>
              </pc2:cmMkLst>
            </pc226:cmChg>
            <pc226:cmChg xmlns:pc226="http://schemas.microsoft.com/office/powerpoint/2022/06/main/command" chg="mod">
              <pc226:chgData name="POPESCU Alina-Gabriela (EAC-EXT)" userId="42aa860d-5fa2-4880-ba4f-6ca49a3a6a66" providerId="ADAL" clId="{F9B6566A-4BEB-4528-A823-EDEF8B9004D6}" dt="2025-09-23T06:59:12.410" v="35" actId="20577"/>
              <pc2:cmMkLst xmlns:pc2="http://schemas.microsoft.com/office/powerpoint/2019/9/main/command">
                <pc:docMk/>
                <pc:sldMk cId="2109550326" sldId="2147483022"/>
                <pc2:cmMk id="{D8EEC9BA-3975-4B97-B67B-C85DDA27FC4C}"/>
              </pc2:cmMkLst>
            </pc226:cmChg>
          </p:ext>
        </pc:extLst>
      </pc:sldChg>
      <pc:sldChg chg="modSp add mod">
        <pc:chgData name="POPESCU Alina-Gabriela (EAC-EXT)" userId="42aa860d-5fa2-4880-ba4f-6ca49a3a6a66" providerId="ADAL" clId="{F9B6566A-4BEB-4528-A823-EDEF8B9004D6}" dt="2025-09-23T07:34:11.490" v="416" actId="14734"/>
        <pc:sldMkLst>
          <pc:docMk/>
          <pc:sldMk cId="3323650168" sldId="2147483297"/>
        </pc:sldMkLst>
        <pc:graphicFrameChg chg="modGraphic">
          <ac:chgData name="POPESCU Alina-Gabriela (EAC-EXT)" userId="42aa860d-5fa2-4880-ba4f-6ca49a3a6a66" providerId="ADAL" clId="{F9B6566A-4BEB-4528-A823-EDEF8B9004D6}" dt="2025-09-23T07:34:11.490" v="416" actId="14734"/>
          <ac:graphicFrameMkLst>
            <pc:docMk/>
            <pc:sldMk cId="3323650168" sldId="2147483297"/>
            <ac:graphicFrameMk id="6" creationId="{E988A95A-02EE-EED6-69B5-19BE36007D33}"/>
          </ac:graphicFrameMkLst>
        </pc:graphicFrameChg>
      </pc:sldChg>
    </pc:docChg>
  </pc:docChgLst>
  <pc:docChgLst>
    <pc:chgData name="Giacomo Bulian" userId="68f6dbed-ead1-46cb-9e4b-b45a5a79b583" providerId="ADAL" clId="{49B9A98A-D24A-4947-AF41-4DFB2632789D}"/>
    <pc:docChg chg="modSld">
      <pc:chgData name="Giacomo Bulian" userId="68f6dbed-ead1-46cb-9e4b-b45a5a79b583" providerId="ADAL" clId="{49B9A98A-D24A-4947-AF41-4DFB2632789D}" dt="2025-09-23T08:41:50.897" v="16" actId="113"/>
      <pc:docMkLst>
        <pc:docMk/>
      </pc:docMkLst>
      <pc:sldChg chg="modSp mod">
        <pc:chgData name="Giacomo Bulian" userId="68f6dbed-ead1-46cb-9e4b-b45a5a79b583" providerId="ADAL" clId="{49B9A98A-D24A-4947-AF41-4DFB2632789D}" dt="2025-09-23T08:41:50.897" v="16" actId="113"/>
        <pc:sldMkLst>
          <pc:docMk/>
          <pc:sldMk cId="2680825070" sldId="2147483034"/>
        </pc:sldMkLst>
        <pc:spChg chg="mod">
          <ac:chgData name="Giacomo Bulian" userId="68f6dbed-ead1-46cb-9e4b-b45a5a79b583" providerId="ADAL" clId="{49B9A98A-D24A-4947-AF41-4DFB2632789D}" dt="2025-09-23T08:41:50.897" v="16" actId="113"/>
          <ac:spMkLst>
            <pc:docMk/>
            <pc:sldMk cId="2680825070" sldId="2147483034"/>
            <ac:spMk id="6" creationId="{4B484857-3B4C-5A6D-B314-E9AAF5DDEEA2}"/>
          </ac:spMkLst>
        </pc:spChg>
      </pc:sldChg>
      <pc:sldChg chg="modSp mod">
        <pc:chgData name="Giacomo Bulian" userId="68f6dbed-ead1-46cb-9e4b-b45a5a79b583" providerId="ADAL" clId="{49B9A98A-D24A-4947-AF41-4DFB2632789D}" dt="2025-09-23T08:39:29.685" v="15" actId="20577"/>
        <pc:sldMkLst>
          <pc:docMk/>
          <pc:sldMk cId="2369243530" sldId="2147483287"/>
        </pc:sldMkLst>
        <pc:spChg chg="mod">
          <ac:chgData name="Giacomo Bulian" userId="68f6dbed-ead1-46cb-9e4b-b45a5a79b583" providerId="ADAL" clId="{49B9A98A-D24A-4947-AF41-4DFB2632789D}" dt="2025-09-23T08:37:18.869" v="7" actId="20577"/>
          <ac:spMkLst>
            <pc:docMk/>
            <pc:sldMk cId="2369243530" sldId="2147483287"/>
            <ac:spMk id="5" creationId="{D21BCEB1-5B61-8313-4798-0CFB77C6CEE9}"/>
          </ac:spMkLst>
        </pc:spChg>
        <pc:spChg chg="mod">
          <ac:chgData name="Giacomo Bulian" userId="68f6dbed-ead1-46cb-9e4b-b45a5a79b583" providerId="ADAL" clId="{49B9A98A-D24A-4947-AF41-4DFB2632789D}" dt="2025-09-23T08:36:58.566" v="3" actId="20577"/>
          <ac:spMkLst>
            <pc:docMk/>
            <pc:sldMk cId="2369243530" sldId="2147483287"/>
            <ac:spMk id="50" creationId="{48FA36AE-E9C3-F813-4717-384BAA82D00C}"/>
          </ac:spMkLst>
        </pc:spChg>
        <pc:spChg chg="mod">
          <ac:chgData name="Giacomo Bulian" userId="68f6dbed-ead1-46cb-9e4b-b45a5a79b583" providerId="ADAL" clId="{49B9A98A-D24A-4947-AF41-4DFB2632789D}" dt="2025-09-23T08:38:58.382" v="11" actId="20577"/>
          <ac:spMkLst>
            <pc:docMk/>
            <pc:sldMk cId="2369243530" sldId="2147483287"/>
            <ac:spMk id="161" creationId="{B8847180-24C5-6EFE-2589-10BFBA5A840B}"/>
          </ac:spMkLst>
        </pc:spChg>
        <pc:spChg chg="mod">
          <ac:chgData name="Giacomo Bulian" userId="68f6dbed-ead1-46cb-9e4b-b45a5a79b583" providerId="ADAL" clId="{49B9A98A-D24A-4947-AF41-4DFB2632789D}" dt="2025-09-23T08:39:22.544" v="13" actId="20577"/>
          <ac:spMkLst>
            <pc:docMk/>
            <pc:sldMk cId="2369243530" sldId="2147483287"/>
            <ac:spMk id="163" creationId="{B0D013BC-CB9B-D130-4754-92EF02977CC4}"/>
          </ac:spMkLst>
        </pc:spChg>
        <pc:spChg chg="mod">
          <ac:chgData name="Giacomo Bulian" userId="68f6dbed-ead1-46cb-9e4b-b45a5a79b583" providerId="ADAL" clId="{49B9A98A-D24A-4947-AF41-4DFB2632789D}" dt="2025-09-23T08:39:29.685" v="15" actId="20577"/>
          <ac:spMkLst>
            <pc:docMk/>
            <pc:sldMk cId="2369243530" sldId="2147483287"/>
            <ac:spMk id="165" creationId="{C747184F-6536-2CD3-D089-6F732A3FE385}"/>
          </ac:spMkLst>
        </pc:spChg>
      </pc:sldChg>
    </pc:docChg>
  </pc:docChgLst>
  <pc:docChgLst>
    <pc:chgData name="LICHT Alexandra (EAC)" userId="S::alexandra.licht@ec.europa.eu::2643f3fa-8068-4eea-8577-90fa8e2ecad7" providerId="AD" clId="Web-{835D48A4-318D-A687-F830-7CD4B2690D09}"/>
    <pc:docChg chg="addSld delSld modSld sldOrd">
      <pc:chgData name="LICHT Alexandra (EAC)" userId="S::alexandra.licht@ec.europa.eu::2643f3fa-8068-4eea-8577-90fa8e2ecad7" providerId="AD" clId="Web-{835D48A4-318D-A687-F830-7CD4B2690D09}" dt="2025-09-19T14:32:51.462" v="192"/>
      <pc:docMkLst>
        <pc:docMk/>
      </pc:docMkLst>
      <pc:sldChg chg="modSp">
        <pc:chgData name="LICHT Alexandra (EAC)" userId="S::alexandra.licht@ec.europa.eu::2643f3fa-8068-4eea-8577-90fa8e2ecad7" providerId="AD" clId="Web-{835D48A4-318D-A687-F830-7CD4B2690D09}" dt="2025-09-19T14:32:05.508" v="190" actId="20577"/>
        <pc:sldMkLst>
          <pc:docMk/>
          <pc:sldMk cId="1757782340" sldId="2147481649"/>
        </pc:sldMkLst>
        <pc:spChg chg="mod">
          <ac:chgData name="LICHT Alexandra (EAC)" userId="S::alexandra.licht@ec.europa.eu::2643f3fa-8068-4eea-8577-90fa8e2ecad7" providerId="AD" clId="Web-{835D48A4-318D-A687-F830-7CD4B2690D09}" dt="2025-09-19T14:31:51.977" v="186" actId="20577"/>
          <ac:spMkLst>
            <pc:docMk/>
            <pc:sldMk cId="1757782340" sldId="2147481649"/>
            <ac:spMk id="2" creationId="{3C4EBA03-8D4E-DE7F-12F3-FBFB8729291A}"/>
          </ac:spMkLst>
        </pc:spChg>
        <pc:spChg chg="mod">
          <ac:chgData name="LICHT Alexandra (EAC)" userId="S::alexandra.licht@ec.europa.eu::2643f3fa-8068-4eea-8577-90fa8e2ecad7" providerId="AD" clId="Web-{835D48A4-318D-A687-F830-7CD4B2690D09}" dt="2025-09-19T14:32:05.508" v="190" actId="20577"/>
          <ac:spMkLst>
            <pc:docMk/>
            <pc:sldMk cId="1757782340" sldId="2147481649"/>
            <ac:spMk id="3" creationId="{4B976479-39F6-F9C3-7288-2F09F4678E6D}"/>
          </ac:spMkLst>
        </pc:spChg>
        <pc:spChg chg="mod">
          <ac:chgData name="LICHT Alexandra (EAC)" userId="S::alexandra.licht@ec.europa.eu::2643f3fa-8068-4eea-8577-90fa8e2ecad7" providerId="AD" clId="Web-{835D48A4-318D-A687-F830-7CD4B2690D09}" dt="2025-09-19T14:06:15.227" v="23" actId="20577"/>
          <ac:spMkLst>
            <pc:docMk/>
            <pc:sldMk cId="1757782340" sldId="2147481649"/>
            <ac:spMk id="4" creationId="{E7B2FF49-AA4B-9F0A-4241-ACFBE75ABAA1}"/>
          </ac:spMkLst>
        </pc:spChg>
      </pc:sldChg>
      <pc:sldChg chg="ord">
        <pc:chgData name="LICHT Alexandra (EAC)" userId="S::alexandra.licht@ec.europa.eu::2643f3fa-8068-4eea-8577-90fa8e2ecad7" providerId="AD" clId="Web-{835D48A4-318D-A687-F830-7CD4B2690D09}" dt="2025-09-19T14:19:19.639" v="79"/>
        <pc:sldMkLst>
          <pc:docMk/>
          <pc:sldMk cId="1274045061" sldId="2147483011"/>
        </pc:sldMkLst>
      </pc:sldChg>
      <pc:sldChg chg="modSp ord">
        <pc:chgData name="LICHT Alexandra (EAC)" userId="S::alexandra.licht@ec.europa.eu::2643f3fa-8068-4eea-8577-90fa8e2ecad7" providerId="AD" clId="Web-{835D48A4-318D-A687-F830-7CD4B2690D09}" dt="2025-09-19T14:27:51.142" v="136" actId="20577"/>
        <pc:sldMkLst>
          <pc:docMk/>
          <pc:sldMk cId="3660174644" sldId="2147483014"/>
        </pc:sldMkLst>
        <pc:spChg chg="mod">
          <ac:chgData name="LICHT Alexandra (EAC)" userId="S::alexandra.licht@ec.europa.eu::2643f3fa-8068-4eea-8577-90fa8e2ecad7" providerId="AD" clId="Web-{835D48A4-318D-A687-F830-7CD4B2690D09}" dt="2025-09-19T14:27:51.142" v="136" actId="20577"/>
          <ac:spMkLst>
            <pc:docMk/>
            <pc:sldMk cId="3660174644" sldId="2147483014"/>
            <ac:spMk id="10" creationId="{6BE0B976-394D-4E35-73B2-90FBEF60E5EC}"/>
          </ac:spMkLst>
        </pc:spChg>
      </pc:sldChg>
      <pc:sldChg chg="addSp delSp modSp add del">
        <pc:chgData name="LICHT Alexandra (EAC)" userId="S::alexandra.licht@ec.europa.eu::2643f3fa-8068-4eea-8577-90fa8e2ecad7" providerId="AD" clId="Web-{835D48A4-318D-A687-F830-7CD4B2690D09}" dt="2025-09-19T14:15:00.169" v="71"/>
        <pc:sldMkLst>
          <pc:docMk/>
          <pc:sldMk cId="1037307152" sldId="2147483020"/>
        </pc:sldMkLst>
        <pc:graphicFrameChg chg="add">
          <ac:chgData name="LICHT Alexandra (EAC)" userId="S::alexandra.licht@ec.europa.eu::2643f3fa-8068-4eea-8577-90fa8e2ecad7" providerId="AD" clId="Web-{835D48A4-318D-A687-F830-7CD4B2690D09}" dt="2025-09-19T14:14:57.465" v="70"/>
          <ac:graphicFrameMkLst>
            <pc:docMk/>
            <pc:sldMk cId="1037307152" sldId="2147483020"/>
            <ac:graphicFrameMk id="581" creationId="{DBC276EA-7CE1-BFB6-063B-ECFD04236788}"/>
          </ac:graphicFrameMkLst>
        </pc:graphicFrameChg>
      </pc:sldChg>
      <pc:sldChg chg="del">
        <pc:chgData name="LICHT Alexandra (EAC)" userId="S::alexandra.licht@ec.europa.eu::2643f3fa-8068-4eea-8577-90fa8e2ecad7" providerId="AD" clId="Web-{835D48A4-318D-A687-F830-7CD4B2690D09}" dt="2025-09-19T14:25:49.061" v="116"/>
        <pc:sldMkLst>
          <pc:docMk/>
          <pc:sldMk cId="2109550326" sldId="2147483022"/>
        </pc:sldMkLst>
      </pc:sldChg>
      <pc:sldChg chg="modSp">
        <pc:chgData name="LICHT Alexandra (EAC)" userId="S::alexandra.licht@ec.europa.eu::2643f3fa-8068-4eea-8577-90fa8e2ecad7" providerId="AD" clId="Web-{835D48A4-318D-A687-F830-7CD4B2690D09}" dt="2025-09-19T14:09:38.299" v="45" actId="20577"/>
        <pc:sldMkLst>
          <pc:docMk/>
          <pc:sldMk cId="1397149767" sldId="2147483023"/>
        </pc:sldMkLst>
        <pc:spChg chg="mod">
          <ac:chgData name="LICHT Alexandra (EAC)" userId="S::alexandra.licht@ec.europa.eu::2643f3fa-8068-4eea-8577-90fa8e2ecad7" providerId="AD" clId="Web-{835D48A4-318D-A687-F830-7CD4B2690D09}" dt="2025-09-19T14:08:02.150" v="41" actId="20577"/>
          <ac:spMkLst>
            <pc:docMk/>
            <pc:sldMk cId="1397149767" sldId="2147483023"/>
            <ac:spMk id="2" creationId="{1B2F7857-438B-4744-6CEF-6BC17B2CC997}"/>
          </ac:spMkLst>
        </pc:spChg>
        <pc:spChg chg="mod">
          <ac:chgData name="LICHT Alexandra (EAC)" userId="S::alexandra.licht@ec.europa.eu::2643f3fa-8068-4eea-8577-90fa8e2ecad7" providerId="AD" clId="Web-{835D48A4-318D-A687-F830-7CD4B2690D09}" dt="2025-09-19T14:09:38.299" v="45" actId="20577"/>
          <ac:spMkLst>
            <pc:docMk/>
            <pc:sldMk cId="1397149767" sldId="2147483023"/>
            <ac:spMk id="5" creationId="{BC540BD9-3CCE-F146-EB52-C85D439AB996}"/>
          </ac:spMkLst>
        </pc:spChg>
      </pc:sldChg>
      <pc:sldChg chg="del">
        <pc:chgData name="LICHT Alexandra (EAC)" userId="S::alexandra.licht@ec.europa.eu::2643f3fa-8068-4eea-8577-90fa8e2ecad7" providerId="AD" clId="Web-{835D48A4-318D-A687-F830-7CD4B2690D09}" dt="2025-09-19T14:25:55.654" v="120"/>
        <pc:sldMkLst>
          <pc:docMk/>
          <pc:sldMk cId="4188114031" sldId="2147483026"/>
        </pc:sldMkLst>
      </pc:sldChg>
      <pc:sldChg chg="ord">
        <pc:chgData name="LICHT Alexandra (EAC)" userId="S::alexandra.licht@ec.europa.eu::2643f3fa-8068-4eea-8577-90fa8e2ecad7" providerId="AD" clId="Web-{835D48A4-318D-A687-F830-7CD4B2690D09}" dt="2025-09-19T14:26:27.467" v="123"/>
        <pc:sldMkLst>
          <pc:docMk/>
          <pc:sldMk cId="2294442549" sldId="2147483028"/>
        </pc:sldMkLst>
      </pc:sldChg>
      <pc:sldChg chg="del">
        <pc:chgData name="LICHT Alexandra (EAC)" userId="S::alexandra.licht@ec.europa.eu::2643f3fa-8068-4eea-8577-90fa8e2ecad7" providerId="AD" clId="Web-{835D48A4-318D-A687-F830-7CD4B2690D09}" dt="2025-09-19T14:26:57.142" v="128"/>
        <pc:sldMkLst>
          <pc:docMk/>
          <pc:sldMk cId="2120591142" sldId="2147483031"/>
        </pc:sldMkLst>
      </pc:sldChg>
      <pc:sldChg chg="del">
        <pc:chgData name="LICHT Alexandra (EAC)" userId="S::alexandra.licht@ec.europa.eu::2643f3fa-8068-4eea-8577-90fa8e2ecad7" providerId="AD" clId="Web-{835D48A4-318D-A687-F830-7CD4B2690D09}" dt="2025-09-19T14:26:57.642" v="129"/>
        <pc:sldMkLst>
          <pc:docMk/>
          <pc:sldMk cId="2680825070" sldId="2147483034"/>
        </pc:sldMkLst>
      </pc:sldChg>
      <pc:sldChg chg="modSp ord">
        <pc:chgData name="LICHT Alexandra (EAC)" userId="S::alexandra.licht@ec.europa.eu::2643f3fa-8068-4eea-8577-90fa8e2ecad7" providerId="AD" clId="Web-{835D48A4-318D-A687-F830-7CD4B2690D09}" dt="2025-09-19T14:27:09.580" v="133"/>
        <pc:sldMkLst>
          <pc:docMk/>
          <pc:sldMk cId="2539483510" sldId="2147483035"/>
        </pc:sldMkLst>
        <pc:spChg chg="mod">
          <ac:chgData name="LICHT Alexandra (EAC)" userId="S::alexandra.licht@ec.europa.eu::2643f3fa-8068-4eea-8577-90fa8e2ecad7" providerId="AD" clId="Web-{835D48A4-318D-A687-F830-7CD4B2690D09}" dt="2025-09-19T14:27:09.424" v="132" actId="20577"/>
          <ac:spMkLst>
            <pc:docMk/>
            <pc:sldMk cId="2539483510" sldId="2147483035"/>
            <ac:spMk id="2" creationId="{C1C2FA32-7F51-4ADA-23A1-AFA442692343}"/>
          </ac:spMkLst>
        </pc:spChg>
      </pc:sldChg>
      <pc:sldChg chg="modSp add">
        <pc:chgData name="LICHT Alexandra (EAC)" userId="S::alexandra.licht@ec.europa.eu::2643f3fa-8068-4eea-8577-90fa8e2ecad7" providerId="AD" clId="Web-{835D48A4-318D-A687-F830-7CD4B2690D09}" dt="2025-09-19T14:29:42.783" v="160" actId="20577"/>
        <pc:sldMkLst>
          <pc:docMk/>
          <pc:sldMk cId="2900636993" sldId="2147483044"/>
        </pc:sldMkLst>
        <pc:spChg chg="mod">
          <ac:chgData name="LICHT Alexandra (EAC)" userId="S::alexandra.licht@ec.europa.eu::2643f3fa-8068-4eea-8577-90fa8e2ecad7" providerId="AD" clId="Web-{835D48A4-318D-A687-F830-7CD4B2690D09}" dt="2025-09-19T14:29:42.783" v="160" actId="20577"/>
          <ac:spMkLst>
            <pc:docMk/>
            <pc:sldMk cId="2900636993" sldId="2147483044"/>
            <ac:spMk id="9" creationId="{704EB6F6-D017-8483-65EE-2590D1A3DBA9}"/>
          </ac:spMkLst>
        </pc:spChg>
      </pc:sldChg>
      <pc:sldChg chg="del">
        <pc:chgData name="LICHT Alexandra (EAC)" userId="S::alexandra.licht@ec.europa.eu::2643f3fa-8068-4eea-8577-90fa8e2ecad7" providerId="AD" clId="Web-{835D48A4-318D-A687-F830-7CD4B2690D09}" dt="2025-09-19T14:26:57.127" v="127"/>
        <pc:sldMkLst>
          <pc:docMk/>
          <pc:sldMk cId="1190885999" sldId="2147483119"/>
        </pc:sldMkLst>
      </pc:sldChg>
      <pc:sldChg chg="del">
        <pc:chgData name="LICHT Alexandra (EAC)" userId="S::alexandra.licht@ec.europa.eu::2643f3fa-8068-4eea-8577-90fa8e2ecad7" providerId="AD" clId="Web-{835D48A4-318D-A687-F830-7CD4B2690D09}" dt="2025-09-19T14:25:50.889" v="117"/>
        <pc:sldMkLst>
          <pc:docMk/>
          <pc:sldMk cId="3954277011" sldId="2147483120"/>
        </pc:sldMkLst>
      </pc:sldChg>
      <pc:sldChg chg="addSp delSp modSp add mod modClrScheme chgLayout">
        <pc:chgData name="LICHT Alexandra (EAC)" userId="S::alexandra.licht@ec.europa.eu::2643f3fa-8068-4eea-8577-90fa8e2ecad7" providerId="AD" clId="Web-{835D48A4-318D-A687-F830-7CD4B2690D09}" dt="2025-09-19T14:32:46.087" v="191"/>
        <pc:sldMkLst>
          <pc:docMk/>
          <pc:sldMk cId="3814785314" sldId="2147483274"/>
        </pc:sldMkLst>
        <pc:spChg chg="mod ord">
          <ac:chgData name="LICHT Alexandra (EAC)" userId="S::alexandra.licht@ec.europa.eu::2643f3fa-8068-4eea-8577-90fa8e2ecad7" providerId="AD" clId="Web-{835D48A4-318D-A687-F830-7CD4B2690D09}" dt="2025-09-19T14:32:46.087" v="191"/>
          <ac:spMkLst>
            <pc:docMk/>
            <pc:sldMk cId="3814785314" sldId="2147483274"/>
            <ac:spMk id="3" creationId="{8FA1A53D-10B6-BBF2-F7C4-5BA553533AF5}"/>
          </ac:spMkLst>
        </pc:spChg>
        <pc:spChg chg="add mod">
          <ac:chgData name="LICHT Alexandra (EAC)" userId="S::alexandra.licht@ec.europa.eu::2643f3fa-8068-4eea-8577-90fa8e2ecad7" providerId="AD" clId="Web-{835D48A4-318D-A687-F830-7CD4B2690D09}" dt="2025-09-19T14:25:04.342" v="113"/>
          <ac:spMkLst>
            <pc:docMk/>
            <pc:sldMk cId="3814785314" sldId="2147483274"/>
            <ac:spMk id="10" creationId="{9F5708F3-26E8-3ED1-AA50-BEF753E6CB44}"/>
          </ac:spMkLst>
        </pc:spChg>
        <pc:graphicFrameChg chg="add mod modGraphic">
          <ac:chgData name="LICHT Alexandra (EAC)" userId="S::alexandra.licht@ec.europa.eu::2643f3fa-8068-4eea-8577-90fa8e2ecad7" providerId="AD" clId="Web-{835D48A4-318D-A687-F830-7CD4B2690D09}" dt="2025-09-19T14:25:04.342" v="113"/>
          <ac:graphicFrameMkLst>
            <pc:docMk/>
            <pc:sldMk cId="3814785314" sldId="2147483274"/>
            <ac:graphicFrameMk id="6" creationId="{57E292F9-6419-4601-D1AE-583100966E18}"/>
          </ac:graphicFrameMkLst>
        </pc:graphicFrameChg>
      </pc:sldChg>
      <pc:sldChg chg="modSp add">
        <pc:chgData name="LICHT Alexandra (EAC)" userId="S::alexandra.licht@ec.europa.eu::2643f3fa-8068-4eea-8577-90fa8e2ecad7" providerId="AD" clId="Web-{835D48A4-318D-A687-F830-7CD4B2690D09}" dt="2025-09-19T14:32:51.462" v="192"/>
        <pc:sldMkLst>
          <pc:docMk/>
          <pc:sldMk cId="623171461" sldId="2147483278"/>
        </pc:sldMkLst>
        <pc:spChg chg="mod">
          <ac:chgData name="LICHT Alexandra (EAC)" userId="S::alexandra.licht@ec.europa.eu::2643f3fa-8068-4eea-8577-90fa8e2ecad7" providerId="AD" clId="Web-{835D48A4-318D-A687-F830-7CD4B2690D09}" dt="2025-09-19T14:32:51.462" v="192"/>
          <ac:spMkLst>
            <pc:docMk/>
            <pc:sldMk cId="623171461" sldId="2147483278"/>
            <ac:spMk id="5" creationId="{C47B622C-CD56-AA37-33A2-5C143508A621}"/>
          </ac:spMkLst>
        </pc:spChg>
      </pc:sldChg>
      <pc:sldChg chg="modSp add ord">
        <pc:chgData name="LICHT Alexandra (EAC)" userId="S::alexandra.licht@ec.europa.eu::2643f3fa-8068-4eea-8577-90fa8e2ecad7" providerId="AD" clId="Web-{835D48A4-318D-A687-F830-7CD4B2690D09}" dt="2025-09-19T14:30:23.395" v="177" actId="20577"/>
        <pc:sldMkLst>
          <pc:docMk/>
          <pc:sldMk cId="3898885863" sldId="2147483279"/>
        </pc:sldMkLst>
        <pc:spChg chg="mod">
          <ac:chgData name="LICHT Alexandra (EAC)" userId="S::alexandra.licht@ec.europa.eu::2643f3fa-8068-4eea-8577-90fa8e2ecad7" providerId="AD" clId="Web-{835D48A4-318D-A687-F830-7CD4B2690D09}" dt="2025-09-19T14:30:23.395" v="177" actId="20577"/>
          <ac:spMkLst>
            <pc:docMk/>
            <pc:sldMk cId="3898885863" sldId="2147483279"/>
            <ac:spMk id="2" creationId="{E4A4D14F-8357-B039-04BA-9E99DF434218}"/>
          </ac:spMkLst>
        </pc:spChg>
      </pc:sldChg>
      <pc:sldMasterChg chg="addSldLayout">
        <pc:chgData name="LICHT Alexandra (EAC)" userId="S::alexandra.licht@ec.europa.eu::2643f3fa-8068-4eea-8577-90fa8e2ecad7" providerId="AD" clId="Web-{835D48A4-318D-A687-F830-7CD4B2690D09}" dt="2025-09-19T14:28:59.705" v="148"/>
        <pc:sldMasterMkLst>
          <pc:docMk/>
          <pc:sldMasterMk cId="0" sldId="2147483648"/>
        </pc:sldMasterMkLst>
        <pc:sldLayoutChg chg="add">
          <pc:chgData name="LICHT Alexandra (EAC)" userId="S::alexandra.licht@ec.europa.eu::2643f3fa-8068-4eea-8577-90fa8e2ecad7" providerId="AD" clId="Web-{835D48A4-318D-A687-F830-7CD4B2690D09}" dt="2025-09-19T14:14:31.871" v="64"/>
          <pc:sldLayoutMkLst>
            <pc:docMk/>
            <pc:sldMasterMk cId="0" sldId="2147483648"/>
            <pc:sldLayoutMk cId="3105403809" sldId="2147483693"/>
          </pc:sldLayoutMkLst>
        </pc:sldLayoutChg>
        <pc:sldLayoutChg chg="add">
          <pc:chgData name="LICHT Alexandra (EAC)" userId="S::alexandra.licht@ec.europa.eu::2643f3fa-8068-4eea-8577-90fa8e2ecad7" providerId="AD" clId="Web-{835D48A4-318D-A687-F830-7CD4B2690D09}" dt="2025-09-19T14:28:59.705" v="148"/>
          <pc:sldLayoutMkLst>
            <pc:docMk/>
            <pc:sldMasterMk cId="0" sldId="2147483648"/>
            <pc:sldLayoutMk cId="1392425489" sldId="2147483694"/>
          </pc:sldLayoutMkLst>
        </pc:sldLayoutChg>
      </pc:sldMasterChg>
    </pc:docChg>
  </pc:docChgLst>
  <pc:docChgLst>
    <pc:chgData name="AGUILAR MENDEZ Victor (EAC)" userId="S::victor.aguilar-mendez@ec.europa.eu::64ad853c-9484-49d3-bef4-c421194e353e" providerId="AD" clId="Web-{DCF6F727-DF4A-D665-893B-69374821CFCC}"/>
    <pc:docChg chg="modSld">
      <pc:chgData name="AGUILAR MENDEZ Victor (EAC)" userId="S::victor.aguilar-mendez@ec.europa.eu::64ad853c-9484-49d3-bef4-c421194e353e" providerId="AD" clId="Web-{DCF6F727-DF4A-D665-893B-69374821CFCC}" dt="2025-09-30T16:44:35.828" v="10" actId="20577"/>
      <pc:docMkLst>
        <pc:docMk/>
      </pc:docMkLst>
      <pc:sldChg chg="modSp">
        <pc:chgData name="AGUILAR MENDEZ Victor (EAC)" userId="S::victor.aguilar-mendez@ec.europa.eu::64ad853c-9484-49d3-bef4-c421194e353e" providerId="AD" clId="Web-{DCF6F727-DF4A-D665-893B-69374821CFCC}" dt="2025-09-30T16:44:35.828" v="10" actId="20577"/>
        <pc:sldMkLst>
          <pc:docMk/>
          <pc:sldMk cId="3898885863" sldId="2147483279"/>
        </pc:sldMkLst>
        <pc:spChg chg="mod">
          <ac:chgData name="AGUILAR MENDEZ Victor (EAC)" userId="S::victor.aguilar-mendez@ec.europa.eu::64ad853c-9484-49d3-bef4-c421194e353e" providerId="AD" clId="Web-{DCF6F727-DF4A-D665-893B-69374821CFCC}" dt="2025-09-30T16:44:35.828" v="10" actId="20577"/>
          <ac:spMkLst>
            <pc:docMk/>
            <pc:sldMk cId="3898885863" sldId="2147483279"/>
            <ac:spMk id="2" creationId="{E4A4D14F-8357-B039-04BA-9E99DF434218}"/>
          </ac:spMkLst>
        </pc:spChg>
      </pc:sldChg>
    </pc:docChg>
  </pc:docChgLst>
  <pc:docChgLst>
    <pc:chgData name="AGUILAR MENDEZ Victor (EAC)" userId="64ad853c-9484-49d3-bef4-c421194e353e" providerId="ADAL" clId="{CB2792DD-42FC-4E1D-AC9E-A19764F4F7A6}"/>
    <pc:docChg chg="delSld">
      <pc:chgData name="AGUILAR MENDEZ Victor (EAC)" userId="64ad853c-9484-49d3-bef4-c421194e353e" providerId="ADAL" clId="{CB2792DD-42FC-4E1D-AC9E-A19764F4F7A6}" dt="2025-09-30T16:43:42.437" v="0" actId="47"/>
      <pc:docMkLst>
        <pc:docMk/>
      </pc:docMkLst>
      <pc:sldChg chg="del">
        <pc:chgData name="AGUILAR MENDEZ Victor (EAC)" userId="64ad853c-9484-49d3-bef4-c421194e353e" providerId="ADAL" clId="{CB2792DD-42FC-4E1D-AC9E-A19764F4F7A6}" dt="2025-09-30T16:43:42.437" v="0" actId="47"/>
        <pc:sldMkLst>
          <pc:docMk/>
          <pc:sldMk cId="2378560346" sldId="2147483296"/>
        </pc:sldMkLst>
      </pc:sldChg>
    </pc:docChg>
  </pc:docChgLst>
</pc:chgInfo>
</file>

<file path=ppt/diagrams/_rels/data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sv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image" Target="../media/image33.svg"/><Relationship Id="rId1" Type="http://schemas.openxmlformats.org/officeDocument/2006/relationships/image" Target="../media/image32.png"/><Relationship Id="rId6" Type="http://schemas.openxmlformats.org/officeDocument/2006/relationships/image" Target="../media/image37.svg"/><Relationship Id="rId5" Type="http://schemas.openxmlformats.org/officeDocument/2006/relationships/image" Target="../media/image36.png"/><Relationship Id="rId4" Type="http://schemas.openxmlformats.org/officeDocument/2006/relationships/image" Target="../media/image35.svg"/></Relationships>
</file>

<file path=ppt/diagrams/_rels/drawing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sv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image" Target="../media/image33.svg"/><Relationship Id="rId1" Type="http://schemas.openxmlformats.org/officeDocument/2006/relationships/image" Target="../media/image32.png"/><Relationship Id="rId6" Type="http://schemas.openxmlformats.org/officeDocument/2006/relationships/image" Target="../media/image37.svg"/><Relationship Id="rId5" Type="http://schemas.openxmlformats.org/officeDocument/2006/relationships/image" Target="../media/image36.png"/><Relationship Id="rId4" Type="http://schemas.openxmlformats.org/officeDocument/2006/relationships/image" Target="../media/image35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7968225-FDD9-4E48-8FC6-090F9D9D7EA0}" type="doc">
      <dgm:prSet loTypeId="urn:microsoft.com/office/officeart/2017/3/layout/DropPinTimeline" loCatId="timelin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EE9A45D-D4F4-4D4A-92A0-5E2E1D7A5502}">
      <dgm:prSet phldr="0"/>
      <dgm:spPr/>
      <dgm:t>
        <a:bodyPr/>
        <a:lstStyle/>
        <a:p>
          <a:pPr>
            <a:defRPr b="1"/>
          </a:pPr>
          <a:r>
            <a:rPr lang="en-US" sz="1500" b="1">
              <a:solidFill>
                <a:srgbClr val="444444"/>
              </a:solidFill>
              <a:latin typeface="Calibri"/>
              <a:ea typeface="Calibri"/>
              <a:cs typeface="Calibri"/>
            </a:rPr>
            <a:t>1 January 2023</a:t>
          </a:r>
        </a:p>
      </dgm:t>
    </dgm:pt>
    <dgm:pt modelId="{CA1B2DB7-6AB0-46FE-BC34-6BF4317A8784}" type="parTrans" cxnId="{D04D3AF3-2C24-4284-A5A1-A1C3AEDBB982}">
      <dgm:prSet/>
      <dgm:spPr/>
      <dgm:t>
        <a:bodyPr/>
        <a:lstStyle/>
        <a:p>
          <a:endParaRPr lang="es-MX"/>
        </a:p>
      </dgm:t>
    </dgm:pt>
    <dgm:pt modelId="{2B8508CB-9350-46D5-8EA2-979028E7D447}" type="sibTrans" cxnId="{D04D3AF3-2C24-4284-A5A1-A1C3AEDBB982}">
      <dgm:prSet/>
      <dgm:spPr/>
      <dgm:t>
        <a:bodyPr/>
        <a:lstStyle/>
        <a:p>
          <a:endParaRPr lang="es-MX"/>
        </a:p>
      </dgm:t>
    </dgm:pt>
    <dgm:pt modelId="{DBA44A82-5A93-44C6-9580-5F7893AC6013}">
      <dgm:prSet phldr="0"/>
      <dgm:spPr/>
      <dgm:t>
        <a:bodyPr/>
        <a:lstStyle/>
        <a:p>
          <a:r>
            <a:rPr lang="en-US" sz="1100">
              <a:solidFill>
                <a:srgbClr val="444444"/>
              </a:solidFill>
              <a:latin typeface="Calibri"/>
              <a:ea typeface="Calibri"/>
              <a:cs typeface="Calibri"/>
            </a:rPr>
            <a:t>Total in the network: 184.907</a:t>
          </a:r>
        </a:p>
      </dgm:t>
    </dgm:pt>
    <dgm:pt modelId="{B899CE3B-9586-485E-9867-A8C489D76FAF}" type="parTrans" cxnId="{9733916F-1295-4778-8B21-506BB083B862}">
      <dgm:prSet/>
      <dgm:spPr/>
      <dgm:t>
        <a:bodyPr/>
        <a:lstStyle/>
        <a:p>
          <a:endParaRPr lang="es-MX"/>
        </a:p>
      </dgm:t>
    </dgm:pt>
    <dgm:pt modelId="{46FB1306-1C5C-43CE-BED7-2AD172A6F7B7}" type="sibTrans" cxnId="{9733916F-1295-4778-8B21-506BB083B862}">
      <dgm:prSet/>
      <dgm:spPr/>
      <dgm:t>
        <a:bodyPr/>
        <a:lstStyle/>
        <a:p>
          <a:endParaRPr lang="es-MX"/>
        </a:p>
      </dgm:t>
    </dgm:pt>
    <dgm:pt modelId="{81BDEB25-8A70-4EB7-B11B-2E70C0479EB5}">
      <dgm:prSet phldr="0"/>
      <dgm:spPr/>
      <dgm:t>
        <a:bodyPr/>
        <a:lstStyle/>
        <a:p>
          <a:r>
            <a:rPr lang="en-US" sz="1100">
              <a:solidFill>
                <a:srgbClr val="444444"/>
              </a:solidFill>
              <a:latin typeface="Calibri"/>
              <a:ea typeface="Calibri"/>
              <a:cs typeface="Calibri"/>
            </a:rPr>
            <a:t>Total mutually approved: 50.162 </a:t>
          </a:r>
        </a:p>
      </dgm:t>
    </dgm:pt>
    <dgm:pt modelId="{73C05C1E-E75E-4928-97F4-42B397D5E2BA}" type="parTrans" cxnId="{AB292E57-C6F8-4AFC-8BED-BE96364FB4BE}">
      <dgm:prSet/>
      <dgm:spPr/>
      <dgm:t>
        <a:bodyPr/>
        <a:lstStyle/>
        <a:p>
          <a:endParaRPr lang="es-MX"/>
        </a:p>
      </dgm:t>
    </dgm:pt>
    <dgm:pt modelId="{0DB41ACA-2622-4F48-9C01-D9C3838363F1}" type="sibTrans" cxnId="{AB292E57-C6F8-4AFC-8BED-BE96364FB4BE}">
      <dgm:prSet/>
      <dgm:spPr/>
      <dgm:t>
        <a:bodyPr/>
        <a:lstStyle/>
        <a:p>
          <a:endParaRPr lang="es-MX"/>
        </a:p>
      </dgm:t>
    </dgm:pt>
    <dgm:pt modelId="{CD05F491-58A8-4B5B-9785-8AF8DF1432F0}">
      <dgm:prSet phldr="0"/>
      <dgm:spPr/>
      <dgm:t>
        <a:bodyPr/>
        <a:lstStyle/>
        <a:p>
          <a:r>
            <a:rPr lang="en-US" sz="1100">
              <a:solidFill>
                <a:srgbClr val="444444"/>
              </a:solidFill>
              <a:latin typeface="Calibri"/>
              <a:ea typeface="Calibri"/>
              <a:cs typeface="Calibri"/>
            </a:rPr>
            <a:t>Approval rate: </a:t>
          </a:r>
          <a:r>
            <a:rPr lang="en-US" sz="1100" u="sng">
              <a:latin typeface="Calibri"/>
              <a:ea typeface="Calibri"/>
              <a:cs typeface="Calibri"/>
            </a:rPr>
            <a:t>27%</a:t>
          </a:r>
        </a:p>
      </dgm:t>
    </dgm:pt>
    <dgm:pt modelId="{74B59AAE-9307-4165-9893-BFD9FDDC4F97}" type="parTrans" cxnId="{D12B2404-327E-427C-8A4B-7D5B7CD8554D}">
      <dgm:prSet/>
      <dgm:spPr/>
      <dgm:t>
        <a:bodyPr/>
        <a:lstStyle/>
        <a:p>
          <a:endParaRPr lang="es-MX"/>
        </a:p>
      </dgm:t>
    </dgm:pt>
    <dgm:pt modelId="{6CE416F8-3276-469C-B07C-BAF822D80BB6}" type="sibTrans" cxnId="{D12B2404-327E-427C-8A4B-7D5B7CD8554D}">
      <dgm:prSet/>
      <dgm:spPr/>
      <dgm:t>
        <a:bodyPr/>
        <a:lstStyle/>
        <a:p>
          <a:endParaRPr lang="es-MX"/>
        </a:p>
      </dgm:t>
    </dgm:pt>
    <dgm:pt modelId="{4B0610FF-26D1-498B-89A5-69135D8BF9F0}">
      <dgm:prSet phldr="0"/>
      <dgm:spPr/>
      <dgm:t>
        <a:bodyPr/>
        <a:lstStyle/>
        <a:p>
          <a:pPr>
            <a:defRPr b="1"/>
          </a:pPr>
          <a:r>
            <a:rPr lang="en-US" sz="1500">
              <a:solidFill>
                <a:srgbClr val="444444"/>
              </a:solidFill>
              <a:latin typeface="Calibri"/>
              <a:ea typeface="Calibri"/>
              <a:cs typeface="Calibri"/>
            </a:rPr>
            <a:t>1 January 2024</a:t>
          </a:r>
        </a:p>
      </dgm:t>
    </dgm:pt>
    <dgm:pt modelId="{06C4694C-8988-4FF9-87D2-082C20C0AF51}" type="parTrans" cxnId="{7DDFF5AF-1961-492A-837C-1231E0668BEA}">
      <dgm:prSet/>
      <dgm:spPr/>
      <dgm:t>
        <a:bodyPr/>
        <a:lstStyle/>
        <a:p>
          <a:endParaRPr lang="es-MX"/>
        </a:p>
      </dgm:t>
    </dgm:pt>
    <dgm:pt modelId="{945D7601-7DBD-48E2-92B5-4460BBAEF506}" type="sibTrans" cxnId="{7DDFF5AF-1961-492A-837C-1231E0668BEA}">
      <dgm:prSet/>
      <dgm:spPr/>
      <dgm:t>
        <a:bodyPr/>
        <a:lstStyle/>
        <a:p>
          <a:endParaRPr lang="es-MX"/>
        </a:p>
      </dgm:t>
    </dgm:pt>
    <dgm:pt modelId="{383BA888-9C6F-448F-969A-C8E8C21A7077}">
      <dgm:prSet phldr="0"/>
      <dgm:spPr/>
      <dgm:t>
        <a:bodyPr/>
        <a:lstStyle/>
        <a:p>
          <a:r>
            <a:rPr lang="en-US" sz="1100">
              <a:solidFill>
                <a:srgbClr val="444444"/>
              </a:solidFill>
              <a:latin typeface="Calibri"/>
              <a:ea typeface="Calibri"/>
              <a:cs typeface="Calibri"/>
            </a:rPr>
            <a:t>Total in the network: 377.697</a:t>
          </a:r>
        </a:p>
      </dgm:t>
    </dgm:pt>
    <dgm:pt modelId="{B07170AC-9964-4AA4-93B8-E4AD2869DBD3}" type="parTrans" cxnId="{1392777B-407D-4022-9F9B-4ACA6825E2F2}">
      <dgm:prSet/>
      <dgm:spPr/>
      <dgm:t>
        <a:bodyPr/>
        <a:lstStyle/>
        <a:p>
          <a:endParaRPr lang="es-MX"/>
        </a:p>
      </dgm:t>
    </dgm:pt>
    <dgm:pt modelId="{6CE5AB23-85BC-4855-BACE-A91C67D6CC4D}" type="sibTrans" cxnId="{1392777B-407D-4022-9F9B-4ACA6825E2F2}">
      <dgm:prSet/>
      <dgm:spPr/>
      <dgm:t>
        <a:bodyPr/>
        <a:lstStyle/>
        <a:p>
          <a:endParaRPr lang="es-MX"/>
        </a:p>
      </dgm:t>
    </dgm:pt>
    <dgm:pt modelId="{DB537E85-5924-454E-842B-4DA6BE04E863}">
      <dgm:prSet phldr="0"/>
      <dgm:spPr/>
      <dgm:t>
        <a:bodyPr/>
        <a:lstStyle/>
        <a:p>
          <a:r>
            <a:rPr lang="en-US" sz="1100">
              <a:solidFill>
                <a:srgbClr val="444444"/>
              </a:solidFill>
              <a:latin typeface="Calibri"/>
              <a:ea typeface="Calibri"/>
              <a:cs typeface="Calibri"/>
            </a:rPr>
            <a:t>Total mutually approved: 152.253</a:t>
          </a:r>
        </a:p>
      </dgm:t>
    </dgm:pt>
    <dgm:pt modelId="{559C78BC-BD15-4D3A-916A-115A46772420}" type="parTrans" cxnId="{1BADE80F-FD09-46DE-BA30-733CE79C68CC}">
      <dgm:prSet/>
      <dgm:spPr/>
      <dgm:t>
        <a:bodyPr/>
        <a:lstStyle/>
        <a:p>
          <a:endParaRPr lang="es-MX"/>
        </a:p>
      </dgm:t>
    </dgm:pt>
    <dgm:pt modelId="{6744B74E-3ABB-45A7-8CB7-60AB3B8EE573}" type="sibTrans" cxnId="{1BADE80F-FD09-46DE-BA30-733CE79C68CC}">
      <dgm:prSet/>
      <dgm:spPr/>
      <dgm:t>
        <a:bodyPr/>
        <a:lstStyle/>
        <a:p>
          <a:endParaRPr lang="es-MX"/>
        </a:p>
      </dgm:t>
    </dgm:pt>
    <dgm:pt modelId="{703EDA96-7F68-45BC-875A-0968FBF0AF7D}">
      <dgm:prSet phldr="0"/>
      <dgm:spPr/>
      <dgm:t>
        <a:bodyPr/>
        <a:lstStyle/>
        <a:p>
          <a:r>
            <a:rPr lang="en-US" sz="1100">
              <a:solidFill>
                <a:srgbClr val="444444"/>
              </a:solidFill>
              <a:latin typeface="Calibri"/>
              <a:ea typeface="Calibri"/>
              <a:cs typeface="Calibri"/>
            </a:rPr>
            <a:t>Approval rate: </a:t>
          </a:r>
          <a:r>
            <a:rPr lang="en-US" sz="1100" u="sng">
              <a:solidFill>
                <a:srgbClr val="444444"/>
              </a:solidFill>
              <a:latin typeface="Calibri"/>
              <a:ea typeface="Calibri"/>
              <a:cs typeface="Calibri"/>
            </a:rPr>
            <a:t>40%</a:t>
          </a:r>
        </a:p>
      </dgm:t>
    </dgm:pt>
    <dgm:pt modelId="{8684D32A-5FA8-4714-B015-F6ADF18B334F}" type="parTrans" cxnId="{BFD64229-B2F7-4520-919E-62D1D3325090}">
      <dgm:prSet/>
      <dgm:spPr/>
      <dgm:t>
        <a:bodyPr/>
        <a:lstStyle/>
        <a:p>
          <a:endParaRPr lang="es-MX"/>
        </a:p>
      </dgm:t>
    </dgm:pt>
    <dgm:pt modelId="{B6AB01A0-548C-4462-9120-27CBA9B0B7D8}" type="sibTrans" cxnId="{BFD64229-B2F7-4520-919E-62D1D3325090}">
      <dgm:prSet/>
      <dgm:spPr/>
      <dgm:t>
        <a:bodyPr/>
        <a:lstStyle/>
        <a:p>
          <a:endParaRPr lang="es-MX"/>
        </a:p>
      </dgm:t>
    </dgm:pt>
    <dgm:pt modelId="{3BB1EA2A-1DE9-4869-A4E7-80FA319A8F26}">
      <dgm:prSet phldr="0"/>
      <dgm:spPr/>
      <dgm:t>
        <a:bodyPr/>
        <a:lstStyle/>
        <a:p>
          <a:pPr>
            <a:defRPr b="1"/>
          </a:pPr>
          <a:r>
            <a:rPr lang="en-US" sz="1500">
              <a:solidFill>
                <a:srgbClr val="444444"/>
              </a:solidFill>
              <a:latin typeface="Calibri"/>
              <a:ea typeface="Calibri"/>
              <a:cs typeface="Calibri"/>
            </a:rPr>
            <a:t>1 February 2025</a:t>
          </a:r>
        </a:p>
      </dgm:t>
    </dgm:pt>
    <dgm:pt modelId="{8A015344-B2B3-48DA-AF99-4396224F73F3}" type="parTrans" cxnId="{DFC4F647-E2EA-48CB-8630-C6910570EC8E}">
      <dgm:prSet/>
      <dgm:spPr/>
      <dgm:t>
        <a:bodyPr/>
        <a:lstStyle/>
        <a:p>
          <a:endParaRPr lang="es-MX"/>
        </a:p>
      </dgm:t>
    </dgm:pt>
    <dgm:pt modelId="{B1328543-CD1E-46C7-8206-A0B179E5DE1D}" type="sibTrans" cxnId="{DFC4F647-E2EA-48CB-8630-C6910570EC8E}">
      <dgm:prSet/>
      <dgm:spPr/>
      <dgm:t>
        <a:bodyPr/>
        <a:lstStyle/>
        <a:p>
          <a:endParaRPr lang="es-MX"/>
        </a:p>
      </dgm:t>
    </dgm:pt>
    <dgm:pt modelId="{52DB88F8-A5E4-4A4F-8336-2BFDB2E9FA7D}">
      <dgm:prSet phldr="0"/>
      <dgm:spPr/>
      <dgm:t>
        <a:bodyPr/>
        <a:lstStyle/>
        <a:p>
          <a:r>
            <a:rPr lang="en-US" sz="1100">
              <a:solidFill>
                <a:srgbClr val="444444"/>
              </a:solidFill>
              <a:latin typeface="Calibri"/>
              <a:ea typeface="Calibri"/>
              <a:cs typeface="Calibri"/>
            </a:rPr>
            <a:t>Total in the network: 542.746</a:t>
          </a:r>
        </a:p>
      </dgm:t>
    </dgm:pt>
    <dgm:pt modelId="{B14D2079-9B12-4682-B9CD-6077C895B9AD}" type="parTrans" cxnId="{80F7A48C-0514-48A1-8C19-352E4D69F3EF}">
      <dgm:prSet/>
      <dgm:spPr/>
      <dgm:t>
        <a:bodyPr/>
        <a:lstStyle/>
        <a:p>
          <a:endParaRPr lang="es-MX"/>
        </a:p>
      </dgm:t>
    </dgm:pt>
    <dgm:pt modelId="{BC4295DE-99F5-4BD4-A0D1-69DB8C19140A}" type="sibTrans" cxnId="{80F7A48C-0514-48A1-8C19-352E4D69F3EF}">
      <dgm:prSet/>
      <dgm:spPr/>
      <dgm:t>
        <a:bodyPr/>
        <a:lstStyle/>
        <a:p>
          <a:endParaRPr lang="es-MX"/>
        </a:p>
      </dgm:t>
    </dgm:pt>
    <dgm:pt modelId="{607C7CBE-3CDA-44BF-B82D-6BEF5C540F46}">
      <dgm:prSet phldr="0"/>
      <dgm:spPr/>
      <dgm:t>
        <a:bodyPr/>
        <a:lstStyle/>
        <a:p>
          <a:r>
            <a:rPr lang="en-US" sz="1100">
              <a:solidFill>
                <a:srgbClr val="444444"/>
              </a:solidFill>
              <a:latin typeface="Calibri"/>
              <a:ea typeface="Calibri"/>
              <a:cs typeface="Calibri"/>
            </a:rPr>
            <a:t>Total mutually approved: 233.828</a:t>
          </a:r>
        </a:p>
      </dgm:t>
    </dgm:pt>
    <dgm:pt modelId="{53616E4E-FBE6-49C9-8EF4-353E3E8328B8}" type="parTrans" cxnId="{D3DAED2E-DABB-47E3-AC5A-320CF4678100}">
      <dgm:prSet/>
      <dgm:spPr/>
      <dgm:t>
        <a:bodyPr/>
        <a:lstStyle/>
        <a:p>
          <a:endParaRPr lang="es-MX"/>
        </a:p>
      </dgm:t>
    </dgm:pt>
    <dgm:pt modelId="{23CB73FB-A63C-4953-BDC0-7C95DC642D57}" type="sibTrans" cxnId="{D3DAED2E-DABB-47E3-AC5A-320CF4678100}">
      <dgm:prSet/>
      <dgm:spPr/>
      <dgm:t>
        <a:bodyPr/>
        <a:lstStyle/>
        <a:p>
          <a:endParaRPr lang="es-MX"/>
        </a:p>
      </dgm:t>
    </dgm:pt>
    <dgm:pt modelId="{8A66E5F5-51BD-48BB-8F26-05C221495682}">
      <dgm:prSet phldr="0"/>
      <dgm:spPr/>
      <dgm:t>
        <a:bodyPr/>
        <a:lstStyle/>
        <a:p>
          <a:r>
            <a:rPr lang="en-US" sz="1100">
              <a:solidFill>
                <a:srgbClr val="444444"/>
              </a:solidFill>
              <a:latin typeface="Calibri"/>
              <a:ea typeface="Calibri"/>
              <a:cs typeface="Calibri"/>
            </a:rPr>
            <a:t>Approval rate: </a:t>
          </a:r>
          <a:r>
            <a:rPr lang="en-US" sz="1100" u="sng">
              <a:solidFill>
                <a:srgbClr val="444444"/>
              </a:solidFill>
              <a:latin typeface="Calibri"/>
              <a:ea typeface="Calibri"/>
              <a:cs typeface="Calibri"/>
            </a:rPr>
            <a:t>43%</a:t>
          </a:r>
        </a:p>
      </dgm:t>
    </dgm:pt>
    <dgm:pt modelId="{7BAD2477-D8C8-4257-9656-F5A0E79207A9}" type="parTrans" cxnId="{FD35C0DC-7DC1-48E8-ADDB-8BA8093BFE6F}">
      <dgm:prSet/>
      <dgm:spPr/>
      <dgm:t>
        <a:bodyPr/>
        <a:lstStyle/>
        <a:p>
          <a:endParaRPr lang="es-MX"/>
        </a:p>
      </dgm:t>
    </dgm:pt>
    <dgm:pt modelId="{F9D85477-6A3B-470C-9E2E-F742E46528A9}" type="sibTrans" cxnId="{FD35C0DC-7DC1-48E8-ADDB-8BA8093BFE6F}">
      <dgm:prSet/>
      <dgm:spPr/>
      <dgm:t>
        <a:bodyPr/>
        <a:lstStyle/>
        <a:p>
          <a:endParaRPr lang="es-MX"/>
        </a:p>
      </dgm:t>
    </dgm:pt>
    <dgm:pt modelId="{FC4D7AFC-232E-48BD-A12C-C0BC8569636C}">
      <dgm:prSet phldr="0"/>
      <dgm:spPr/>
      <dgm:t>
        <a:bodyPr/>
        <a:lstStyle/>
        <a:p>
          <a:pPr>
            <a:defRPr b="1"/>
          </a:pPr>
          <a:r>
            <a:rPr lang="en-US" sz="1500">
              <a:solidFill>
                <a:srgbClr val="444444"/>
              </a:solidFill>
              <a:latin typeface="Calibri"/>
              <a:ea typeface="Calibri"/>
              <a:cs typeface="Calibri"/>
            </a:rPr>
            <a:t>1 September 2025</a:t>
          </a:r>
        </a:p>
      </dgm:t>
    </dgm:pt>
    <dgm:pt modelId="{9632B896-5A47-4046-8611-C6456C199F09}" type="parTrans" cxnId="{7844BC27-22F7-4624-A365-C2BDE6E4606E}">
      <dgm:prSet/>
      <dgm:spPr/>
      <dgm:t>
        <a:bodyPr/>
        <a:lstStyle/>
        <a:p>
          <a:endParaRPr lang="es-MX"/>
        </a:p>
      </dgm:t>
    </dgm:pt>
    <dgm:pt modelId="{362B6B9D-A977-47F8-A01A-625040B3B806}" type="sibTrans" cxnId="{7844BC27-22F7-4624-A365-C2BDE6E4606E}">
      <dgm:prSet/>
      <dgm:spPr/>
      <dgm:t>
        <a:bodyPr/>
        <a:lstStyle/>
        <a:p>
          <a:endParaRPr lang="es-MX"/>
        </a:p>
      </dgm:t>
    </dgm:pt>
    <dgm:pt modelId="{834A2598-1695-4236-A685-A7C26FD50866}">
      <dgm:prSet phldr="0"/>
      <dgm:spPr/>
      <dgm:t>
        <a:bodyPr/>
        <a:lstStyle/>
        <a:p>
          <a:pPr algn="l">
            <a:lnSpc>
              <a:spcPct val="90000"/>
            </a:lnSpc>
            <a:defRPr b="1"/>
          </a:pPr>
          <a:r>
            <a:rPr lang="en-US" sz="1100" b="0">
              <a:solidFill>
                <a:srgbClr val="444444"/>
              </a:solidFill>
              <a:latin typeface="Calibri"/>
              <a:ea typeface="Calibri"/>
              <a:cs typeface="Calibri"/>
            </a:rPr>
            <a:t>Approval rate: </a:t>
          </a:r>
          <a:r>
            <a:rPr lang="en-US" sz="1100" b="0" u="sng">
              <a:solidFill>
                <a:srgbClr val="444444"/>
              </a:solidFill>
              <a:latin typeface="Calibri"/>
              <a:ea typeface="Calibri"/>
              <a:cs typeface="Calibri"/>
            </a:rPr>
            <a:t>45%</a:t>
          </a:r>
          <a:endParaRPr lang="en-US" u="sng"/>
        </a:p>
      </dgm:t>
    </dgm:pt>
    <dgm:pt modelId="{BB07E141-FB7F-4624-87B9-3D7C1AA7B05D}" type="parTrans" cxnId="{90BA8FAB-1AC3-4CAC-AB7E-6D4620E44D53}">
      <dgm:prSet/>
      <dgm:spPr/>
      <dgm:t>
        <a:bodyPr/>
        <a:lstStyle/>
        <a:p>
          <a:endParaRPr lang="es-MX"/>
        </a:p>
      </dgm:t>
    </dgm:pt>
    <dgm:pt modelId="{C9899FF7-FAA3-472D-88CD-B799A954EC45}" type="sibTrans" cxnId="{90BA8FAB-1AC3-4CAC-AB7E-6D4620E44D53}">
      <dgm:prSet/>
      <dgm:spPr/>
      <dgm:t>
        <a:bodyPr/>
        <a:lstStyle/>
        <a:p>
          <a:endParaRPr lang="es-MX"/>
        </a:p>
      </dgm:t>
    </dgm:pt>
    <dgm:pt modelId="{37EF8C4D-0C99-4761-8DAE-3D6EBB458F32}">
      <dgm:prSet phldr="0"/>
      <dgm:spPr/>
      <dgm:t>
        <a:bodyPr/>
        <a:lstStyle/>
        <a:p>
          <a:pPr algn="l" rtl="0">
            <a:lnSpc>
              <a:spcPct val="90000"/>
            </a:lnSpc>
            <a:defRPr b="1"/>
          </a:pPr>
          <a:r>
            <a:rPr lang="en-US" sz="1100" b="0">
              <a:solidFill>
                <a:srgbClr val="444444"/>
              </a:solidFill>
              <a:latin typeface="Calibri"/>
              <a:ea typeface="Calibri"/>
              <a:cs typeface="Calibri"/>
            </a:rPr>
            <a:t>Total in the network: 589.795</a:t>
          </a:r>
        </a:p>
      </dgm:t>
    </dgm:pt>
    <dgm:pt modelId="{A34E6BBE-E742-4CD5-AD3E-F577E253B409}" type="parTrans" cxnId="{FA5A299D-2531-4828-8E34-A065918F7A49}">
      <dgm:prSet/>
      <dgm:spPr/>
      <dgm:t>
        <a:bodyPr/>
        <a:lstStyle/>
        <a:p>
          <a:endParaRPr lang="es-MX"/>
        </a:p>
      </dgm:t>
    </dgm:pt>
    <dgm:pt modelId="{78FB2B0E-FA70-4461-8BBA-F419F6F51591}" type="sibTrans" cxnId="{FA5A299D-2531-4828-8E34-A065918F7A49}">
      <dgm:prSet/>
      <dgm:spPr/>
      <dgm:t>
        <a:bodyPr/>
        <a:lstStyle/>
        <a:p>
          <a:endParaRPr lang="es-MX"/>
        </a:p>
      </dgm:t>
    </dgm:pt>
    <dgm:pt modelId="{F1CC708F-8C08-4838-B2FC-AA1165A84148}">
      <dgm:prSet phldr="0"/>
      <dgm:spPr/>
      <dgm:t>
        <a:bodyPr/>
        <a:lstStyle/>
        <a:p>
          <a:pPr algn="l">
            <a:lnSpc>
              <a:spcPct val="90000"/>
            </a:lnSpc>
            <a:defRPr b="1"/>
          </a:pPr>
          <a:r>
            <a:rPr lang="en-US" sz="1100" b="0">
              <a:solidFill>
                <a:srgbClr val="444444"/>
              </a:solidFill>
              <a:latin typeface="Calibri"/>
              <a:ea typeface="Calibri"/>
              <a:cs typeface="Calibri"/>
            </a:rPr>
            <a:t>Total mutually approved: 266.805</a:t>
          </a:r>
        </a:p>
      </dgm:t>
    </dgm:pt>
    <dgm:pt modelId="{C2B67839-ED1D-485F-9020-1C01C00F84F7}" type="parTrans" cxnId="{B80BD8E6-5A0B-4D3C-A239-595C2A8499D8}">
      <dgm:prSet/>
      <dgm:spPr/>
      <dgm:t>
        <a:bodyPr/>
        <a:lstStyle/>
        <a:p>
          <a:endParaRPr lang="es-MX"/>
        </a:p>
      </dgm:t>
    </dgm:pt>
    <dgm:pt modelId="{EB0AB481-AFF7-4008-B8B3-AFB3765E9BE0}" type="sibTrans" cxnId="{B80BD8E6-5A0B-4D3C-A239-595C2A8499D8}">
      <dgm:prSet/>
      <dgm:spPr/>
      <dgm:t>
        <a:bodyPr/>
        <a:lstStyle/>
        <a:p>
          <a:endParaRPr lang="es-MX"/>
        </a:p>
      </dgm:t>
    </dgm:pt>
    <dgm:pt modelId="{A5E1AC84-D92E-40A6-80E7-387FF3E113EB}" type="pres">
      <dgm:prSet presAssocID="{E7968225-FDD9-4E48-8FC6-090F9D9D7EA0}" presName="root" presStyleCnt="0">
        <dgm:presLayoutVars>
          <dgm:chMax/>
          <dgm:chPref/>
          <dgm:animLvl val="lvl"/>
        </dgm:presLayoutVars>
      </dgm:prSet>
      <dgm:spPr/>
    </dgm:pt>
    <dgm:pt modelId="{BDF8AEEB-885B-47DF-BC99-0C9D0E38951A}" type="pres">
      <dgm:prSet presAssocID="{E7968225-FDD9-4E48-8FC6-090F9D9D7EA0}" presName="divider" presStyleLbl="fgAcc1" presStyleIdx="0" presStyleCnt="5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triangle" w="lg" len="lg"/>
        </a:ln>
        <a:effectLst/>
      </dgm:spPr>
    </dgm:pt>
    <dgm:pt modelId="{B54F17F5-0FE0-4FFA-BC94-0040361064EC}" type="pres">
      <dgm:prSet presAssocID="{E7968225-FDD9-4E48-8FC6-090F9D9D7EA0}" presName="nodes" presStyleCnt="0">
        <dgm:presLayoutVars>
          <dgm:chMax/>
          <dgm:chPref/>
          <dgm:animLvl val="lvl"/>
        </dgm:presLayoutVars>
      </dgm:prSet>
      <dgm:spPr/>
    </dgm:pt>
    <dgm:pt modelId="{BB03B526-E8F7-445A-B90A-EACEE452EEDB}" type="pres">
      <dgm:prSet presAssocID="{FEE9A45D-D4F4-4D4A-92A0-5E2E1D7A5502}" presName="composite" presStyleCnt="0"/>
      <dgm:spPr/>
    </dgm:pt>
    <dgm:pt modelId="{CBEA593C-2DF2-4E14-95A8-AE91B65536AF}" type="pres">
      <dgm:prSet presAssocID="{FEE9A45D-D4F4-4D4A-92A0-5E2E1D7A5502}" presName="ConnectorPoint" presStyleLbl="lnNode1" presStyleIdx="0" presStyleCnt="4"/>
      <dgm:spPr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gm:spPr>
    </dgm:pt>
    <dgm:pt modelId="{7BD6D767-260D-40C6-A149-5C63D1C2EB19}" type="pres">
      <dgm:prSet presAssocID="{FEE9A45D-D4F4-4D4A-92A0-5E2E1D7A5502}" presName="DropPinPlaceHolder" presStyleCnt="0"/>
      <dgm:spPr/>
    </dgm:pt>
    <dgm:pt modelId="{BFFE50F7-A1D2-4A96-8E78-3EB0EDBE9D02}" type="pres">
      <dgm:prSet presAssocID="{FEE9A45D-D4F4-4D4A-92A0-5E2E1D7A5502}" presName="DropPin" presStyleLbl="alignNode1" presStyleIdx="0" presStyleCnt="4"/>
      <dgm:spPr/>
    </dgm:pt>
    <dgm:pt modelId="{111E7470-19A3-4BC2-8258-5A2ABACCA7CF}" type="pres">
      <dgm:prSet presAssocID="{FEE9A45D-D4F4-4D4A-92A0-5E2E1D7A5502}" presName="Ellipse" presStyleLbl="fgAcc1" presStyleIdx="1" presStyleCnt="5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gm:spPr>
    </dgm:pt>
    <dgm:pt modelId="{F081FCD3-3529-4C30-896C-C9A2E2B8C8ED}" type="pres">
      <dgm:prSet presAssocID="{FEE9A45D-D4F4-4D4A-92A0-5E2E1D7A5502}" presName="L2TextContainer" presStyleLbl="revTx" presStyleIdx="0" presStyleCnt="8">
        <dgm:presLayoutVars>
          <dgm:bulletEnabled val="1"/>
        </dgm:presLayoutVars>
      </dgm:prSet>
      <dgm:spPr/>
    </dgm:pt>
    <dgm:pt modelId="{ED5CEC4B-F454-4BE5-9025-7065C70A41A5}" type="pres">
      <dgm:prSet presAssocID="{FEE9A45D-D4F4-4D4A-92A0-5E2E1D7A5502}" presName="L1TextContainer" presStyleLbl="revTx" presStyleIdx="1" presStyleCnt="8">
        <dgm:presLayoutVars>
          <dgm:chMax val="1"/>
          <dgm:chPref val="1"/>
          <dgm:bulletEnabled val="1"/>
        </dgm:presLayoutVars>
      </dgm:prSet>
      <dgm:spPr/>
    </dgm:pt>
    <dgm:pt modelId="{5DA529AC-6941-4632-960F-52D315BED273}" type="pres">
      <dgm:prSet presAssocID="{FEE9A45D-D4F4-4D4A-92A0-5E2E1D7A5502}" presName="ConnectLine" presStyleLbl="sibTrans1D1" presStyleIdx="0" presStyleCnt="4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</a:ln>
        <a:effectLst/>
      </dgm:spPr>
    </dgm:pt>
    <dgm:pt modelId="{1D88C408-8D6B-4108-9E23-2E3AE1C19EBB}" type="pres">
      <dgm:prSet presAssocID="{FEE9A45D-D4F4-4D4A-92A0-5E2E1D7A5502}" presName="EmptyPlaceHolder" presStyleCnt="0"/>
      <dgm:spPr/>
    </dgm:pt>
    <dgm:pt modelId="{162BFDE6-F25F-4A17-806C-76C228A5FE2A}" type="pres">
      <dgm:prSet presAssocID="{2B8508CB-9350-46D5-8EA2-979028E7D447}" presName="spaceBetweenRectangles" presStyleCnt="0"/>
      <dgm:spPr/>
    </dgm:pt>
    <dgm:pt modelId="{4A9EBCF3-98E7-43BE-AE41-40EC197F7881}" type="pres">
      <dgm:prSet presAssocID="{4B0610FF-26D1-498B-89A5-69135D8BF9F0}" presName="composite" presStyleCnt="0"/>
      <dgm:spPr/>
    </dgm:pt>
    <dgm:pt modelId="{4E1666D0-D7C8-4A3B-B958-B4BDDAA38255}" type="pres">
      <dgm:prSet presAssocID="{4B0610FF-26D1-498B-89A5-69135D8BF9F0}" presName="ConnectorPoint" presStyleLbl="lnNode1" presStyleIdx="1" presStyleCnt="4"/>
      <dgm:spPr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gm:spPr>
    </dgm:pt>
    <dgm:pt modelId="{3FB59FDE-46CA-41B3-A792-47986733F532}" type="pres">
      <dgm:prSet presAssocID="{4B0610FF-26D1-498B-89A5-69135D8BF9F0}" presName="DropPinPlaceHolder" presStyleCnt="0"/>
      <dgm:spPr/>
    </dgm:pt>
    <dgm:pt modelId="{55253C12-BA98-485D-8127-33D072A5594B}" type="pres">
      <dgm:prSet presAssocID="{4B0610FF-26D1-498B-89A5-69135D8BF9F0}" presName="DropPin" presStyleLbl="alignNode1" presStyleIdx="1" presStyleCnt="4"/>
      <dgm:spPr/>
    </dgm:pt>
    <dgm:pt modelId="{A9C5E199-72C2-4C9A-8811-993415293140}" type="pres">
      <dgm:prSet presAssocID="{4B0610FF-26D1-498B-89A5-69135D8BF9F0}" presName="Ellipse" presStyleLbl="fgAcc1" presStyleIdx="2" presStyleCnt="5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gm:spPr>
    </dgm:pt>
    <dgm:pt modelId="{97ED249C-315E-4B39-B0E8-1A15F825E749}" type="pres">
      <dgm:prSet presAssocID="{4B0610FF-26D1-498B-89A5-69135D8BF9F0}" presName="L2TextContainer" presStyleLbl="revTx" presStyleIdx="2" presStyleCnt="8">
        <dgm:presLayoutVars>
          <dgm:bulletEnabled val="1"/>
        </dgm:presLayoutVars>
      </dgm:prSet>
      <dgm:spPr/>
    </dgm:pt>
    <dgm:pt modelId="{7A8E9128-4149-4F74-A3F2-7DD7D0244BAB}" type="pres">
      <dgm:prSet presAssocID="{4B0610FF-26D1-498B-89A5-69135D8BF9F0}" presName="L1TextContainer" presStyleLbl="revTx" presStyleIdx="3" presStyleCnt="8">
        <dgm:presLayoutVars>
          <dgm:chMax val="1"/>
          <dgm:chPref val="1"/>
          <dgm:bulletEnabled val="1"/>
        </dgm:presLayoutVars>
      </dgm:prSet>
      <dgm:spPr/>
    </dgm:pt>
    <dgm:pt modelId="{6FA20FBC-D391-4E7E-B21A-40302948383B}" type="pres">
      <dgm:prSet presAssocID="{4B0610FF-26D1-498B-89A5-69135D8BF9F0}" presName="ConnectLine" presStyleLbl="sibTrans1D1" presStyleIdx="1" presStyleCnt="4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</a:ln>
        <a:effectLst/>
      </dgm:spPr>
    </dgm:pt>
    <dgm:pt modelId="{8BD6D2EE-66DE-463C-998E-31AFABA5C443}" type="pres">
      <dgm:prSet presAssocID="{4B0610FF-26D1-498B-89A5-69135D8BF9F0}" presName="EmptyPlaceHolder" presStyleCnt="0"/>
      <dgm:spPr/>
    </dgm:pt>
    <dgm:pt modelId="{4E1175BF-4F83-4047-83C6-E9CF72687AD1}" type="pres">
      <dgm:prSet presAssocID="{945D7601-7DBD-48E2-92B5-4460BBAEF506}" presName="spaceBetweenRectangles" presStyleCnt="0"/>
      <dgm:spPr/>
    </dgm:pt>
    <dgm:pt modelId="{3E5DD40B-F4C9-4942-9A51-E5557C05646C}" type="pres">
      <dgm:prSet presAssocID="{3BB1EA2A-1DE9-4869-A4E7-80FA319A8F26}" presName="composite" presStyleCnt="0"/>
      <dgm:spPr/>
    </dgm:pt>
    <dgm:pt modelId="{1AFD3156-02BC-41AD-A659-9F48B8F501D7}" type="pres">
      <dgm:prSet presAssocID="{3BB1EA2A-1DE9-4869-A4E7-80FA319A8F26}" presName="ConnectorPoint" presStyleLbl="lnNode1" presStyleIdx="2" presStyleCnt="4"/>
      <dgm:spPr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gm:spPr>
    </dgm:pt>
    <dgm:pt modelId="{BD947DA8-B776-4C98-9B00-E7692D1A503B}" type="pres">
      <dgm:prSet presAssocID="{3BB1EA2A-1DE9-4869-A4E7-80FA319A8F26}" presName="DropPinPlaceHolder" presStyleCnt="0"/>
      <dgm:spPr/>
    </dgm:pt>
    <dgm:pt modelId="{C1366542-9377-4E66-845A-79A554BAC7CB}" type="pres">
      <dgm:prSet presAssocID="{3BB1EA2A-1DE9-4869-A4E7-80FA319A8F26}" presName="DropPin" presStyleLbl="alignNode1" presStyleIdx="2" presStyleCnt="4"/>
      <dgm:spPr/>
    </dgm:pt>
    <dgm:pt modelId="{6E59C93B-E888-4030-B165-9149F6C771A7}" type="pres">
      <dgm:prSet presAssocID="{3BB1EA2A-1DE9-4869-A4E7-80FA319A8F26}" presName="Ellipse" presStyleLbl="fgAcc1" presStyleIdx="3" presStyleCnt="5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gm:spPr>
    </dgm:pt>
    <dgm:pt modelId="{C0AC1F31-E94C-4309-8837-75A4FA2A08B6}" type="pres">
      <dgm:prSet presAssocID="{3BB1EA2A-1DE9-4869-A4E7-80FA319A8F26}" presName="L2TextContainer" presStyleLbl="revTx" presStyleIdx="4" presStyleCnt="8">
        <dgm:presLayoutVars>
          <dgm:bulletEnabled val="1"/>
        </dgm:presLayoutVars>
      </dgm:prSet>
      <dgm:spPr/>
    </dgm:pt>
    <dgm:pt modelId="{EE5E22DD-64DA-4B2B-978E-BB89F0D2D276}" type="pres">
      <dgm:prSet presAssocID="{3BB1EA2A-1DE9-4869-A4E7-80FA319A8F26}" presName="L1TextContainer" presStyleLbl="revTx" presStyleIdx="5" presStyleCnt="8">
        <dgm:presLayoutVars>
          <dgm:chMax val="1"/>
          <dgm:chPref val="1"/>
          <dgm:bulletEnabled val="1"/>
        </dgm:presLayoutVars>
      </dgm:prSet>
      <dgm:spPr/>
    </dgm:pt>
    <dgm:pt modelId="{EB7DBABF-48FD-4CBB-8F26-CF4558146E02}" type="pres">
      <dgm:prSet presAssocID="{3BB1EA2A-1DE9-4869-A4E7-80FA319A8F26}" presName="ConnectLine" presStyleLbl="sibTrans1D1" presStyleIdx="2" presStyleCnt="4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</a:ln>
        <a:effectLst/>
      </dgm:spPr>
    </dgm:pt>
    <dgm:pt modelId="{FB91DB44-EF91-4EB6-9F05-A36FF841BD3F}" type="pres">
      <dgm:prSet presAssocID="{3BB1EA2A-1DE9-4869-A4E7-80FA319A8F26}" presName="EmptyPlaceHolder" presStyleCnt="0"/>
      <dgm:spPr/>
    </dgm:pt>
    <dgm:pt modelId="{2BB40338-1C13-438C-8D2F-1D0C63B1B137}" type="pres">
      <dgm:prSet presAssocID="{B1328543-CD1E-46C7-8206-A0B179E5DE1D}" presName="spaceBetweenRectangles" presStyleCnt="0"/>
      <dgm:spPr/>
    </dgm:pt>
    <dgm:pt modelId="{F9116852-29D1-42D8-B59E-6A5B8A32F97B}" type="pres">
      <dgm:prSet presAssocID="{FC4D7AFC-232E-48BD-A12C-C0BC8569636C}" presName="composite" presStyleCnt="0"/>
      <dgm:spPr/>
    </dgm:pt>
    <dgm:pt modelId="{5E654CE7-07BB-4951-903C-979AD28FE71F}" type="pres">
      <dgm:prSet presAssocID="{FC4D7AFC-232E-48BD-A12C-C0BC8569636C}" presName="ConnectorPoint" presStyleLbl="lnNode1" presStyleIdx="3" presStyleCnt="4"/>
      <dgm:spPr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gm:spPr>
    </dgm:pt>
    <dgm:pt modelId="{CCFAAB06-CCA4-4B36-B276-81AF07B63656}" type="pres">
      <dgm:prSet presAssocID="{FC4D7AFC-232E-48BD-A12C-C0BC8569636C}" presName="DropPinPlaceHolder" presStyleCnt="0"/>
      <dgm:spPr/>
    </dgm:pt>
    <dgm:pt modelId="{E1519EAF-4722-4EB7-975D-DECFCA8F9B62}" type="pres">
      <dgm:prSet presAssocID="{FC4D7AFC-232E-48BD-A12C-C0BC8569636C}" presName="DropPin" presStyleLbl="alignNode1" presStyleIdx="3" presStyleCnt="4"/>
      <dgm:spPr/>
    </dgm:pt>
    <dgm:pt modelId="{28595DD6-D282-4865-B0CD-B23B3E9E1B57}" type="pres">
      <dgm:prSet presAssocID="{FC4D7AFC-232E-48BD-A12C-C0BC8569636C}" presName="Ellipse" presStyleLbl="fgAcc1" presStyleIdx="4" presStyleCnt="5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gm:spPr>
    </dgm:pt>
    <dgm:pt modelId="{59CD6ED8-2FE0-4C79-AA37-99D351F42916}" type="pres">
      <dgm:prSet presAssocID="{FC4D7AFC-232E-48BD-A12C-C0BC8569636C}" presName="L2TextContainer" presStyleLbl="revTx" presStyleIdx="6" presStyleCnt="8">
        <dgm:presLayoutVars>
          <dgm:bulletEnabled val="1"/>
        </dgm:presLayoutVars>
      </dgm:prSet>
      <dgm:spPr/>
    </dgm:pt>
    <dgm:pt modelId="{BD85AB1B-CE66-4913-ADA0-11AB5C085B83}" type="pres">
      <dgm:prSet presAssocID="{FC4D7AFC-232E-48BD-A12C-C0BC8569636C}" presName="L1TextContainer" presStyleLbl="revTx" presStyleIdx="7" presStyleCnt="8">
        <dgm:presLayoutVars>
          <dgm:chMax val="1"/>
          <dgm:chPref val="1"/>
          <dgm:bulletEnabled val="1"/>
        </dgm:presLayoutVars>
      </dgm:prSet>
      <dgm:spPr/>
    </dgm:pt>
    <dgm:pt modelId="{45D31EBE-EE0D-41FF-AA1F-07DE4BF3F24A}" type="pres">
      <dgm:prSet presAssocID="{FC4D7AFC-232E-48BD-A12C-C0BC8569636C}" presName="ConnectLine" presStyleLbl="sibTrans1D1" presStyleIdx="3" presStyleCnt="4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</a:ln>
        <a:effectLst/>
      </dgm:spPr>
    </dgm:pt>
    <dgm:pt modelId="{1DDC4676-FCCF-45EE-B6E4-C1EE009FB4F7}" type="pres">
      <dgm:prSet presAssocID="{FC4D7AFC-232E-48BD-A12C-C0BC8569636C}" presName="EmptyPlaceHolder" presStyleCnt="0"/>
      <dgm:spPr/>
    </dgm:pt>
  </dgm:ptLst>
  <dgm:cxnLst>
    <dgm:cxn modelId="{C166C500-1BFF-493B-8507-7C50B09E9FA7}" type="presOf" srcId="{3BB1EA2A-1DE9-4869-A4E7-80FA319A8F26}" destId="{EE5E22DD-64DA-4B2B-978E-BB89F0D2D276}" srcOrd="0" destOrd="0" presId="urn:microsoft.com/office/officeart/2017/3/layout/DropPinTimeline"/>
    <dgm:cxn modelId="{D12B2404-327E-427C-8A4B-7D5B7CD8554D}" srcId="{FEE9A45D-D4F4-4D4A-92A0-5E2E1D7A5502}" destId="{CD05F491-58A8-4B5B-9785-8AF8DF1432F0}" srcOrd="2" destOrd="0" parTransId="{74B59AAE-9307-4165-9893-BFD9FDDC4F97}" sibTransId="{6CE416F8-3276-469C-B07C-BAF822D80BB6}"/>
    <dgm:cxn modelId="{BB9F1909-05A5-4511-9D11-74E0FED0C1D0}" type="presOf" srcId="{383BA888-9C6F-448F-969A-C8E8C21A7077}" destId="{97ED249C-315E-4B39-B0E8-1A15F825E749}" srcOrd="0" destOrd="0" presId="urn:microsoft.com/office/officeart/2017/3/layout/DropPinTimeline"/>
    <dgm:cxn modelId="{1BADE80F-FD09-46DE-BA30-733CE79C68CC}" srcId="{4B0610FF-26D1-498B-89A5-69135D8BF9F0}" destId="{DB537E85-5924-454E-842B-4DA6BE04E863}" srcOrd="1" destOrd="0" parTransId="{559C78BC-BD15-4D3A-916A-115A46772420}" sibTransId="{6744B74E-3ABB-45A7-8CB7-60AB3B8EE573}"/>
    <dgm:cxn modelId="{1FACA614-E021-479D-8E07-E3E31A2B974D}" type="presOf" srcId="{703EDA96-7F68-45BC-875A-0968FBF0AF7D}" destId="{97ED249C-315E-4B39-B0E8-1A15F825E749}" srcOrd="0" destOrd="2" presId="urn:microsoft.com/office/officeart/2017/3/layout/DropPinTimeline"/>
    <dgm:cxn modelId="{7844BC27-22F7-4624-A365-C2BDE6E4606E}" srcId="{E7968225-FDD9-4E48-8FC6-090F9D9D7EA0}" destId="{FC4D7AFC-232E-48BD-A12C-C0BC8569636C}" srcOrd="3" destOrd="0" parTransId="{9632B896-5A47-4046-8611-C6456C199F09}" sibTransId="{362B6B9D-A977-47F8-A01A-625040B3B806}"/>
    <dgm:cxn modelId="{BFD64229-B2F7-4520-919E-62D1D3325090}" srcId="{4B0610FF-26D1-498B-89A5-69135D8BF9F0}" destId="{703EDA96-7F68-45BC-875A-0968FBF0AF7D}" srcOrd="2" destOrd="0" parTransId="{8684D32A-5FA8-4714-B015-F6ADF18B334F}" sibTransId="{B6AB01A0-548C-4462-9120-27CBA9B0B7D8}"/>
    <dgm:cxn modelId="{D3DAED2E-DABB-47E3-AC5A-320CF4678100}" srcId="{3BB1EA2A-1DE9-4869-A4E7-80FA319A8F26}" destId="{607C7CBE-3CDA-44BF-B82D-6BEF5C540F46}" srcOrd="1" destOrd="0" parTransId="{53616E4E-FBE6-49C9-8EF4-353E3E8328B8}" sibTransId="{23CB73FB-A63C-4953-BDC0-7C95DC642D57}"/>
    <dgm:cxn modelId="{8EF21C5C-B0E2-44A4-802A-1596AD789E6C}" type="presOf" srcId="{CD05F491-58A8-4B5B-9785-8AF8DF1432F0}" destId="{F081FCD3-3529-4C30-896C-C9A2E2B8C8ED}" srcOrd="0" destOrd="2" presId="urn:microsoft.com/office/officeart/2017/3/layout/DropPinTimeline"/>
    <dgm:cxn modelId="{E8D9F35D-5D02-429A-9B94-9286FCB16DD1}" type="presOf" srcId="{52DB88F8-A5E4-4A4F-8336-2BFDB2E9FA7D}" destId="{C0AC1F31-E94C-4309-8837-75A4FA2A08B6}" srcOrd="0" destOrd="0" presId="urn:microsoft.com/office/officeart/2017/3/layout/DropPinTimeline"/>
    <dgm:cxn modelId="{6AD58565-E891-4AC3-9541-E6BE6847B296}" type="presOf" srcId="{81BDEB25-8A70-4EB7-B11B-2E70C0479EB5}" destId="{F081FCD3-3529-4C30-896C-C9A2E2B8C8ED}" srcOrd="0" destOrd="1" presId="urn:microsoft.com/office/officeart/2017/3/layout/DropPinTimeline"/>
    <dgm:cxn modelId="{DFC4F647-E2EA-48CB-8630-C6910570EC8E}" srcId="{E7968225-FDD9-4E48-8FC6-090F9D9D7EA0}" destId="{3BB1EA2A-1DE9-4869-A4E7-80FA319A8F26}" srcOrd="2" destOrd="0" parTransId="{8A015344-B2B3-48DA-AF99-4396224F73F3}" sibTransId="{B1328543-CD1E-46C7-8206-A0B179E5DE1D}"/>
    <dgm:cxn modelId="{5ACBEE4A-9F05-449C-8E20-DF0F72BAB68D}" type="presOf" srcId="{DB537E85-5924-454E-842B-4DA6BE04E863}" destId="{97ED249C-315E-4B39-B0E8-1A15F825E749}" srcOrd="0" destOrd="1" presId="urn:microsoft.com/office/officeart/2017/3/layout/DropPinTimeline"/>
    <dgm:cxn modelId="{F078216C-C2FE-4DE5-87CA-D933FC88EFC9}" type="presOf" srcId="{607C7CBE-3CDA-44BF-B82D-6BEF5C540F46}" destId="{C0AC1F31-E94C-4309-8837-75A4FA2A08B6}" srcOrd="0" destOrd="1" presId="urn:microsoft.com/office/officeart/2017/3/layout/DropPinTimeline"/>
    <dgm:cxn modelId="{7ED7264D-B694-4AE2-ACA5-2EA6C7B64516}" type="presOf" srcId="{834A2598-1695-4236-A685-A7C26FD50866}" destId="{59CD6ED8-2FE0-4C79-AA37-99D351F42916}" srcOrd="0" destOrd="2" presId="urn:microsoft.com/office/officeart/2017/3/layout/DropPinTimeline"/>
    <dgm:cxn modelId="{9733916F-1295-4778-8B21-506BB083B862}" srcId="{FEE9A45D-D4F4-4D4A-92A0-5E2E1D7A5502}" destId="{DBA44A82-5A93-44C6-9580-5F7893AC6013}" srcOrd="0" destOrd="0" parTransId="{B899CE3B-9586-485E-9867-A8C489D76FAF}" sibTransId="{46FB1306-1C5C-43CE-BED7-2AD172A6F7B7}"/>
    <dgm:cxn modelId="{F5FBAF71-9635-4DEB-90AA-F53396389172}" type="presOf" srcId="{DBA44A82-5A93-44C6-9580-5F7893AC6013}" destId="{F081FCD3-3529-4C30-896C-C9A2E2B8C8ED}" srcOrd="0" destOrd="0" presId="urn:microsoft.com/office/officeart/2017/3/layout/DropPinTimeline"/>
    <dgm:cxn modelId="{AB292E57-C6F8-4AFC-8BED-BE96364FB4BE}" srcId="{FEE9A45D-D4F4-4D4A-92A0-5E2E1D7A5502}" destId="{81BDEB25-8A70-4EB7-B11B-2E70C0479EB5}" srcOrd="1" destOrd="0" parTransId="{73C05C1E-E75E-4928-97F4-42B397D5E2BA}" sibTransId="{0DB41ACA-2622-4F48-9C01-D9C3838363F1}"/>
    <dgm:cxn modelId="{6B960E7B-80F1-4FEA-B455-B3E133FEE57B}" type="presOf" srcId="{8A66E5F5-51BD-48BB-8F26-05C221495682}" destId="{C0AC1F31-E94C-4309-8837-75A4FA2A08B6}" srcOrd="0" destOrd="2" presId="urn:microsoft.com/office/officeart/2017/3/layout/DropPinTimeline"/>
    <dgm:cxn modelId="{1392777B-407D-4022-9F9B-4ACA6825E2F2}" srcId="{4B0610FF-26D1-498B-89A5-69135D8BF9F0}" destId="{383BA888-9C6F-448F-969A-C8E8C21A7077}" srcOrd="0" destOrd="0" parTransId="{B07170AC-9964-4AA4-93B8-E4AD2869DBD3}" sibTransId="{6CE5AB23-85BC-4855-BACE-A91C67D6CC4D}"/>
    <dgm:cxn modelId="{66593689-E98B-46BC-B794-DF02D9E671DA}" type="presOf" srcId="{E7968225-FDD9-4E48-8FC6-090F9D9D7EA0}" destId="{A5E1AC84-D92E-40A6-80E7-387FF3E113EB}" srcOrd="0" destOrd="0" presId="urn:microsoft.com/office/officeart/2017/3/layout/DropPinTimeline"/>
    <dgm:cxn modelId="{80F7A48C-0514-48A1-8C19-352E4D69F3EF}" srcId="{3BB1EA2A-1DE9-4869-A4E7-80FA319A8F26}" destId="{52DB88F8-A5E4-4A4F-8336-2BFDB2E9FA7D}" srcOrd="0" destOrd="0" parTransId="{B14D2079-9B12-4682-B9CD-6077C895B9AD}" sibTransId="{BC4295DE-99F5-4BD4-A0D1-69DB8C19140A}"/>
    <dgm:cxn modelId="{FA5A299D-2531-4828-8E34-A065918F7A49}" srcId="{FC4D7AFC-232E-48BD-A12C-C0BC8569636C}" destId="{37EF8C4D-0C99-4761-8DAE-3D6EBB458F32}" srcOrd="0" destOrd="0" parTransId="{A34E6BBE-E742-4CD5-AD3E-F577E253B409}" sibTransId="{78FB2B0E-FA70-4461-8BBA-F419F6F51591}"/>
    <dgm:cxn modelId="{089112A5-21A3-42EB-AC34-E198130426F0}" type="presOf" srcId="{37EF8C4D-0C99-4761-8DAE-3D6EBB458F32}" destId="{59CD6ED8-2FE0-4C79-AA37-99D351F42916}" srcOrd="0" destOrd="0" presId="urn:microsoft.com/office/officeart/2017/3/layout/DropPinTimeline"/>
    <dgm:cxn modelId="{90BA8FAB-1AC3-4CAC-AB7E-6D4620E44D53}" srcId="{FC4D7AFC-232E-48BD-A12C-C0BC8569636C}" destId="{834A2598-1695-4236-A685-A7C26FD50866}" srcOrd="2" destOrd="0" parTransId="{BB07E141-FB7F-4624-87B9-3D7C1AA7B05D}" sibTransId="{C9899FF7-FAA3-472D-88CD-B799A954EC45}"/>
    <dgm:cxn modelId="{7DDFF5AF-1961-492A-837C-1231E0668BEA}" srcId="{E7968225-FDD9-4E48-8FC6-090F9D9D7EA0}" destId="{4B0610FF-26D1-498B-89A5-69135D8BF9F0}" srcOrd="1" destOrd="0" parTransId="{06C4694C-8988-4FF9-87D2-082C20C0AF51}" sibTransId="{945D7601-7DBD-48E2-92B5-4460BBAEF506}"/>
    <dgm:cxn modelId="{529B2BB7-3022-46C8-ABDF-A0E2017C0AAC}" type="presOf" srcId="{F1CC708F-8C08-4838-B2FC-AA1165A84148}" destId="{59CD6ED8-2FE0-4C79-AA37-99D351F42916}" srcOrd="0" destOrd="1" presId="urn:microsoft.com/office/officeart/2017/3/layout/DropPinTimeline"/>
    <dgm:cxn modelId="{DB6AFCBE-758B-4EBE-B64C-A80420B397EF}" type="presOf" srcId="{4B0610FF-26D1-498B-89A5-69135D8BF9F0}" destId="{7A8E9128-4149-4F74-A3F2-7DD7D0244BAB}" srcOrd="0" destOrd="0" presId="urn:microsoft.com/office/officeart/2017/3/layout/DropPinTimeline"/>
    <dgm:cxn modelId="{61B806C9-D879-48E5-AA10-A1558C675CAF}" type="presOf" srcId="{FC4D7AFC-232E-48BD-A12C-C0BC8569636C}" destId="{BD85AB1B-CE66-4913-ADA0-11AB5C085B83}" srcOrd="0" destOrd="0" presId="urn:microsoft.com/office/officeart/2017/3/layout/DropPinTimeline"/>
    <dgm:cxn modelId="{FD35C0DC-7DC1-48E8-ADDB-8BA8093BFE6F}" srcId="{3BB1EA2A-1DE9-4869-A4E7-80FA319A8F26}" destId="{8A66E5F5-51BD-48BB-8F26-05C221495682}" srcOrd="2" destOrd="0" parTransId="{7BAD2477-D8C8-4257-9656-F5A0E79207A9}" sibTransId="{F9D85477-6A3B-470C-9E2E-F742E46528A9}"/>
    <dgm:cxn modelId="{757BD0E4-8B23-425D-B429-6805C5A3AA7F}" type="presOf" srcId="{FEE9A45D-D4F4-4D4A-92A0-5E2E1D7A5502}" destId="{ED5CEC4B-F454-4BE5-9025-7065C70A41A5}" srcOrd="0" destOrd="0" presId="urn:microsoft.com/office/officeart/2017/3/layout/DropPinTimeline"/>
    <dgm:cxn modelId="{B80BD8E6-5A0B-4D3C-A239-595C2A8499D8}" srcId="{FC4D7AFC-232E-48BD-A12C-C0BC8569636C}" destId="{F1CC708F-8C08-4838-B2FC-AA1165A84148}" srcOrd="1" destOrd="0" parTransId="{C2B67839-ED1D-485F-9020-1C01C00F84F7}" sibTransId="{EB0AB481-AFF7-4008-B8B3-AFB3765E9BE0}"/>
    <dgm:cxn modelId="{D04D3AF3-2C24-4284-A5A1-A1C3AEDBB982}" srcId="{E7968225-FDD9-4E48-8FC6-090F9D9D7EA0}" destId="{FEE9A45D-D4F4-4D4A-92A0-5E2E1D7A5502}" srcOrd="0" destOrd="0" parTransId="{CA1B2DB7-6AB0-46FE-BC34-6BF4317A8784}" sibTransId="{2B8508CB-9350-46D5-8EA2-979028E7D447}"/>
    <dgm:cxn modelId="{CDE8AE58-4149-45A5-97A3-16EB1702BCD6}" type="presParOf" srcId="{A5E1AC84-D92E-40A6-80E7-387FF3E113EB}" destId="{BDF8AEEB-885B-47DF-BC99-0C9D0E38951A}" srcOrd="0" destOrd="0" presId="urn:microsoft.com/office/officeart/2017/3/layout/DropPinTimeline"/>
    <dgm:cxn modelId="{89664ED8-8D37-464E-A4F9-231700817E0A}" type="presParOf" srcId="{A5E1AC84-D92E-40A6-80E7-387FF3E113EB}" destId="{B54F17F5-0FE0-4FFA-BC94-0040361064EC}" srcOrd="1" destOrd="0" presId="urn:microsoft.com/office/officeart/2017/3/layout/DropPinTimeline"/>
    <dgm:cxn modelId="{2A9B5BD4-287A-4D2B-809B-8F5B379F87AA}" type="presParOf" srcId="{B54F17F5-0FE0-4FFA-BC94-0040361064EC}" destId="{BB03B526-E8F7-445A-B90A-EACEE452EEDB}" srcOrd="0" destOrd="0" presId="urn:microsoft.com/office/officeart/2017/3/layout/DropPinTimeline"/>
    <dgm:cxn modelId="{B2BAB7FB-B67B-44F9-A482-2D5203C542B0}" type="presParOf" srcId="{BB03B526-E8F7-445A-B90A-EACEE452EEDB}" destId="{CBEA593C-2DF2-4E14-95A8-AE91B65536AF}" srcOrd="0" destOrd="0" presId="urn:microsoft.com/office/officeart/2017/3/layout/DropPinTimeline"/>
    <dgm:cxn modelId="{028476E1-7608-4F2A-8B72-688EA5E5C87F}" type="presParOf" srcId="{BB03B526-E8F7-445A-B90A-EACEE452EEDB}" destId="{7BD6D767-260D-40C6-A149-5C63D1C2EB19}" srcOrd="1" destOrd="0" presId="urn:microsoft.com/office/officeart/2017/3/layout/DropPinTimeline"/>
    <dgm:cxn modelId="{2C9EBEF3-B3EB-495F-AC9C-9E1863372E6E}" type="presParOf" srcId="{7BD6D767-260D-40C6-A149-5C63D1C2EB19}" destId="{BFFE50F7-A1D2-4A96-8E78-3EB0EDBE9D02}" srcOrd="0" destOrd="0" presId="urn:microsoft.com/office/officeart/2017/3/layout/DropPinTimeline"/>
    <dgm:cxn modelId="{5BEDB3CB-13A3-4368-AFAA-9826B061E845}" type="presParOf" srcId="{7BD6D767-260D-40C6-A149-5C63D1C2EB19}" destId="{111E7470-19A3-4BC2-8258-5A2ABACCA7CF}" srcOrd="1" destOrd="0" presId="urn:microsoft.com/office/officeart/2017/3/layout/DropPinTimeline"/>
    <dgm:cxn modelId="{964549D7-FAA3-4A41-AFB7-C2DACCF1A597}" type="presParOf" srcId="{BB03B526-E8F7-445A-B90A-EACEE452EEDB}" destId="{F081FCD3-3529-4C30-896C-C9A2E2B8C8ED}" srcOrd="2" destOrd="0" presId="urn:microsoft.com/office/officeart/2017/3/layout/DropPinTimeline"/>
    <dgm:cxn modelId="{E5549BF9-147F-4E2A-BCBB-BDE179D0DEDF}" type="presParOf" srcId="{BB03B526-E8F7-445A-B90A-EACEE452EEDB}" destId="{ED5CEC4B-F454-4BE5-9025-7065C70A41A5}" srcOrd="3" destOrd="0" presId="urn:microsoft.com/office/officeart/2017/3/layout/DropPinTimeline"/>
    <dgm:cxn modelId="{B85EA130-715C-4D77-A9C1-C0FC337B992D}" type="presParOf" srcId="{BB03B526-E8F7-445A-B90A-EACEE452EEDB}" destId="{5DA529AC-6941-4632-960F-52D315BED273}" srcOrd="4" destOrd="0" presId="urn:microsoft.com/office/officeart/2017/3/layout/DropPinTimeline"/>
    <dgm:cxn modelId="{898F2BA7-23F9-445B-A69E-FEBFB32D4491}" type="presParOf" srcId="{BB03B526-E8F7-445A-B90A-EACEE452EEDB}" destId="{1D88C408-8D6B-4108-9E23-2E3AE1C19EBB}" srcOrd="5" destOrd="0" presId="urn:microsoft.com/office/officeart/2017/3/layout/DropPinTimeline"/>
    <dgm:cxn modelId="{EA26ABD4-20D6-4EC4-9140-677CE7936F56}" type="presParOf" srcId="{B54F17F5-0FE0-4FFA-BC94-0040361064EC}" destId="{162BFDE6-F25F-4A17-806C-76C228A5FE2A}" srcOrd="1" destOrd="0" presId="urn:microsoft.com/office/officeart/2017/3/layout/DropPinTimeline"/>
    <dgm:cxn modelId="{E3AE1CAE-D805-4C6C-84E6-05FD5D7FEE77}" type="presParOf" srcId="{B54F17F5-0FE0-4FFA-BC94-0040361064EC}" destId="{4A9EBCF3-98E7-43BE-AE41-40EC197F7881}" srcOrd="2" destOrd="0" presId="urn:microsoft.com/office/officeart/2017/3/layout/DropPinTimeline"/>
    <dgm:cxn modelId="{2A30C03D-60D1-41A7-8974-82F528D026CE}" type="presParOf" srcId="{4A9EBCF3-98E7-43BE-AE41-40EC197F7881}" destId="{4E1666D0-D7C8-4A3B-B958-B4BDDAA38255}" srcOrd="0" destOrd="0" presId="urn:microsoft.com/office/officeart/2017/3/layout/DropPinTimeline"/>
    <dgm:cxn modelId="{C901E303-2D59-4D89-A30B-C623D31F50C9}" type="presParOf" srcId="{4A9EBCF3-98E7-43BE-AE41-40EC197F7881}" destId="{3FB59FDE-46CA-41B3-A792-47986733F532}" srcOrd="1" destOrd="0" presId="urn:microsoft.com/office/officeart/2017/3/layout/DropPinTimeline"/>
    <dgm:cxn modelId="{D30A30DD-82C2-4549-9698-344C5E792FDF}" type="presParOf" srcId="{3FB59FDE-46CA-41B3-A792-47986733F532}" destId="{55253C12-BA98-485D-8127-33D072A5594B}" srcOrd="0" destOrd="0" presId="urn:microsoft.com/office/officeart/2017/3/layout/DropPinTimeline"/>
    <dgm:cxn modelId="{5443DEEE-CDDE-43D9-8FCE-BCE0E4E19799}" type="presParOf" srcId="{3FB59FDE-46CA-41B3-A792-47986733F532}" destId="{A9C5E199-72C2-4C9A-8811-993415293140}" srcOrd="1" destOrd="0" presId="urn:microsoft.com/office/officeart/2017/3/layout/DropPinTimeline"/>
    <dgm:cxn modelId="{84724CEB-C5A1-42D2-BB39-B3AA825865C8}" type="presParOf" srcId="{4A9EBCF3-98E7-43BE-AE41-40EC197F7881}" destId="{97ED249C-315E-4B39-B0E8-1A15F825E749}" srcOrd="2" destOrd="0" presId="urn:microsoft.com/office/officeart/2017/3/layout/DropPinTimeline"/>
    <dgm:cxn modelId="{AEDB1403-435A-4AD3-A97D-A8B3003623A6}" type="presParOf" srcId="{4A9EBCF3-98E7-43BE-AE41-40EC197F7881}" destId="{7A8E9128-4149-4F74-A3F2-7DD7D0244BAB}" srcOrd="3" destOrd="0" presId="urn:microsoft.com/office/officeart/2017/3/layout/DropPinTimeline"/>
    <dgm:cxn modelId="{4BFF92BF-B835-4400-AC4E-5CBA1524EDB0}" type="presParOf" srcId="{4A9EBCF3-98E7-43BE-AE41-40EC197F7881}" destId="{6FA20FBC-D391-4E7E-B21A-40302948383B}" srcOrd="4" destOrd="0" presId="urn:microsoft.com/office/officeart/2017/3/layout/DropPinTimeline"/>
    <dgm:cxn modelId="{D952E352-83CF-4D0F-AFED-A1C066BE4449}" type="presParOf" srcId="{4A9EBCF3-98E7-43BE-AE41-40EC197F7881}" destId="{8BD6D2EE-66DE-463C-998E-31AFABA5C443}" srcOrd="5" destOrd="0" presId="urn:microsoft.com/office/officeart/2017/3/layout/DropPinTimeline"/>
    <dgm:cxn modelId="{CB077C8C-5994-479A-8398-C4CE6B5B3F21}" type="presParOf" srcId="{B54F17F5-0FE0-4FFA-BC94-0040361064EC}" destId="{4E1175BF-4F83-4047-83C6-E9CF72687AD1}" srcOrd="3" destOrd="0" presId="urn:microsoft.com/office/officeart/2017/3/layout/DropPinTimeline"/>
    <dgm:cxn modelId="{60026B6C-5969-44F4-830F-A8E6ED375FD0}" type="presParOf" srcId="{B54F17F5-0FE0-4FFA-BC94-0040361064EC}" destId="{3E5DD40B-F4C9-4942-9A51-E5557C05646C}" srcOrd="4" destOrd="0" presId="urn:microsoft.com/office/officeart/2017/3/layout/DropPinTimeline"/>
    <dgm:cxn modelId="{C1E71311-662D-445F-99CF-30FCF519CEF8}" type="presParOf" srcId="{3E5DD40B-F4C9-4942-9A51-E5557C05646C}" destId="{1AFD3156-02BC-41AD-A659-9F48B8F501D7}" srcOrd="0" destOrd="0" presId="urn:microsoft.com/office/officeart/2017/3/layout/DropPinTimeline"/>
    <dgm:cxn modelId="{75317AD3-4B31-4FCB-A22E-2C2B8B30150D}" type="presParOf" srcId="{3E5DD40B-F4C9-4942-9A51-E5557C05646C}" destId="{BD947DA8-B776-4C98-9B00-E7692D1A503B}" srcOrd="1" destOrd="0" presId="urn:microsoft.com/office/officeart/2017/3/layout/DropPinTimeline"/>
    <dgm:cxn modelId="{4D1CFBC2-70DE-46CB-BC90-DBB397966E1D}" type="presParOf" srcId="{BD947DA8-B776-4C98-9B00-E7692D1A503B}" destId="{C1366542-9377-4E66-845A-79A554BAC7CB}" srcOrd="0" destOrd="0" presId="urn:microsoft.com/office/officeart/2017/3/layout/DropPinTimeline"/>
    <dgm:cxn modelId="{B0B75368-A172-4D99-A539-CF7D115382D0}" type="presParOf" srcId="{BD947DA8-B776-4C98-9B00-E7692D1A503B}" destId="{6E59C93B-E888-4030-B165-9149F6C771A7}" srcOrd="1" destOrd="0" presId="urn:microsoft.com/office/officeart/2017/3/layout/DropPinTimeline"/>
    <dgm:cxn modelId="{274F293A-68D4-43AE-8295-0788316BF7A6}" type="presParOf" srcId="{3E5DD40B-F4C9-4942-9A51-E5557C05646C}" destId="{C0AC1F31-E94C-4309-8837-75A4FA2A08B6}" srcOrd="2" destOrd="0" presId="urn:microsoft.com/office/officeart/2017/3/layout/DropPinTimeline"/>
    <dgm:cxn modelId="{203E9442-C8B8-4988-87B2-D00E92F0B324}" type="presParOf" srcId="{3E5DD40B-F4C9-4942-9A51-E5557C05646C}" destId="{EE5E22DD-64DA-4B2B-978E-BB89F0D2D276}" srcOrd="3" destOrd="0" presId="urn:microsoft.com/office/officeart/2017/3/layout/DropPinTimeline"/>
    <dgm:cxn modelId="{2414CF1C-62A3-4D72-B17B-9D8716E0FCF2}" type="presParOf" srcId="{3E5DD40B-F4C9-4942-9A51-E5557C05646C}" destId="{EB7DBABF-48FD-4CBB-8F26-CF4558146E02}" srcOrd="4" destOrd="0" presId="urn:microsoft.com/office/officeart/2017/3/layout/DropPinTimeline"/>
    <dgm:cxn modelId="{E99800A2-D757-4B92-8B87-5974790BE350}" type="presParOf" srcId="{3E5DD40B-F4C9-4942-9A51-E5557C05646C}" destId="{FB91DB44-EF91-4EB6-9F05-A36FF841BD3F}" srcOrd="5" destOrd="0" presId="urn:microsoft.com/office/officeart/2017/3/layout/DropPinTimeline"/>
    <dgm:cxn modelId="{35803E51-3469-464A-8DE3-2379F27D1F1F}" type="presParOf" srcId="{B54F17F5-0FE0-4FFA-BC94-0040361064EC}" destId="{2BB40338-1C13-438C-8D2F-1D0C63B1B137}" srcOrd="5" destOrd="0" presId="urn:microsoft.com/office/officeart/2017/3/layout/DropPinTimeline"/>
    <dgm:cxn modelId="{F46A8FA0-E6AE-478D-B4BC-8ADA0A2CF4E4}" type="presParOf" srcId="{B54F17F5-0FE0-4FFA-BC94-0040361064EC}" destId="{F9116852-29D1-42D8-B59E-6A5B8A32F97B}" srcOrd="6" destOrd="0" presId="urn:microsoft.com/office/officeart/2017/3/layout/DropPinTimeline"/>
    <dgm:cxn modelId="{EF838FE7-539D-4491-8388-068EB5DFD289}" type="presParOf" srcId="{F9116852-29D1-42D8-B59E-6A5B8A32F97B}" destId="{5E654CE7-07BB-4951-903C-979AD28FE71F}" srcOrd="0" destOrd="0" presId="urn:microsoft.com/office/officeart/2017/3/layout/DropPinTimeline"/>
    <dgm:cxn modelId="{96D332F9-F411-49DC-B1C0-B388D4975351}" type="presParOf" srcId="{F9116852-29D1-42D8-B59E-6A5B8A32F97B}" destId="{CCFAAB06-CCA4-4B36-B276-81AF07B63656}" srcOrd="1" destOrd="0" presId="urn:microsoft.com/office/officeart/2017/3/layout/DropPinTimeline"/>
    <dgm:cxn modelId="{7ABAD028-185E-427A-AA7A-ACECD5ECC02B}" type="presParOf" srcId="{CCFAAB06-CCA4-4B36-B276-81AF07B63656}" destId="{E1519EAF-4722-4EB7-975D-DECFCA8F9B62}" srcOrd="0" destOrd="0" presId="urn:microsoft.com/office/officeart/2017/3/layout/DropPinTimeline"/>
    <dgm:cxn modelId="{81F66FD1-9135-4FA6-82D1-8A97280F20C4}" type="presParOf" srcId="{CCFAAB06-CCA4-4B36-B276-81AF07B63656}" destId="{28595DD6-D282-4865-B0CD-B23B3E9E1B57}" srcOrd="1" destOrd="0" presId="urn:microsoft.com/office/officeart/2017/3/layout/DropPinTimeline"/>
    <dgm:cxn modelId="{6A0C2550-D3E4-45DA-A3A1-6ADA477CC04F}" type="presParOf" srcId="{F9116852-29D1-42D8-B59E-6A5B8A32F97B}" destId="{59CD6ED8-2FE0-4C79-AA37-99D351F42916}" srcOrd="2" destOrd="0" presId="urn:microsoft.com/office/officeart/2017/3/layout/DropPinTimeline"/>
    <dgm:cxn modelId="{EE3237AD-0854-4CE2-B47A-166CE2ADE4E3}" type="presParOf" srcId="{F9116852-29D1-42D8-B59E-6A5B8A32F97B}" destId="{BD85AB1B-CE66-4913-ADA0-11AB5C085B83}" srcOrd="3" destOrd="0" presId="urn:microsoft.com/office/officeart/2017/3/layout/DropPinTimeline"/>
    <dgm:cxn modelId="{9D5415F7-1485-43EF-AA27-B0FD618573D6}" type="presParOf" srcId="{F9116852-29D1-42D8-B59E-6A5B8A32F97B}" destId="{45D31EBE-EE0D-41FF-AA1F-07DE4BF3F24A}" srcOrd="4" destOrd="0" presId="urn:microsoft.com/office/officeart/2017/3/layout/DropPinTimeline"/>
    <dgm:cxn modelId="{A66BA246-5A4A-4FFC-8595-F64C2B01EFF5}" type="presParOf" srcId="{F9116852-29D1-42D8-B59E-6A5B8A32F97B}" destId="{1DDC4676-FCCF-45EE-B6E4-C1EE009FB4F7}" srcOrd="5" destOrd="0" presId="urn:microsoft.com/office/officeart/2017/3/layout/DropPinTimeline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D66760A-543A-42A7-8A71-535F499389CE}" type="doc">
      <dgm:prSet loTypeId="urn:microsoft.com/office/officeart/2018/2/layout/IconCircleList" loCatId="icon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en-US"/>
        </a:p>
      </dgm:t>
    </dgm:pt>
    <dgm:pt modelId="{F6357579-A98A-4179-9C9C-0AB2AAB80660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Accelerate issuance of ESCs within and across all </a:t>
          </a:r>
          <a:r>
            <a:rPr lang="en-US" err="1"/>
            <a:t>programme</a:t>
          </a:r>
          <a:r>
            <a:rPr lang="en-US"/>
            <a:t> countries </a:t>
          </a:r>
        </a:p>
      </dgm:t>
    </dgm:pt>
    <dgm:pt modelId="{8AD09018-A979-4E7D-8B30-5707347438D9}" type="parTrans" cxnId="{55717C03-3FE5-49DE-83BD-2BC5CBCB8C41}">
      <dgm:prSet/>
      <dgm:spPr/>
      <dgm:t>
        <a:bodyPr/>
        <a:lstStyle/>
        <a:p>
          <a:endParaRPr lang="en-US"/>
        </a:p>
      </dgm:t>
    </dgm:pt>
    <dgm:pt modelId="{2A3EE95C-02A7-4EB3-80D9-FC60543EB082}" type="sibTrans" cxnId="{55717C03-3FE5-49DE-83BD-2BC5CBCB8C41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24CF660C-5A91-4899-BA17-C0C534D8ED2E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Explore partnerships with key student services to bring added value to ESC holders </a:t>
          </a:r>
        </a:p>
      </dgm:t>
    </dgm:pt>
    <dgm:pt modelId="{DCC4996F-E5FC-4972-83EA-80F8298B053E}" type="parTrans" cxnId="{620228D2-6E14-446F-8133-A8FA752433B8}">
      <dgm:prSet/>
      <dgm:spPr/>
      <dgm:t>
        <a:bodyPr/>
        <a:lstStyle/>
        <a:p>
          <a:endParaRPr lang="en-US"/>
        </a:p>
      </dgm:t>
    </dgm:pt>
    <dgm:pt modelId="{E119A615-E740-4279-9D85-802AEC5106DD}" type="sibTrans" cxnId="{620228D2-6E14-446F-8133-A8FA752433B8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48DF0283-CA37-4311-AA44-5B3AA634C045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Launch of the ESC Service Catalogue </a:t>
          </a:r>
        </a:p>
      </dgm:t>
    </dgm:pt>
    <dgm:pt modelId="{1BAB54FF-5BA0-427B-AA6E-3B896D6B9151}" type="parTrans" cxnId="{257EF486-EC76-431E-875A-758A8F48E978}">
      <dgm:prSet/>
      <dgm:spPr/>
      <dgm:t>
        <a:bodyPr/>
        <a:lstStyle/>
        <a:p>
          <a:endParaRPr lang="en-US"/>
        </a:p>
      </dgm:t>
    </dgm:pt>
    <dgm:pt modelId="{E655A90C-77F6-4390-8FCC-6C9DA9CB13DA}" type="sibTrans" cxnId="{257EF486-EC76-431E-875A-758A8F48E978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9A328B89-A524-4323-9059-D532492F3798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Increase rollout of digital European Student Cards </a:t>
          </a:r>
        </a:p>
      </dgm:t>
    </dgm:pt>
    <dgm:pt modelId="{575EE73D-DABC-4B0F-AF6B-FA2B19756F88}" type="parTrans" cxnId="{E03A2BAA-44DD-4CE4-A6EA-E0F5F779628A}">
      <dgm:prSet/>
      <dgm:spPr/>
      <dgm:t>
        <a:bodyPr/>
        <a:lstStyle/>
        <a:p>
          <a:endParaRPr lang="en-US"/>
        </a:p>
      </dgm:t>
    </dgm:pt>
    <dgm:pt modelId="{DAC9073C-D018-4D0A-AF28-8AB28040380F}" type="sibTrans" cxnId="{E03A2BAA-44DD-4CE4-A6EA-E0F5F779628A}">
      <dgm:prSet/>
      <dgm:spPr/>
      <dgm:t>
        <a:bodyPr/>
        <a:lstStyle/>
        <a:p>
          <a:endParaRPr lang="en-US"/>
        </a:p>
      </dgm:t>
    </dgm:pt>
    <dgm:pt modelId="{981E1A01-7A3F-4A20-9B14-40FDDCB4DD88}" type="pres">
      <dgm:prSet presAssocID="{6D66760A-543A-42A7-8A71-535F499389CE}" presName="root" presStyleCnt="0">
        <dgm:presLayoutVars>
          <dgm:dir/>
          <dgm:resizeHandles val="exact"/>
        </dgm:presLayoutVars>
      </dgm:prSet>
      <dgm:spPr/>
    </dgm:pt>
    <dgm:pt modelId="{4FD9FDB7-2A05-4AD0-8204-BDF27A04D027}" type="pres">
      <dgm:prSet presAssocID="{6D66760A-543A-42A7-8A71-535F499389CE}" presName="container" presStyleCnt="0">
        <dgm:presLayoutVars>
          <dgm:dir/>
          <dgm:resizeHandles val="exact"/>
        </dgm:presLayoutVars>
      </dgm:prSet>
      <dgm:spPr/>
    </dgm:pt>
    <dgm:pt modelId="{B7EC11E8-68CF-40AE-AF8A-1FDFC6D60209}" type="pres">
      <dgm:prSet presAssocID="{F6357579-A98A-4179-9C9C-0AB2AAB80660}" presName="compNode" presStyleCnt="0"/>
      <dgm:spPr/>
    </dgm:pt>
    <dgm:pt modelId="{DED7BE83-EAB7-440B-BA99-368879DB511A}" type="pres">
      <dgm:prSet presAssocID="{F6357579-A98A-4179-9C9C-0AB2AAB80660}" presName="iconBgRect" presStyleLbl="bgShp" presStyleIdx="0" presStyleCnt="4"/>
      <dgm:spPr/>
    </dgm:pt>
    <dgm:pt modelId="{AE513213-70A0-4ACB-A8F6-821EB70AE4D6}" type="pres">
      <dgm:prSet presAssocID="{F6357579-A98A-4179-9C9C-0AB2AAB80660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Earth Globe Europe-Africa"/>
        </a:ext>
      </dgm:extLst>
    </dgm:pt>
    <dgm:pt modelId="{7F140F15-524B-41ED-92F2-85521EC838E6}" type="pres">
      <dgm:prSet presAssocID="{F6357579-A98A-4179-9C9C-0AB2AAB80660}" presName="spaceRect" presStyleCnt="0"/>
      <dgm:spPr/>
    </dgm:pt>
    <dgm:pt modelId="{91DE3E43-8D3D-4C4C-A084-BC754993BC3D}" type="pres">
      <dgm:prSet presAssocID="{F6357579-A98A-4179-9C9C-0AB2AAB80660}" presName="textRect" presStyleLbl="revTx" presStyleIdx="0" presStyleCnt="4">
        <dgm:presLayoutVars>
          <dgm:chMax val="1"/>
          <dgm:chPref val="1"/>
        </dgm:presLayoutVars>
      </dgm:prSet>
      <dgm:spPr/>
    </dgm:pt>
    <dgm:pt modelId="{F506260E-3525-4BA0-8D69-DE8F544EA16E}" type="pres">
      <dgm:prSet presAssocID="{2A3EE95C-02A7-4EB3-80D9-FC60543EB082}" presName="sibTrans" presStyleLbl="sibTrans2D1" presStyleIdx="0" presStyleCnt="0"/>
      <dgm:spPr/>
    </dgm:pt>
    <dgm:pt modelId="{77AFCECC-CF55-4E8F-B9CD-14F9DD3EA5CC}" type="pres">
      <dgm:prSet presAssocID="{24CF660C-5A91-4899-BA17-C0C534D8ED2E}" presName="compNode" presStyleCnt="0"/>
      <dgm:spPr/>
    </dgm:pt>
    <dgm:pt modelId="{7F950607-8CA2-4BE2-81AE-39000FA0FA41}" type="pres">
      <dgm:prSet presAssocID="{24CF660C-5A91-4899-BA17-C0C534D8ED2E}" presName="iconBgRect" presStyleLbl="bgShp" presStyleIdx="1" presStyleCnt="4"/>
      <dgm:spPr/>
    </dgm:pt>
    <dgm:pt modelId="{DAECAD23-5CA0-4A52-925B-D87BDD6E41DD}" type="pres">
      <dgm:prSet presAssocID="{24CF660C-5A91-4899-BA17-C0C534D8ED2E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andshake"/>
        </a:ext>
      </dgm:extLst>
    </dgm:pt>
    <dgm:pt modelId="{10666864-5380-4EA2-96E5-A014839184C7}" type="pres">
      <dgm:prSet presAssocID="{24CF660C-5A91-4899-BA17-C0C534D8ED2E}" presName="spaceRect" presStyleCnt="0"/>
      <dgm:spPr/>
    </dgm:pt>
    <dgm:pt modelId="{05C730D6-C941-4E3A-8A7D-8B79A3C862FA}" type="pres">
      <dgm:prSet presAssocID="{24CF660C-5A91-4899-BA17-C0C534D8ED2E}" presName="textRect" presStyleLbl="revTx" presStyleIdx="1" presStyleCnt="4">
        <dgm:presLayoutVars>
          <dgm:chMax val="1"/>
          <dgm:chPref val="1"/>
        </dgm:presLayoutVars>
      </dgm:prSet>
      <dgm:spPr/>
    </dgm:pt>
    <dgm:pt modelId="{32CAD2BB-8078-4572-841C-2FD988DB17B0}" type="pres">
      <dgm:prSet presAssocID="{E119A615-E740-4279-9D85-802AEC5106DD}" presName="sibTrans" presStyleLbl="sibTrans2D1" presStyleIdx="0" presStyleCnt="0"/>
      <dgm:spPr/>
    </dgm:pt>
    <dgm:pt modelId="{51A35E1B-CB31-477D-AC65-4462779F4E2B}" type="pres">
      <dgm:prSet presAssocID="{48DF0283-CA37-4311-AA44-5B3AA634C045}" presName="compNode" presStyleCnt="0"/>
      <dgm:spPr/>
    </dgm:pt>
    <dgm:pt modelId="{7900DA5F-CFE2-4327-ACF3-8CE9449D29A1}" type="pres">
      <dgm:prSet presAssocID="{48DF0283-CA37-4311-AA44-5B3AA634C045}" presName="iconBgRect" presStyleLbl="bgShp" presStyleIdx="2" presStyleCnt="4"/>
      <dgm:spPr/>
    </dgm:pt>
    <dgm:pt modelId="{FA328214-719B-470A-B38F-8C6BCBECEB77}" type="pres">
      <dgm:prSet presAssocID="{48DF0283-CA37-4311-AA44-5B3AA634C045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agnifying glass"/>
        </a:ext>
      </dgm:extLst>
    </dgm:pt>
    <dgm:pt modelId="{F18BA441-FBD6-48A1-87F9-C1A19E8B873E}" type="pres">
      <dgm:prSet presAssocID="{48DF0283-CA37-4311-AA44-5B3AA634C045}" presName="spaceRect" presStyleCnt="0"/>
      <dgm:spPr/>
    </dgm:pt>
    <dgm:pt modelId="{AE4FBBF1-A8D8-41D6-912D-0BEAC4CC4916}" type="pres">
      <dgm:prSet presAssocID="{48DF0283-CA37-4311-AA44-5B3AA634C045}" presName="textRect" presStyleLbl="revTx" presStyleIdx="2" presStyleCnt="4">
        <dgm:presLayoutVars>
          <dgm:chMax val="1"/>
          <dgm:chPref val="1"/>
        </dgm:presLayoutVars>
      </dgm:prSet>
      <dgm:spPr/>
    </dgm:pt>
    <dgm:pt modelId="{9A6F8F85-7D0A-4C18-BCAE-C78225FD10C6}" type="pres">
      <dgm:prSet presAssocID="{E655A90C-77F6-4390-8FCC-6C9DA9CB13DA}" presName="sibTrans" presStyleLbl="sibTrans2D1" presStyleIdx="0" presStyleCnt="0"/>
      <dgm:spPr/>
    </dgm:pt>
    <dgm:pt modelId="{4FB1D441-4D3B-4FEA-A844-66C820BE148C}" type="pres">
      <dgm:prSet presAssocID="{9A328B89-A524-4323-9059-D532492F3798}" presName="compNode" presStyleCnt="0"/>
      <dgm:spPr/>
    </dgm:pt>
    <dgm:pt modelId="{0B2412AD-333E-4A65-9038-16E39D6FA0BE}" type="pres">
      <dgm:prSet presAssocID="{9A328B89-A524-4323-9059-D532492F3798}" presName="iconBgRect" presStyleLbl="bgShp" presStyleIdx="3" presStyleCnt="4"/>
      <dgm:spPr/>
    </dgm:pt>
    <dgm:pt modelId="{EC9094BD-9AAE-4974-A7FD-3A5E73A241FB}" type="pres">
      <dgm:prSet presAssocID="{9A328B89-A524-4323-9059-D532492F3798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mart Phone"/>
        </a:ext>
      </dgm:extLst>
    </dgm:pt>
    <dgm:pt modelId="{A6C4C091-5FDA-419A-A2E6-173806BB9829}" type="pres">
      <dgm:prSet presAssocID="{9A328B89-A524-4323-9059-D532492F3798}" presName="spaceRect" presStyleCnt="0"/>
      <dgm:spPr/>
    </dgm:pt>
    <dgm:pt modelId="{1E6C2193-F8C6-4D2D-943C-7A645E50A3FA}" type="pres">
      <dgm:prSet presAssocID="{9A328B89-A524-4323-9059-D532492F3798}" presName="textRect" presStyleLbl="revTx" presStyleIdx="3" presStyleCnt="4">
        <dgm:presLayoutVars>
          <dgm:chMax val="1"/>
          <dgm:chPref val="1"/>
        </dgm:presLayoutVars>
      </dgm:prSet>
      <dgm:spPr/>
    </dgm:pt>
  </dgm:ptLst>
  <dgm:cxnLst>
    <dgm:cxn modelId="{BC99E001-D25E-4D0F-B375-779BC168C687}" type="presOf" srcId="{48DF0283-CA37-4311-AA44-5B3AA634C045}" destId="{AE4FBBF1-A8D8-41D6-912D-0BEAC4CC4916}" srcOrd="0" destOrd="0" presId="urn:microsoft.com/office/officeart/2018/2/layout/IconCircleList"/>
    <dgm:cxn modelId="{55717C03-3FE5-49DE-83BD-2BC5CBCB8C41}" srcId="{6D66760A-543A-42A7-8A71-535F499389CE}" destId="{F6357579-A98A-4179-9C9C-0AB2AAB80660}" srcOrd="0" destOrd="0" parTransId="{8AD09018-A979-4E7D-8B30-5707347438D9}" sibTransId="{2A3EE95C-02A7-4EB3-80D9-FC60543EB082}"/>
    <dgm:cxn modelId="{95F32E05-3F96-4092-8C81-AEF6AD5235DF}" type="presOf" srcId="{2A3EE95C-02A7-4EB3-80D9-FC60543EB082}" destId="{F506260E-3525-4BA0-8D69-DE8F544EA16E}" srcOrd="0" destOrd="0" presId="urn:microsoft.com/office/officeart/2018/2/layout/IconCircleList"/>
    <dgm:cxn modelId="{6A682711-9C2D-4061-9F92-7089352DB152}" type="presOf" srcId="{F6357579-A98A-4179-9C9C-0AB2AAB80660}" destId="{91DE3E43-8D3D-4C4C-A084-BC754993BC3D}" srcOrd="0" destOrd="0" presId="urn:microsoft.com/office/officeart/2018/2/layout/IconCircleList"/>
    <dgm:cxn modelId="{B3984A31-770A-42A1-97B6-7E2B6350F55B}" type="presOf" srcId="{9A328B89-A524-4323-9059-D532492F3798}" destId="{1E6C2193-F8C6-4D2D-943C-7A645E50A3FA}" srcOrd="0" destOrd="0" presId="urn:microsoft.com/office/officeart/2018/2/layout/IconCircleList"/>
    <dgm:cxn modelId="{B33CE35E-9549-42C3-BB47-4E9EF3BC3451}" type="presOf" srcId="{E119A615-E740-4279-9D85-802AEC5106DD}" destId="{32CAD2BB-8078-4572-841C-2FD988DB17B0}" srcOrd="0" destOrd="0" presId="urn:microsoft.com/office/officeart/2018/2/layout/IconCircleList"/>
    <dgm:cxn modelId="{F7C62251-B100-4897-938A-A75F23518E02}" type="presOf" srcId="{E655A90C-77F6-4390-8FCC-6C9DA9CB13DA}" destId="{9A6F8F85-7D0A-4C18-BCAE-C78225FD10C6}" srcOrd="0" destOrd="0" presId="urn:microsoft.com/office/officeart/2018/2/layout/IconCircleList"/>
    <dgm:cxn modelId="{3ACBA984-5BA9-4AB8-B240-6ED92BCFFFA6}" type="presOf" srcId="{24CF660C-5A91-4899-BA17-C0C534D8ED2E}" destId="{05C730D6-C941-4E3A-8A7D-8B79A3C862FA}" srcOrd="0" destOrd="0" presId="urn:microsoft.com/office/officeart/2018/2/layout/IconCircleList"/>
    <dgm:cxn modelId="{257EF486-EC76-431E-875A-758A8F48E978}" srcId="{6D66760A-543A-42A7-8A71-535F499389CE}" destId="{48DF0283-CA37-4311-AA44-5B3AA634C045}" srcOrd="2" destOrd="0" parTransId="{1BAB54FF-5BA0-427B-AA6E-3B896D6B9151}" sibTransId="{E655A90C-77F6-4390-8FCC-6C9DA9CB13DA}"/>
    <dgm:cxn modelId="{62A66297-C125-459F-87DF-5FD8E74D6878}" type="presOf" srcId="{6D66760A-543A-42A7-8A71-535F499389CE}" destId="{981E1A01-7A3F-4A20-9B14-40FDDCB4DD88}" srcOrd="0" destOrd="0" presId="urn:microsoft.com/office/officeart/2018/2/layout/IconCircleList"/>
    <dgm:cxn modelId="{E03A2BAA-44DD-4CE4-A6EA-E0F5F779628A}" srcId="{6D66760A-543A-42A7-8A71-535F499389CE}" destId="{9A328B89-A524-4323-9059-D532492F3798}" srcOrd="3" destOrd="0" parTransId="{575EE73D-DABC-4B0F-AF6B-FA2B19756F88}" sibTransId="{DAC9073C-D018-4D0A-AF28-8AB28040380F}"/>
    <dgm:cxn modelId="{620228D2-6E14-446F-8133-A8FA752433B8}" srcId="{6D66760A-543A-42A7-8A71-535F499389CE}" destId="{24CF660C-5A91-4899-BA17-C0C534D8ED2E}" srcOrd="1" destOrd="0" parTransId="{DCC4996F-E5FC-4972-83EA-80F8298B053E}" sibTransId="{E119A615-E740-4279-9D85-802AEC5106DD}"/>
    <dgm:cxn modelId="{9B0D9C48-7FB5-4C17-9395-855FD58868EF}" type="presParOf" srcId="{981E1A01-7A3F-4A20-9B14-40FDDCB4DD88}" destId="{4FD9FDB7-2A05-4AD0-8204-BDF27A04D027}" srcOrd="0" destOrd="0" presId="urn:microsoft.com/office/officeart/2018/2/layout/IconCircleList"/>
    <dgm:cxn modelId="{B877946C-D020-46AB-913F-A2E4B416D0E4}" type="presParOf" srcId="{4FD9FDB7-2A05-4AD0-8204-BDF27A04D027}" destId="{B7EC11E8-68CF-40AE-AF8A-1FDFC6D60209}" srcOrd="0" destOrd="0" presId="urn:microsoft.com/office/officeart/2018/2/layout/IconCircleList"/>
    <dgm:cxn modelId="{8B8A7A43-66D3-47DB-9AD1-CBB93BBFBB3D}" type="presParOf" srcId="{B7EC11E8-68CF-40AE-AF8A-1FDFC6D60209}" destId="{DED7BE83-EAB7-440B-BA99-368879DB511A}" srcOrd="0" destOrd="0" presId="urn:microsoft.com/office/officeart/2018/2/layout/IconCircleList"/>
    <dgm:cxn modelId="{FA697BA3-167A-4E27-A2A9-E1B54EA64E2D}" type="presParOf" srcId="{B7EC11E8-68CF-40AE-AF8A-1FDFC6D60209}" destId="{AE513213-70A0-4ACB-A8F6-821EB70AE4D6}" srcOrd="1" destOrd="0" presId="urn:microsoft.com/office/officeart/2018/2/layout/IconCircleList"/>
    <dgm:cxn modelId="{71EB2977-7418-4268-92F5-23591315FA1B}" type="presParOf" srcId="{B7EC11E8-68CF-40AE-AF8A-1FDFC6D60209}" destId="{7F140F15-524B-41ED-92F2-85521EC838E6}" srcOrd="2" destOrd="0" presId="urn:microsoft.com/office/officeart/2018/2/layout/IconCircleList"/>
    <dgm:cxn modelId="{C88EF153-3094-4DCC-B3AD-CB8FFBE8ECA2}" type="presParOf" srcId="{B7EC11E8-68CF-40AE-AF8A-1FDFC6D60209}" destId="{91DE3E43-8D3D-4C4C-A084-BC754993BC3D}" srcOrd="3" destOrd="0" presId="urn:microsoft.com/office/officeart/2018/2/layout/IconCircleList"/>
    <dgm:cxn modelId="{4F11EE9E-8330-44AB-A814-31196FF6209E}" type="presParOf" srcId="{4FD9FDB7-2A05-4AD0-8204-BDF27A04D027}" destId="{F506260E-3525-4BA0-8D69-DE8F544EA16E}" srcOrd="1" destOrd="0" presId="urn:microsoft.com/office/officeart/2018/2/layout/IconCircleList"/>
    <dgm:cxn modelId="{C128811B-CDF3-4692-B872-6A27B32BF55E}" type="presParOf" srcId="{4FD9FDB7-2A05-4AD0-8204-BDF27A04D027}" destId="{77AFCECC-CF55-4E8F-B9CD-14F9DD3EA5CC}" srcOrd="2" destOrd="0" presId="urn:microsoft.com/office/officeart/2018/2/layout/IconCircleList"/>
    <dgm:cxn modelId="{57398DB3-B687-4BD2-A3BC-D49D565754D3}" type="presParOf" srcId="{77AFCECC-CF55-4E8F-B9CD-14F9DD3EA5CC}" destId="{7F950607-8CA2-4BE2-81AE-39000FA0FA41}" srcOrd="0" destOrd="0" presId="urn:microsoft.com/office/officeart/2018/2/layout/IconCircleList"/>
    <dgm:cxn modelId="{3DE7CAB8-4D33-47D3-99CD-1FAEB98E2AB6}" type="presParOf" srcId="{77AFCECC-CF55-4E8F-B9CD-14F9DD3EA5CC}" destId="{DAECAD23-5CA0-4A52-925B-D87BDD6E41DD}" srcOrd="1" destOrd="0" presId="urn:microsoft.com/office/officeart/2018/2/layout/IconCircleList"/>
    <dgm:cxn modelId="{384E87BA-FAD7-4B8A-A5DA-57578B3D23C0}" type="presParOf" srcId="{77AFCECC-CF55-4E8F-B9CD-14F9DD3EA5CC}" destId="{10666864-5380-4EA2-96E5-A014839184C7}" srcOrd="2" destOrd="0" presId="urn:microsoft.com/office/officeart/2018/2/layout/IconCircleList"/>
    <dgm:cxn modelId="{2C3C9674-7118-4C32-A0B0-D7EBD71F5339}" type="presParOf" srcId="{77AFCECC-CF55-4E8F-B9CD-14F9DD3EA5CC}" destId="{05C730D6-C941-4E3A-8A7D-8B79A3C862FA}" srcOrd="3" destOrd="0" presId="urn:microsoft.com/office/officeart/2018/2/layout/IconCircleList"/>
    <dgm:cxn modelId="{715CC6D8-A4CC-4AC4-A869-8538B34B9222}" type="presParOf" srcId="{4FD9FDB7-2A05-4AD0-8204-BDF27A04D027}" destId="{32CAD2BB-8078-4572-841C-2FD988DB17B0}" srcOrd="3" destOrd="0" presId="urn:microsoft.com/office/officeart/2018/2/layout/IconCircleList"/>
    <dgm:cxn modelId="{E4BDDE8C-AEF9-443D-B85D-273E36F2DECB}" type="presParOf" srcId="{4FD9FDB7-2A05-4AD0-8204-BDF27A04D027}" destId="{51A35E1B-CB31-477D-AC65-4462779F4E2B}" srcOrd="4" destOrd="0" presId="urn:microsoft.com/office/officeart/2018/2/layout/IconCircleList"/>
    <dgm:cxn modelId="{472BF066-883D-43D5-BC1F-429648CE060F}" type="presParOf" srcId="{51A35E1B-CB31-477D-AC65-4462779F4E2B}" destId="{7900DA5F-CFE2-4327-ACF3-8CE9449D29A1}" srcOrd="0" destOrd="0" presId="urn:microsoft.com/office/officeart/2018/2/layout/IconCircleList"/>
    <dgm:cxn modelId="{67549E97-720A-4086-ACB8-BD8AF41558E5}" type="presParOf" srcId="{51A35E1B-CB31-477D-AC65-4462779F4E2B}" destId="{FA328214-719B-470A-B38F-8C6BCBECEB77}" srcOrd="1" destOrd="0" presId="urn:microsoft.com/office/officeart/2018/2/layout/IconCircleList"/>
    <dgm:cxn modelId="{F74B9B7C-2657-41C0-B328-1DC381D22FE6}" type="presParOf" srcId="{51A35E1B-CB31-477D-AC65-4462779F4E2B}" destId="{F18BA441-FBD6-48A1-87F9-C1A19E8B873E}" srcOrd="2" destOrd="0" presId="urn:microsoft.com/office/officeart/2018/2/layout/IconCircleList"/>
    <dgm:cxn modelId="{2DF6D1D3-DF53-462F-85E9-7D8965E0AF82}" type="presParOf" srcId="{51A35E1B-CB31-477D-AC65-4462779F4E2B}" destId="{AE4FBBF1-A8D8-41D6-912D-0BEAC4CC4916}" srcOrd="3" destOrd="0" presId="urn:microsoft.com/office/officeart/2018/2/layout/IconCircleList"/>
    <dgm:cxn modelId="{53641204-E894-47F6-B48E-868C03469174}" type="presParOf" srcId="{4FD9FDB7-2A05-4AD0-8204-BDF27A04D027}" destId="{9A6F8F85-7D0A-4C18-BCAE-C78225FD10C6}" srcOrd="5" destOrd="0" presId="urn:microsoft.com/office/officeart/2018/2/layout/IconCircleList"/>
    <dgm:cxn modelId="{0699394E-F294-488D-926B-1CBF6D77AA2B}" type="presParOf" srcId="{4FD9FDB7-2A05-4AD0-8204-BDF27A04D027}" destId="{4FB1D441-4D3B-4FEA-A844-66C820BE148C}" srcOrd="6" destOrd="0" presId="urn:microsoft.com/office/officeart/2018/2/layout/IconCircleList"/>
    <dgm:cxn modelId="{90F08CED-F04E-49A6-A580-DF38B7BEA185}" type="presParOf" srcId="{4FB1D441-4D3B-4FEA-A844-66C820BE148C}" destId="{0B2412AD-333E-4A65-9038-16E39D6FA0BE}" srcOrd="0" destOrd="0" presId="urn:microsoft.com/office/officeart/2018/2/layout/IconCircleList"/>
    <dgm:cxn modelId="{11F15DD5-593F-45CA-A8E8-1BB5186C7C21}" type="presParOf" srcId="{4FB1D441-4D3B-4FEA-A844-66C820BE148C}" destId="{EC9094BD-9AAE-4974-A7FD-3A5E73A241FB}" srcOrd="1" destOrd="0" presId="urn:microsoft.com/office/officeart/2018/2/layout/IconCircleList"/>
    <dgm:cxn modelId="{BC2BA9A2-5A6D-40F4-87E2-07D0C7284F27}" type="presParOf" srcId="{4FB1D441-4D3B-4FEA-A844-66C820BE148C}" destId="{A6C4C091-5FDA-419A-A2E6-173806BB9829}" srcOrd="2" destOrd="0" presId="urn:microsoft.com/office/officeart/2018/2/layout/IconCircleList"/>
    <dgm:cxn modelId="{64FC6453-08D0-482E-A1D2-3423F0A5CD4E}" type="presParOf" srcId="{4FB1D441-4D3B-4FEA-A844-66C820BE148C}" destId="{1E6C2193-F8C6-4D2D-943C-7A645E50A3FA}" srcOrd="3" destOrd="0" presId="urn:microsoft.com/office/officeart/2018/2/layout/IconCircle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DF8AEEB-885B-47DF-BC99-0C9D0E38951A}">
      <dsp:nvSpPr>
        <dsp:cNvPr id="0" name=""/>
        <dsp:cNvSpPr/>
      </dsp:nvSpPr>
      <dsp:spPr>
        <a:xfrm>
          <a:off x="0" y="1758832"/>
          <a:ext cx="9938157" cy="0"/>
        </a:xfrm>
        <a:prstGeom prst="lin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triangle" w="lg" len="lg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FFE50F7-A1D2-4A96-8E78-3EB0EDBE9D02}">
      <dsp:nvSpPr>
        <dsp:cNvPr id="0" name=""/>
        <dsp:cNvSpPr/>
      </dsp:nvSpPr>
      <dsp:spPr>
        <a:xfrm rot="8100000">
          <a:off x="56900" y="405341"/>
          <a:ext cx="258685" cy="258685"/>
        </a:xfrm>
        <a:prstGeom prst="teardrop">
          <a:avLst>
            <a:gd name="adj" fmla="val 11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11E7470-19A3-4BC2-8258-5A2ABACCA7CF}">
      <dsp:nvSpPr>
        <dsp:cNvPr id="0" name=""/>
        <dsp:cNvSpPr/>
      </dsp:nvSpPr>
      <dsp:spPr>
        <a:xfrm>
          <a:off x="85638" y="434079"/>
          <a:ext cx="201210" cy="20121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081FCD3-3529-4C30-896C-C9A2E2B8C8ED}">
      <dsp:nvSpPr>
        <dsp:cNvPr id="0" name=""/>
        <dsp:cNvSpPr/>
      </dsp:nvSpPr>
      <dsp:spPr>
        <a:xfrm>
          <a:off x="369162" y="717603"/>
          <a:ext cx="3303827" cy="10412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>
              <a:solidFill>
                <a:srgbClr val="444444"/>
              </a:solidFill>
              <a:latin typeface="Calibri"/>
              <a:ea typeface="Calibri"/>
              <a:cs typeface="Calibri"/>
            </a:rPr>
            <a:t>Total in the network: 184.907</a:t>
          </a:r>
        </a:p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>
              <a:solidFill>
                <a:srgbClr val="444444"/>
              </a:solidFill>
              <a:latin typeface="Calibri"/>
              <a:ea typeface="Calibri"/>
              <a:cs typeface="Calibri"/>
            </a:rPr>
            <a:t>Total mutually approved: 50.162 </a:t>
          </a:r>
        </a:p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>
              <a:solidFill>
                <a:srgbClr val="444444"/>
              </a:solidFill>
              <a:latin typeface="Calibri"/>
              <a:ea typeface="Calibri"/>
              <a:cs typeface="Calibri"/>
            </a:rPr>
            <a:t>Approval rate: </a:t>
          </a:r>
          <a:r>
            <a:rPr lang="en-US" sz="1500" u="sng" kern="1200">
              <a:latin typeface="Calibri"/>
              <a:ea typeface="Calibri"/>
              <a:cs typeface="Calibri"/>
            </a:rPr>
            <a:t>27%</a:t>
          </a:r>
        </a:p>
      </dsp:txBody>
      <dsp:txXfrm>
        <a:off x="369162" y="717603"/>
        <a:ext cx="3303827" cy="1041228"/>
      </dsp:txXfrm>
    </dsp:sp>
    <dsp:sp modelId="{ED5CEC4B-F454-4BE5-9025-7065C70A41A5}">
      <dsp:nvSpPr>
        <dsp:cNvPr id="0" name=""/>
        <dsp:cNvSpPr/>
      </dsp:nvSpPr>
      <dsp:spPr>
        <a:xfrm>
          <a:off x="369162" y="351766"/>
          <a:ext cx="3303827" cy="3658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b="1" kern="1200">
              <a:solidFill>
                <a:srgbClr val="444444"/>
              </a:solidFill>
              <a:latin typeface="Calibri"/>
              <a:ea typeface="Calibri"/>
              <a:cs typeface="Calibri"/>
            </a:rPr>
            <a:t>1 January 2023</a:t>
          </a:r>
        </a:p>
      </dsp:txBody>
      <dsp:txXfrm>
        <a:off x="369162" y="351766"/>
        <a:ext cx="3303827" cy="365837"/>
      </dsp:txXfrm>
    </dsp:sp>
    <dsp:sp modelId="{5DA529AC-6941-4632-960F-52D315BED273}">
      <dsp:nvSpPr>
        <dsp:cNvPr id="0" name=""/>
        <dsp:cNvSpPr/>
      </dsp:nvSpPr>
      <dsp:spPr>
        <a:xfrm>
          <a:off x="186243" y="717603"/>
          <a:ext cx="0" cy="1041228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BEA593C-2DF2-4E14-95A8-AE91B65536AF}">
      <dsp:nvSpPr>
        <dsp:cNvPr id="0" name=""/>
        <dsp:cNvSpPr/>
      </dsp:nvSpPr>
      <dsp:spPr>
        <a:xfrm>
          <a:off x="152714" y="1725906"/>
          <a:ext cx="65850" cy="6585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5253C12-BA98-485D-8127-33D072A5594B}">
      <dsp:nvSpPr>
        <dsp:cNvPr id="0" name=""/>
        <dsp:cNvSpPr/>
      </dsp:nvSpPr>
      <dsp:spPr>
        <a:xfrm rot="18900000">
          <a:off x="2040564" y="2853636"/>
          <a:ext cx="258685" cy="258685"/>
        </a:xfrm>
        <a:prstGeom prst="teardrop">
          <a:avLst>
            <a:gd name="adj" fmla="val 11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C5E199-72C2-4C9A-8811-993415293140}">
      <dsp:nvSpPr>
        <dsp:cNvPr id="0" name=""/>
        <dsp:cNvSpPr/>
      </dsp:nvSpPr>
      <dsp:spPr>
        <a:xfrm>
          <a:off x="2069302" y="2882373"/>
          <a:ext cx="201210" cy="20121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7ED249C-315E-4B39-B0E8-1A15F825E749}">
      <dsp:nvSpPr>
        <dsp:cNvPr id="0" name=""/>
        <dsp:cNvSpPr/>
      </dsp:nvSpPr>
      <dsp:spPr>
        <a:xfrm>
          <a:off x="2352826" y="1758832"/>
          <a:ext cx="3303827" cy="10412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>
              <a:solidFill>
                <a:srgbClr val="444444"/>
              </a:solidFill>
              <a:latin typeface="Calibri"/>
              <a:ea typeface="Calibri"/>
              <a:cs typeface="Calibri"/>
            </a:rPr>
            <a:t>Total in the network: 377.697</a:t>
          </a:r>
        </a:p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>
              <a:solidFill>
                <a:srgbClr val="444444"/>
              </a:solidFill>
              <a:latin typeface="Calibri"/>
              <a:ea typeface="Calibri"/>
              <a:cs typeface="Calibri"/>
            </a:rPr>
            <a:t>Total mutually approved: 152.253</a:t>
          </a:r>
        </a:p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>
              <a:solidFill>
                <a:srgbClr val="444444"/>
              </a:solidFill>
              <a:latin typeface="Calibri"/>
              <a:ea typeface="Calibri"/>
              <a:cs typeface="Calibri"/>
            </a:rPr>
            <a:t>Approval rate: </a:t>
          </a:r>
          <a:r>
            <a:rPr lang="en-US" sz="1500" u="sng" kern="1200">
              <a:solidFill>
                <a:srgbClr val="444444"/>
              </a:solidFill>
              <a:latin typeface="Calibri"/>
              <a:ea typeface="Calibri"/>
              <a:cs typeface="Calibri"/>
            </a:rPr>
            <a:t>40%</a:t>
          </a:r>
        </a:p>
      </dsp:txBody>
      <dsp:txXfrm>
        <a:off x="2352826" y="1758832"/>
        <a:ext cx="3303827" cy="1041228"/>
      </dsp:txXfrm>
    </dsp:sp>
    <dsp:sp modelId="{7A8E9128-4149-4F74-A3F2-7DD7D0244BAB}">
      <dsp:nvSpPr>
        <dsp:cNvPr id="0" name=""/>
        <dsp:cNvSpPr/>
      </dsp:nvSpPr>
      <dsp:spPr>
        <a:xfrm>
          <a:off x="2352826" y="2800060"/>
          <a:ext cx="3303827" cy="3658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>
              <a:solidFill>
                <a:srgbClr val="444444"/>
              </a:solidFill>
              <a:latin typeface="Calibri"/>
              <a:ea typeface="Calibri"/>
              <a:cs typeface="Calibri"/>
            </a:rPr>
            <a:t>1 January 2024</a:t>
          </a:r>
        </a:p>
      </dsp:txBody>
      <dsp:txXfrm>
        <a:off x="2352826" y="2800060"/>
        <a:ext cx="3303827" cy="365837"/>
      </dsp:txXfrm>
    </dsp:sp>
    <dsp:sp modelId="{6FA20FBC-D391-4E7E-B21A-40302948383B}">
      <dsp:nvSpPr>
        <dsp:cNvPr id="0" name=""/>
        <dsp:cNvSpPr/>
      </dsp:nvSpPr>
      <dsp:spPr>
        <a:xfrm>
          <a:off x="2169907" y="1758832"/>
          <a:ext cx="0" cy="1041228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E1666D0-D7C8-4A3B-B958-B4BDDAA38255}">
      <dsp:nvSpPr>
        <dsp:cNvPr id="0" name=""/>
        <dsp:cNvSpPr/>
      </dsp:nvSpPr>
      <dsp:spPr>
        <a:xfrm>
          <a:off x="2136378" y="1725906"/>
          <a:ext cx="65850" cy="6585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366542-9377-4E66-845A-79A554BAC7CB}">
      <dsp:nvSpPr>
        <dsp:cNvPr id="0" name=""/>
        <dsp:cNvSpPr/>
      </dsp:nvSpPr>
      <dsp:spPr>
        <a:xfrm rot="8100000">
          <a:off x="4024228" y="405341"/>
          <a:ext cx="258685" cy="258685"/>
        </a:xfrm>
        <a:prstGeom prst="teardrop">
          <a:avLst>
            <a:gd name="adj" fmla="val 11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E59C93B-E888-4030-B165-9149F6C771A7}">
      <dsp:nvSpPr>
        <dsp:cNvPr id="0" name=""/>
        <dsp:cNvSpPr/>
      </dsp:nvSpPr>
      <dsp:spPr>
        <a:xfrm>
          <a:off x="4052966" y="434079"/>
          <a:ext cx="201210" cy="20121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0AC1F31-E94C-4309-8837-75A4FA2A08B6}">
      <dsp:nvSpPr>
        <dsp:cNvPr id="0" name=""/>
        <dsp:cNvSpPr/>
      </dsp:nvSpPr>
      <dsp:spPr>
        <a:xfrm>
          <a:off x="4336489" y="717603"/>
          <a:ext cx="3303827" cy="10412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>
              <a:solidFill>
                <a:srgbClr val="444444"/>
              </a:solidFill>
              <a:latin typeface="Calibri"/>
              <a:ea typeface="Calibri"/>
              <a:cs typeface="Calibri"/>
            </a:rPr>
            <a:t>Total in the network: 542.746</a:t>
          </a:r>
        </a:p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>
              <a:solidFill>
                <a:srgbClr val="444444"/>
              </a:solidFill>
              <a:latin typeface="Calibri"/>
              <a:ea typeface="Calibri"/>
              <a:cs typeface="Calibri"/>
            </a:rPr>
            <a:t>Total mutually approved: 233.828</a:t>
          </a:r>
        </a:p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>
              <a:solidFill>
                <a:srgbClr val="444444"/>
              </a:solidFill>
              <a:latin typeface="Calibri"/>
              <a:ea typeface="Calibri"/>
              <a:cs typeface="Calibri"/>
            </a:rPr>
            <a:t>Approval rate: </a:t>
          </a:r>
          <a:r>
            <a:rPr lang="en-US" sz="1500" u="sng" kern="1200">
              <a:solidFill>
                <a:srgbClr val="444444"/>
              </a:solidFill>
              <a:latin typeface="Calibri"/>
              <a:ea typeface="Calibri"/>
              <a:cs typeface="Calibri"/>
            </a:rPr>
            <a:t>43%</a:t>
          </a:r>
        </a:p>
      </dsp:txBody>
      <dsp:txXfrm>
        <a:off x="4336489" y="717603"/>
        <a:ext cx="3303827" cy="1041228"/>
      </dsp:txXfrm>
    </dsp:sp>
    <dsp:sp modelId="{EE5E22DD-64DA-4B2B-978E-BB89F0D2D276}">
      <dsp:nvSpPr>
        <dsp:cNvPr id="0" name=""/>
        <dsp:cNvSpPr/>
      </dsp:nvSpPr>
      <dsp:spPr>
        <a:xfrm>
          <a:off x="4336489" y="351766"/>
          <a:ext cx="3303827" cy="3658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>
              <a:solidFill>
                <a:srgbClr val="444444"/>
              </a:solidFill>
              <a:latin typeface="Calibri"/>
              <a:ea typeface="Calibri"/>
              <a:cs typeface="Calibri"/>
            </a:rPr>
            <a:t>1 February 2025</a:t>
          </a:r>
        </a:p>
      </dsp:txBody>
      <dsp:txXfrm>
        <a:off x="4336489" y="351766"/>
        <a:ext cx="3303827" cy="365837"/>
      </dsp:txXfrm>
    </dsp:sp>
    <dsp:sp modelId="{EB7DBABF-48FD-4CBB-8F26-CF4558146E02}">
      <dsp:nvSpPr>
        <dsp:cNvPr id="0" name=""/>
        <dsp:cNvSpPr/>
      </dsp:nvSpPr>
      <dsp:spPr>
        <a:xfrm>
          <a:off x="4153571" y="717603"/>
          <a:ext cx="0" cy="1041228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AFD3156-02BC-41AD-A659-9F48B8F501D7}">
      <dsp:nvSpPr>
        <dsp:cNvPr id="0" name=""/>
        <dsp:cNvSpPr/>
      </dsp:nvSpPr>
      <dsp:spPr>
        <a:xfrm>
          <a:off x="4120041" y="1725906"/>
          <a:ext cx="65850" cy="6585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1519EAF-4722-4EB7-975D-DECFCA8F9B62}">
      <dsp:nvSpPr>
        <dsp:cNvPr id="0" name=""/>
        <dsp:cNvSpPr/>
      </dsp:nvSpPr>
      <dsp:spPr>
        <a:xfrm rot="18900000">
          <a:off x="6007892" y="2853636"/>
          <a:ext cx="258685" cy="258685"/>
        </a:xfrm>
        <a:prstGeom prst="teardrop">
          <a:avLst>
            <a:gd name="adj" fmla="val 11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8595DD6-D282-4865-B0CD-B23B3E9E1B57}">
      <dsp:nvSpPr>
        <dsp:cNvPr id="0" name=""/>
        <dsp:cNvSpPr/>
      </dsp:nvSpPr>
      <dsp:spPr>
        <a:xfrm>
          <a:off x="6036629" y="2882373"/>
          <a:ext cx="201210" cy="20121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9CD6ED8-2FE0-4C79-AA37-99D351F42916}">
      <dsp:nvSpPr>
        <dsp:cNvPr id="0" name=""/>
        <dsp:cNvSpPr/>
      </dsp:nvSpPr>
      <dsp:spPr>
        <a:xfrm>
          <a:off x="6320153" y="1758832"/>
          <a:ext cx="3303827" cy="10412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500" b="0" kern="1200">
              <a:solidFill>
                <a:srgbClr val="444444"/>
              </a:solidFill>
              <a:latin typeface="Calibri"/>
              <a:ea typeface="Calibri"/>
              <a:cs typeface="Calibri"/>
            </a:rPr>
            <a:t>Total in the network: 589.795</a:t>
          </a:r>
        </a:p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500" b="0" kern="1200">
              <a:solidFill>
                <a:srgbClr val="444444"/>
              </a:solidFill>
              <a:latin typeface="Calibri"/>
              <a:ea typeface="Calibri"/>
              <a:cs typeface="Calibri"/>
            </a:rPr>
            <a:t>Total mutually approved: 266.805</a:t>
          </a:r>
        </a:p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500" b="0" kern="1200">
              <a:solidFill>
                <a:srgbClr val="444444"/>
              </a:solidFill>
              <a:latin typeface="Calibri"/>
              <a:ea typeface="Calibri"/>
              <a:cs typeface="Calibri"/>
            </a:rPr>
            <a:t>Approval rate: </a:t>
          </a:r>
          <a:r>
            <a:rPr lang="en-US" sz="1500" b="0" u="sng" kern="1200">
              <a:solidFill>
                <a:srgbClr val="444444"/>
              </a:solidFill>
              <a:latin typeface="Calibri"/>
              <a:ea typeface="Calibri"/>
              <a:cs typeface="Calibri"/>
            </a:rPr>
            <a:t>45%</a:t>
          </a:r>
          <a:endParaRPr lang="en-US" sz="1500" u="sng" kern="1200"/>
        </a:p>
      </dsp:txBody>
      <dsp:txXfrm>
        <a:off x="6320153" y="1758832"/>
        <a:ext cx="3303827" cy="1041228"/>
      </dsp:txXfrm>
    </dsp:sp>
    <dsp:sp modelId="{BD85AB1B-CE66-4913-ADA0-11AB5C085B83}">
      <dsp:nvSpPr>
        <dsp:cNvPr id="0" name=""/>
        <dsp:cNvSpPr/>
      </dsp:nvSpPr>
      <dsp:spPr>
        <a:xfrm>
          <a:off x="6320153" y="2800060"/>
          <a:ext cx="3303827" cy="3658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>
              <a:solidFill>
                <a:srgbClr val="444444"/>
              </a:solidFill>
              <a:latin typeface="Calibri"/>
              <a:ea typeface="Calibri"/>
              <a:cs typeface="Calibri"/>
            </a:rPr>
            <a:t>1 September 2025</a:t>
          </a:r>
        </a:p>
      </dsp:txBody>
      <dsp:txXfrm>
        <a:off x="6320153" y="2800060"/>
        <a:ext cx="3303827" cy="365837"/>
      </dsp:txXfrm>
    </dsp:sp>
    <dsp:sp modelId="{45D31EBE-EE0D-41FF-AA1F-07DE4BF3F24A}">
      <dsp:nvSpPr>
        <dsp:cNvPr id="0" name=""/>
        <dsp:cNvSpPr/>
      </dsp:nvSpPr>
      <dsp:spPr>
        <a:xfrm>
          <a:off x="6137235" y="1758832"/>
          <a:ext cx="0" cy="1041228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E654CE7-07BB-4951-903C-979AD28FE71F}">
      <dsp:nvSpPr>
        <dsp:cNvPr id="0" name=""/>
        <dsp:cNvSpPr/>
      </dsp:nvSpPr>
      <dsp:spPr>
        <a:xfrm>
          <a:off x="6103705" y="1725906"/>
          <a:ext cx="65850" cy="6585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ED7BE83-EAB7-440B-BA99-368879DB511A}">
      <dsp:nvSpPr>
        <dsp:cNvPr id="0" name=""/>
        <dsp:cNvSpPr/>
      </dsp:nvSpPr>
      <dsp:spPr>
        <a:xfrm>
          <a:off x="212335" y="275075"/>
          <a:ext cx="1335915" cy="1335915"/>
        </a:xfrm>
        <a:prstGeom prst="ellipse">
          <a:avLst/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E513213-70A0-4ACB-A8F6-821EB70AE4D6}">
      <dsp:nvSpPr>
        <dsp:cNvPr id="0" name=""/>
        <dsp:cNvSpPr/>
      </dsp:nvSpPr>
      <dsp:spPr>
        <a:xfrm>
          <a:off x="492877" y="555617"/>
          <a:ext cx="774830" cy="77483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1DE3E43-8D3D-4C4C-A084-BC754993BC3D}">
      <dsp:nvSpPr>
        <dsp:cNvPr id="0" name=""/>
        <dsp:cNvSpPr/>
      </dsp:nvSpPr>
      <dsp:spPr>
        <a:xfrm>
          <a:off x="1834517" y="275075"/>
          <a:ext cx="3148942" cy="13359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10223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/>
            <a:t>Accelerate issuance of ESCs within and across all </a:t>
          </a:r>
          <a:r>
            <a:rPr lang="en-US" sz="2300" kern="1200" err="1"/>
            <a:t>programme</a:t>
          </a:r>
          <a:r>
            <a:rPr lang="en-US" sz="2300" kern="1200"/>
            <a:t> countries </a:t>
          </a:r>
        </a:p>
      </dsp:txBody>
      <dsp:txXfrm>
        <a:off x="1834517" y="275075"/>
        <a:ext cx="3148942" cy="1335915"/>
      </dsp:txXfrm>
    </dsp:sp>
    <dsp:sp modelId="{7F950607-8CA2-4BE2-81AE-39000FA0FA41}">
      <dsp:nvSpPr>
        <dsp:cNvPr id="0" name=""/>
        <dsp:cNvSpPr/>
      </dsp:nvSpPr>
      <dsp:spPr>
        <a:xfrm>
          <a:off x="5532139" y="275075"/>
          <a:ext cx="1335915" cy="1335915"/>
        </a:xfrm>
        <a:prstGeom prst="ellipse">
          <a:avLst/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AECAD23-5CA0-4A52-925B-D87BDD6E41DD}">
      <dsp:nvSpPr>
        <dsp:cNvPr id="0" name=""/>
        <dsp:cNvSpPr/>
      </dsp:nvSpPr>
      <dsp:spPr>
        <a:xfrm>
          <a:off x="5812681" y="555617"/>
          <a:ext cx="774830" cy="77483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5C730D6-C941-4E3A-8A7D-8B79A3C862FA}">
      <dsp:nvSpPr>
        <dsp:cNvPr id="0" name=""/>
        <dsp:cNvSpPr/>
      </dsp:nvSpPr>
      <dsp:spPr>
        <a:xfrm>
          <a:off x="7154322" y="275075"/>
          <a:ext cx="3148942" cy="13359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10223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/>
            <a:t>Explore partnerships with key student services to bring added value to ESC holders </a:t>
          </a:r>
        </a:p>
      </dsp:txBody>
      <dsp:txXfrm>
        <a:off x="7154322" y="275075"/>
        <a:ext cx="3148942" cy="1335915"/>
      </dsp:txXfrm>
    </dsp:sp>
    <dsp:sp modelId="{7900DA5F-CFE2-4327-ACF3-8CE9449D29A1}">
      <dsp:nvSpPr>
        <dsp:cNvPr id="0" name=""/>
        <dsp:cNvSpPr/>
      </dsp:nvSpPr>
      <dsp:spPr>
        <a:xfrm>
          <a:off x="212335" y="2270913"/>
          <a:ext cx="1335915" cy="1335915"/>
        </a:xfrm>
        <a:prstGeom prst="ellipse">
          <a:avLst/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A328214-719B-470A-B38F-8C6BCBECEB77}">
      <dsp:nvSpPr>
        <dsp:cNvPr id="0" name=""/>
        <dsp:cNvSpPr/>
      </dsp:nvSpPr>
      <dsp:spPr>
        <a:xfrm>
          <a:off x="492877" y="2551455"/>
          <a:ext cx="774830" cy="774830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E4FBBF1-A8D8-41D6-912D-0BEAC4CC4916}">
      <dsp:nvSpPr>
        <dsp:cNvPr id="0" name=""/>
        <dsp:cNvSpPr/>
      </dsp:nvSpPr>
      <dsp:spPr>
        <a:xfrm>
          <a:off x="1834517" y="2270913"/>
          <a:ext cx="3148942" cy="13359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10223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Launch of the ESC Service Catalogue </a:t>
          </a:r>
        </a:p>
      </dsp:txBody>
      <dsp:txXfrm>
        <a:off x="1834517" y="2270913"/>
        <a:ext cx="3148942" cy="1335915"/>
      </dsp:txXfrm>
    </dsp:sp>
    <dsp:sp modelId="{0B2412AD-333E-4A65-9038-16E39D6FA0BE}">
      <dsp:nvSpPr>
        <dsp:cNvPr id="0" name=""/>
        <dsp:cNvSpPr/>
      </dsp:nvSpPr>
      <dsp:spPr>
        <a:xfrm>
          <a:off x="5532139" y="2270913"/>
          <a:ext cx="1335915" cy="1335915"/>
        </a:xfrm>
        <a:prstGeom prst="ellipse">
          <a:avLst/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C9094BD-9AAE-4974-A7FD-3A5E73A241FB}">
      <dsp:nvSpPr>
        <dsp:cNvPr id="0" name=""/>
        <dsp:cNvSpPr/>
      </dsp:nvSpPr>
      <dsp:spPr>
        <a:xfrm>
          <a:off x="5812681" y="2551455"/>
          <a:ext cx="774830" cy="774830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E6C2193-F8C6-4D2D-943C-7A645E50A3FA}">
      <dsp:nvSpPr>
        <dsp:cNvPr id="0" name=""/>
        <dsp:cNvSpPr/>
      </dsp:nvSpPr>
      <dsp:spPr>
        <a:xfrm>
          <a:off x="7154322" y="2270913"/>
          <a:ext cx="3148942" cy="13359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10223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/>
            <a:t>Increase rollout of digital European Student Cards </a:t>
          </a:r>
        </a:p>
      </dsp:txBody>
      <dsp:txXfrm>
        <a:off x="7154322" y="2270913"/>
        <a:ext cx="3148942" cy="133591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7/3/layout/DropPinTimeline">
  <dgm:title val="Drop Pin Timeline"/>
  <dgm:desc val="Use to show a list of events in chronological order. An invisible box next to the pin contains the date and the description is immediately below. It can display a medium amount of text and medium length date format."/>
  <dgm:catLst>
    <dgm:cat type="timeline" pri="500"/>
    <dgm:cat type="process" pri="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">
    <dgm:varLst>
      <dgm:chMax/>
      <dgm:chPref/>
      <dgm:animLvl val="lvl"/>
    </dgm:varLst>
    <dgm:alg type="composite"/>
    <dgm:shape xmlns:r="http://schemas.openxmlformats.org/officeDocument/2006/relationships" r:blip="">
      <dgm:adjLst/>
    </dgm:shape>
    <dgm:constrLst>
      <dgm:constr type="w" for="ch" forName="divider" refType="w"/>
      <dgm:constr type="h" for="ch" forName="divider"/>
      <dgm:constr type="ctrY" for="ch" forName="divider" refType="h" fact="0.5"/>
      <dgm:constr type="l" for="ch" forName="divider"/>
      <dgm:constr type="w" for="ch" forName="nodes" refType="w"/>
      <dgm:constr type="h" for="ch" forName="nodes" refType="h" fact="0.8"/>
      <dgm:constr type="ctrY" for="ch" forName="nodes" refType="h" fact="0.5"/>
    </dgm:constrLst>
    <dgm:layoutNode name="divider" styleLbl="fgAcc1">
      <dgm:alg type="sp"/>
      <dgm:choose name="ArrowShape">
        <dgm:if name="ArrowShapeLTR" func="var" arg="dir" op="equ" val="norm">
          <dgm:shape xmlns:r="http://schemas.openxmlformats.org/officeDocument/2006/relationships" type="line" r:blip="" zOrderOff="-1">
            <dgm:adjLst/>
            <dgm:extLst>
              <a:ext uri="{B698B0E9-8C71-41B9-8309-B3DCBF30829C}">
                <dgm1612:spPr xmlns:dgm1612="http://schemas.microsoft.com/office/drawing/2016/12/diagram">
                  <a:ln w="19050">
                    <a:solidFill>
                      <a:srgbClr val="000000"/>
                    </a:solidFill>
                    <a:tailEnd type="triangle" w="lg" len="lg"/>
                  </a:ln>
                </dgm1612:spPr>
              </a:ext>
            </dgm:extLst>
          </dgm:shape>
        </dgm:if>
        <dgm:else name="ArrowShapeRTL">
          <dgm:shape xmlns:r="http://schemas.openxmlformats.org/officeDocument/2006/relationships" type="line" r:blip="" zOrderOff="-1">
            <dgm:adjLst/>
            <dgm:extLst>
              <a:ext uri="{B698B0E9-8C71-41B9-8309-B3DCBF30829C}">
                <dgm1612:spPr xmlns:dgm1612="http://schemas.microsoft.com/office/drawing/2016/12/diagram">
                  <a:ln>
                    <a:solidFill>
                      <a:srgbClr val="000000"/>
                    </a:solidFill>
                    <a:headEnd type="triangle" w="lg" len="lg"/>
                  </a:ln>
                </dgm1612:spPr>
              </a:ext>
            </dgm:extLst>
          </dgm:shape>
        </dgm:else>
      </dgm:choose>
      <dgm:presOf/>
      <dgm:constrLst/>
      <dgm:ruleLst/>
    </dgm:layoutNode>
    <dgm:layoutNode name="nodes">
      <dgm:varLst>
        <dgm:chMax/>
        <dgm:chPref/>
        <dgm:animLvl val="lvl"/>
      </dgm:varLst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constrLst>
        <dgm:constr type="primFontSz" for="des" forName="L1TextContainer" val="20"/>
        <dgm:constr type="primFontSz" for="des" forName="L2TextContainer" refType="primFontSz" refFor="des" refForName="L1TextContainer" op="equ" fact="0.75"/>
        <dgm:constr type="w" for="ch" forName="composite" refType="w"/>
        <dgm:constr type="h" for="ch" forName="composite" refType="h"/>
        <dgm:constr type="w" for="ch" forName="spaceBetweenRectangles" refType="w" refFor="ch" refForName="composite" fact="-0.5"/>
        <dgm:constr type="w" for="ch" ptType="sibTrans" op="equ"/>
        <dgm:constr type="primFontSz" for="des" forName="L1TextContainer" op="equ"/>
        <dgm:constr type="primFontSz" for="des" forName="L2TextContainer" op="equ"/>
        <dgm:constr type="primFontSz" for="des" forName="L1TextContainer1" val="20"/>
        <dgm:constr type="primFontSz" for="des" forName="L2TextContainer1" refType="primFontSz" refFor="des" refForName="L1TextContainer1" op="equ" fact="0.75"/>
        <dgm:constr type="w" for="ch" forName="composite1" refType="w"/>
        <dgm:constr type="h" for="ch" forName="composite1" refType="h"/>
        <dgm:constr type="w" for="ch" forName="spaceBetweenRectangles1" refType="w" refFor="ch" refForName="composite1" fact="0.28"/>
        <dgm:constr type="primFontSz" for="des" forName="L1TextContainer1" op="equ"/>
        <dgm:constr type="primFontSz" for="des" forName="L2TextContainer1" op="equ"/>
      </dgm:constrLst>
      <dgm:choose name="LayoutBasedOnCountOfNodes">
        <dgm:if name="LessThanOrEqualToTwoNodes" axis="ch" ptType="node" func="cnt" op="lte" val="2">
          <dgm:forEach name="nodesForEach1" axis="ch" ptType="node">
            <dgm:layoutNode name="composite1">
              <dgm:alg type="composite"/>
              <dgm:shape xmlns:r="http://schemas.openxmlformats.org/officeDocument/2006/relationships" r:blip="">
                <dgm:adjLst/>
              </dgm:shape>
              <dgm:choose name="CaseForLayoutDirection1">
                <dgm:if name="CaseForLayoutDirectionLTR1" func="var" arg="dir" op="equ" val="norm">
                  <dgm:choose name="CaseForPlacingNodesAboveAndBelowDividerLTR1">
                    <dgm:if name="CaseForPlacingNodeAboveDividerLTR1" axis="self" ptType="node" func="posOdd" op="equ" val="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t" for="ch" forName="DropPinPlaceHolder1" refType="h" fact="0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t" for="ch" forName="L2TextContainer1" refType="b" refFor="ch" refForName="DropPinPlaceHolder1"/>
                        <dgm:constr type="b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b" for="ch" forName="ConnectLine1" refType="h" fact="0.5"/>
                        <dgm:constr type="t" for="ch" forName="ConnectLine1" refType="b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.5"/>
                      </dgm:constrLst>
                    </dgm:if>
                    <dgm:else name="CaseForPlacingNodeBelowDividerLTR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b" for="ch" forName="DropPinPlaceHolder1" refType="h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b" for="ch" forName="L2TextContainer1" refType="t" refFor="ch" refForName="DropPinPlaceHolder1"/>
                        <dgm:constr type="t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t" for="ch" forName="ConnectLine1" refType="h" fact="0.5"/>
                        <dgm:constr type="b" for="ch" forName="ConnectLine1" refType="t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"/>
                      </dgm:constrLst>
                    </dgm:else>
                  </dgm:choose>
                </dgm:if>
                <dgm:else name="CaseForLayoutDirectionRTL1">
                  <dgm:choose name="CaseForPlacingNodesAboveAndBelowDividerRTL1">
                    <dgm:if name="CaseForPlacingNodeAboveDividerRTL1" axis="self" ptType="node" func="posOdd" op="equ" val="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t" for="ch" forName="DropPinPlaceHolder1" refType="h" fact="0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t" for="ch" forName="L2TextContainer1" refType="b" refFor="ch" refForName="DropPinPlaceHolder1"/>
                        <dgm:constr type="b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b" for="ch" forName="ConnectLine1" refType="h" fact="0.5"/>
                        <dgm:constr type="t" for="ch" forName="ConnectLine1" refType="b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.5"/>
                      </dgm:constrLst>
                    </dgm:if>
                    <dgm:else name="CaseForPlacingNodeBelowDividerRTL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b" for="ch" forName="DropPinPlaceHolder1" refType="h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b" for="ch" forName="L2TextContainer1" refType="t" refFor="ch" refForName="DropPinPlaceHolder1"/>
                        <dgm:constr type="t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t" for="ch" forName="ConnectLine1" refType="h" fact="0.5"/>
                        <dgm:constr type="b" for="ch" forName="ConnectLine1" refType="t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"/>
                      </dgm:constrLst>
                    </dgm:else>
                  </dgm:choose>
                </dgm:else>
              </dgm:choose>
              <dgm:layoutNode name="ConnectorPoint1" styleLbl="lnNode1" moveWith="ConnectLine1">
                <dgm:alg type="sp"/>
                <dgm:shape xmlns:r="http://schemas.openxmlformats.org/officeDocument/2006/relationships" type="ellipse" r:blip="" zOrderOff="10">
                  <dgm:adjLst/>
                </dgm:shape>
                <dgm:presOf/>
                <dgm:constrLst>
                  <dgm:constr type="w" refType="h" op="equ"/>
                </dgm:constrLst>
              </dgm:layoutNode>
              <dgm:layoutNode name="DropPinPlaceHolder1">
                <dgm:alg type="composite"/>
                <dgm:shape xmlns:r="http://schemas.openxmlformats.org/officeDocument/2006/relationships" r:blip="">
                  <dgm:adjLst/>
                </dgm:shape>
                <dgm:constrLst>
                  <dgm:constr type="w" for="ch" forName="DropPin1" refType="w"/>
                  <dgm:constr type="h" for="ch" forName="DropPin1" refType="h"/>
                  <dgm:constr type="ctrX" for="ch" forName="DropPin1" refType="w" fact="0.5"/>
                  <dgm:constr type="ctrY" for="ch" forName="DropPin1" refType="h" fact="0.5"/>
                  <dgm:constr type="w" for="ch" forName="Ellipse1" refType="w" refFor="ch" refForName="DropPin1" fact="0.55"/>
                  <dgm:constr type="h" for="ch" forName="Ellipse1" refType="w" refFor="ch" refForName="DropPin1" fact="0.55"/>
                  <dgm:constr type="ctrX" for="ch" forName="Ellipse1" refType="ctrX" refFor="ch" refForName="DropPin1"/>
                  <dgm:constr type="ctrY" for="ch" forName="Ellipse1" refType="ctrY" refFor="ch" refForName="DropPin1"/>
                </dgm:constrLst>
                <dgm:layoutNode name="DropPin1" styleLbl="alignNode1">
                  <dgm:alg type="sp"/>
                  <dgm:choose name="CaseForPlacingTearDropAboveAndBelowDivider1">
                    <dgm:if name="CaseForPlacingTearDropAboveDivider1" axis="self" ptType="node" func="posOdd" op="equ" val="1">
                      <dgm:shape xmlns:r="http://schemas.openxmlformats.org/officeDocument/2006/relationships" rot="135" type="teardrop" r:blip="">
                        <dgm:adjLst>
                          <dgm:adj idx="1" val="1.15"/>
                        </dgm:adjLst>
                      </dgm:shape>
                    </dgm:if>
                    <dgm:else name="CaseForPlacingTearDropBelowDivider1">
                      <dgm:shape xmlns:r="http://schemas.openxmlformats.org/officeDocument/2006/relationships" rot="-45" type="teardrop" r:blip="">
                        <dgm:adjLst>
                          <dgm:adj idx="1" val="1.15"/>
                        </dgm:adjLst>
                      </dgm:shape>
                    </dgm:else>
                  </dgm:choose>
                  <dgm:presOf/>
                  <dgm:constrLst/>
                </dgm:layoutNode>
                <dgm:layoutNode name="Ellipse1" styleLbl="fgAcc1" moveWith="DropPin1">
                  <dgm:alg type="sp"/>
                  <dgm:shape xmlns:r="http://schemas.openxmlformats.org/officeDocument/2006/relationships" type="ellipse" r:blip="">
                    <dgm:adjLst/>
                    <dgm:extLst>
                      <a:ext uri="{B698B0E9-8C71-41B9-8309-B3DCBF30829C}">
                        <dgm1612:spPr xmlns:dgm1612="http://schemas.microsoft.com/office/drawing/2016/12/diagram">
                          <a:ln>
                            <a:noFill/>
                          </a:ln>
                        </dgm1612:spPr>
                      </a:ext>
                    </dgm:extLst>
                  </dgm:shape>
                  <dgm:presOf/>
                  <dgm:constrLst/>
                </dgm:layoutNode>
              </dgm:layoutNode>
              <dgm:layoutNode name="L2TextContainer1" styleLbl="revTx" moveWith="L1TextContainer">
                <dgm:varLst>
                  <dgm:bulletEnabled val="1"/>
                </dgm:varLst>
                <dgm:choose name="casesForTxtDirLogic1">
                  <dgm:if name="Name771" axis="self" ptType="node" func="posOdd" op="equ" val="1">
                    <dgm:alg type="tx">
                      <dgm:param type="txAnchorVert" val="t"/>
                      <dgm:param type="parTxLTRAlign" val="l"/>
                      <dgm:param type="parTxRTLAlign" val="l"/>
                      <dgm:param type="txAnchorVertCh" val="t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/>
                      <dgm:constr type="tMarg" refType="primFontSz" fact="0.5"/>
                      <dgm:constr type="bMarg" refType="primFontSz" fact="0.75"/>
                    </dgm:constrLst>
                  </dgm:if>
                  <dgm:else name="Name881">
                    <dgm:alg type="tx">
                      <dgm:param type="txAnchorVert" val="b"/>
                      <dgm:param type="parTxLTRAlign" val="l"/>
                      <dgm:param type="parTxRTLAlign" val="l"/>
                      <dgm:param type="txAnchorVertCh" val="b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 refType="primFontSz" fact="0.5"/>
                      <dgm:constr type="tMarg" refType="primFontSz" fact="0.75"/>
                      <dgm:constr type="bMarg" refType="primFontSz" fact="0.5"/>
                    </dgm:constrLst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des" ptType="node"/>
                <dgm:ruleLst>
                  <dgm:rule type="primFontSz" val="11" fact="NaN" max="NaN"/>
                </dgm:ruleLst>
              </dgm:layoutNode>
              <dgm:layoutNode name="L1TextContainer1" styleLbl="revTx">
                <dgm:varLst>
                  <dgm:chMax val="1"/>
                  <dgm:chPref val="1"/>
                  <dgm:bulletEnabled val="1"/>
                </dgm:varLst>
                <dgm:alg type="tx">
                  <dgm:param type="txAnchorVert" val="mid"/>
                  <dgm:param type="parTxLTRAlign" val="l"/>
                  <dgm:param type="parTxRTLAlign" val="l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lMarg"/>
                  <dgm:constr type="rMarg" refType="primFontSz" fact="0.5"/>
                  <dgm:constr type="tMarg"/>
                  <dgm:constr type="bMarg"/>
                </dgm:constrLst>
                <dgm:ruleLst>
                  <dgm:rule type="primFontSz" val="13" fact="NaN" max="NaN"/>
                </dgm:ruleLst>
              </dgm:layoutNode>
              <dgm:layoutNode name="ConnectLine1" styleLbl="sibTrans1D1">
                <dgm:alg type="sp"/>
                <dgm:shape xmlns:r="http://schemas.openxmlformats.org/officeDocument/2006/relationships" type="line" r:blip="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12700">
                          <a:prstDash val="dash"/>
                        </a:ln>
                      </dgm1612:spPr>
                    </a:ext>
                  </dgm:extLst>
                </dgm:shape>
                <dgm:presOf/>
                <dgm:constrLst/>
              </dgm:layoutNode>
              <dgm:layoutNode name="EmptyPlaceHolder1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</dgm:layoutNode>
            </dgm:layoutNode>
            <dgm:forEach name="Name281" axis="followSib" ptType="sibTrans" cnt="1">
              <dgm:layoutNode name="spaceBetweenRectangles1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forEach>
          </dgm:forEach>
        </dgm:if>
        <dgm:else name="MoreThanTwoNodes">
          <dgm:forEach name="nodesForEach" axis="ch" ptType="node">
            <dgm:layoutNode name="composite">
              <dgm:alg type="composite"/>
              <dgm:shape xmlns:r="http://schemas.openxmlformats.org/officeDocument/2006/relationships" r:blip="">
                <dgm:adjLst/>
              </dgm:shape>
              <dgm:choose name="CaseForLayoutDirection">
                <dgm:if name="CaseForLayoutDirectionLTR" func="var" arg="dir" op="equ" val="norm">
                  <dgm:choose name="CaseForPlacingNodesAboveAndBelowDividerLTR">
                    <dgm:if name="CaseForPlacingNodeAboveDividerLTR" axis="self" ptType="node" func="posOdd" op="equ" val="1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ConnectLine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t" for="ch" forName="DropPinPlaceHolder" refType="h" fact="0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t" for="ch" forName="L2TextContainer" refType="b" refFor="ch" refForName="DropPinPlaceHolder"/>
                        <dgm:constr type="b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b" for="ch" forName="ConnectLine" refType="h" fact="0.5"/>
                        <dgm:constr type="t" for="ch" forName="ConnectLine" refType="b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.5"/>
                      </dgm:constrLst>
                    </dgm:if>
                    <dgm:else name="CaseForPlacingNodeBelowDividerLTR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ConnectLine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b" for="ch" forName="DropPinPlaceHolder" refType="h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b" for="ch" forName="L2TextContainer" refType="t" refFor="ch" refForName="DropPinPlaceHolder"/>
                        <dgm:constr type="t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t" for="ch" forName="ConnectLine" refType="h" fact="0.5"/>
                        <dgm:constr type="b" for="ch" forName="ConnectLine" refType="t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"/>
                      </dgm:constrLst>
                    </dgm:else>
                  </dgm:choose>
                </dgm:if>
                <dgm:else name="CaseForLayoutDirectionRTL">
                  <dgm:choose name="CaseForPlacingNodesAboveAndBelowDividerRTL">
                    <dgm:if name="CaseForPlacingNodeAboveDividerRTL" axis="self" ptType="node" func="posOdd" op="equ" val="1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DropPinPlaceHolder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t" for="ch" forName="DropPinPlaceHolder" refType="h" fact="0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t" for="ch" forName="L2TextContainer" refType="b" refFor="ch" refForName="DropPinPlaceHolder"/>
                        <dgm:constr type="b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b" for="ch" forName="ConnectLine" refType="h" fact="0.5"/>
                        <dgm:constr type="t" for="ch" forName="ConnectLine" refType="b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.5"/>
                      </dgm:constrLst>
                    </dgm:if>
                    <dgm:else name="CaseForPlacingNodeBelowDividerRTL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DropPinPlaceHolder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b" for="ch" forName="DropPinPlaceHolder" refType="h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b" for="ch" forName="L2TextContainer" refType="t" refFor="ch" refForName="DropPinPlaceHolder"/>
                        <dgm:constr type="t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t" for="ch" forName="ConnectLine" refType="h" fact="0.5"/>
                        <dgm:constr type="b" for="ch" forName="ConnectLine" refType="t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"/>
                      </dgm:constrLst>
                    </dgm:else>
                  </dgm:choose>
                </dgm:else>
              </dgm:choose>
              <dgm:layoutNode name="ConnectorPoint" styleLbl="lnNode1" moveWith="ConnectLine">
                <dgm:alg type="sp"/>
                <dgm:shape xmlns:r="http://schemas.openxmlformats.org/officeDocument/2006/relationships" type="ellipse" r:blip="" zOrderOff="10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6350"/>
                      </dgm1612:spPr>
                    </a:ext>
                  </dgm:extLst>
                </dgm:shape>
                <dgm:presOf/>
                <dgm:constrLst>
                  <dgm:constr type="w" refType="h" op="equ"/>
                </dgm:constrLst>
              </dgm:layoutNode>
              <dgm:layoutNode name="DropPinPlaceHolder">
                <dgm:alg type="composite"/>
                <dgm:shape xmlns:r="http://schemas.openxmlformats.org/officeDocument/2006/relationships" r:blip="">
                  <dgm:adjLst/>
                </dgm:shape>
                <dgm:constrLst>
                  <dgm:constr type="w" for="ch" forName="DropPin" refType="w"/>
                  <dgm:constr type="h" for="ch" forName="DropPin" refType="h"/>
                  <dgm:constr type="ctrX" for="ch" forName="DropPin" refType="w" fact="0.5"/>
                  <dgm:constr type="ctrY" for="ch" forName="DropPin" refType="h" fact="0.5"/>
                  <dgm:constr type="w" for="ch" forName="Ellipse" refType="w" refFor="ch" refForName="DropPin" fact="0.55"/>
                  <dgm:constr type="h" for="ch" forName="Ellipse" refType="w" refFor="ch" refForName="DropPin" fact="0.55"/>
                  <dgm:constr type="ctrX" for="ch" forName="Ellipse" refType="ctrX" refFor="ch" refForName="DropPin"/>
                  <dgm:constr type="ctrY" for="ch" forName="Ellipse" refType="ctrY" refFor="ch" refForName="DropPin"/>
                </dgm:constrLst>
                <dgm:layoutNode name="DropPin" styleLbl="alignNode1">
                  <dgm:alg type="sp"/>
                  <dgm:choose name="CaseForPlacingTearDropAboveAndBelowDivider">
                    <dgm:if name="CaseForPlacingTearDropAboveDivider" axis="self" ptType="node" func="posOdd" op="equ" val="1">
                      <dgm:shape xmlns:r="http://schemas.openxmlformats.org/officeDocument/2006/relationships" rot="135" type="teardrop" r:blip="">
                        <dgm:adjLst>
                          <dgm:adj idx="1" val="1.15"/>
                        </dgm:adjLst>
                      </dgm:shape>
                    </dgm:if>
                    <dgm:else name="CaseForPlacingTearDropBelowDivider">
                      <dgm:shape xmlns:r="http://schemas.openxmlformats.org/officeDocument/2006/relationships" rot="-45" type="teardrop" r:blip="">
                        <dgm:adjLst>
                          <dgm:adj idx="1" val="1.15"/>
                        </dgm:adjLst>
                      </dgm:shape>
                    </dgm:else>
                  </dgm:choose>
                  <dgm:presOf/>
                  <dgm:constrLst/>
                </dgm:layoutNode>
                <dgm:layoutNode name="Ellipse" styleLbl="fgAcc1" moveWith="DropPin">
                  <dgm:alg type="sp"/>
                  <dgm:shape xmlns:r="http://schemas.openxmlformats.org/officeDocument/2006/relationships" type="ellipse" r:blip="">
                    <dgm:adjLst/>
                    <dgm:extLst>
                      <a:ext uri="{B698B0E9-8C71-41B9-8309-B3DCBF30829C}">
                        <dgm1612:spPr xmlns:dgm1612="http://schemas.microsoft.com/office/drawing/2016/12/diagram">
                          <a:ln>
                            <a:noFill/>
                          </a:ln>
                        </dgm1612:spPr>
                      </a:ext>
                    </dgm:extLst>
                  </dgm:shape>
                  <dgm:presOf/>
                  <dgm:constrLst/>
                </dgm:layoutNode>
              </dgm:layoutNode>
              <dgm:layoutNode name="L2TextContainer" styleLbl="revTx" moveWith="L1TextContainer">
                <dgm:varLst>
                  <dgm:bulletEnabled val="1"/>
                </dgm:varLst>
                <dgm:choose name="casesForTxtDirLogic">
                  <dgm:if name="Name77" axis="self" ptType="node" func="posOdd" op="equ" val="1">
                    <dgm:alg type="tx">
                      <dgm:param type="txAnchorVert" val="t"/>
                      <dgm:param type="parTxLTRAlign" val="l"/>
                      <dgm:param type="parTxRTLAlign" val="l"/>
                      <dgm:param type="txAnchorVertCh" val="t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 refType="primFontSz" fact="0.5"/>
                      <dgm:constr type="tMarg" refType="primFontSz" fact="0.5"/>
                      <dgm:constr type="bMarg" refType="primFontSz" fact="0.75"/>
                    </dgm:constrLst>
                  </dgm:if>
                  <dgm:else name="Name88">
                    <dgm:alg type="tx">
                      <dgm:param type="txAnchorVert" val="b"/>
                      <dgm:param type="parTxLTRAlign" val="l"/>
                      <dgm:param type="parTxRTLAlign" val="l"/>
                      <dgm:param type="txAnchorVertCh" val="b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/>
                      <dgm:constr type="tMarg" refType="primFontSz" fact="0.75"/>
                      <dgm:constr type="bMarg" refType="primFontSz" fact="0.5"/>
                    </dgm:constrLst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des" ptType="node"/>
                <dgm:ruleLst>
                  <dgm:rule type="primFontSz" val="11" fact="NaN" max="NaN"/>
                </dgm:ruleLst>
              </dgm:layoutNode>
              <dgm:layoutNode name="L1TextContainer" styleLbl="revTx">
                <dgm:varLst>
                  <dgm:chMax val="1"/>
                  <dgm:chPref val="1"/>
                  <dgm:bulletEnabled val="1"/>
                </dgm:varLst>
                <dgm:alg type="tx">
                  <dgm:param type="txAnchorVert" val="mid"/>
                  <dgm:param type="parTxLTRAlign" val="l"/>
                  <dgm:param type="parTxRTLAlign" val="l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lMarg"/>
                  <dgm:constr type="rMarg" refType="primFontSz" fact="0.5"/>
                  <dgm:constr type="tMarg"/>
                  <dgm:constr type="bMarg"/>
                </dgm:constrLst>
                <dgm:ruleLst>
                  <dgm:rule type="primFontSz" val="13" fact="NaN" max="NaN"/>
                </dgm:ruleLst>
              </dgm:layoutNode>
              <dgm:layoutNode name="ConnectLine" styleLbl="sibTrans1D1">
                <dgm:alg type="sp"/>
                <dgm:shape xmlns:r="http://schemas.openxmlformats.org/officeDocument/2006/relationships" type="line" r:blip="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12700">
                          <a:prstDash val="dash"/>
                        </a:ln>
                      </dgm1612:spPr>
                    </a:ext>
                  </dgm:extLst>
                </dgm:shape>
                <dgm:presOf/>
                <dgm:constrLst/>
              </dgm:layoutNode>
              <dgm:layoutNode name="EmptyPlaceHolder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</dgm:layoutNode>
            </dgm:layoutNode>
            <dgm:forEach name="Name28" axis="followSib" ptType="sibTrans" cnt="1">
              <dgm:layoutNode name="spaceBetweenRectangles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forEach>
          </dgm:forEach>
        </dgm:else>
      </dgm:choose>
    </dgm:layoutNode>
  </dgm:layoutNode>
  <dgm:extLst>
    <a:ext uri="{68A01E43-0DF5-4B5B-8FA6-DAF915123BFB}">
      <dgm1612:lstStyle xmlns:dgm1612="http://schemas.microsoft.com/office/drawing/2016/12/diagram">
        <a:lvl1pPr>
          <a:defRPr b="1"/>
        </a:lvl1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CircleList">
  <dgm:title val="Icon Circle List"/>
  <dgm:desc val="Use to show non-sequential or grouped chunks of information accompanied by related visuals. Circular shapes can hold an icon or small picture and corresponding text box shows Level 1 text. Works best for icons or small pictures with medium-length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alg type="sp"/>
    <dgm:shape xmlns:r="http://schemas.openxmlformats.org/officeDocument/2006/relationships" r:blip="">
      <dgm:adjLst/>
    </dgm:shape>
    <dgm:presOf/>
    <dgm:choose name="Name0">
      <dgm:if name="Name1" axis="ch" ptType="node" func="cnt" op="lte" val="3">
        <dgm:constrLst>
          <dgm:constr type="w" for="ch" forName="container" refType="w"/>
          <dgm:constr type="h" for="ch" forName="container" refType="h" fact="0.4"/>
        </dgm:constrLst>
      </dgm:if>
      <dgm:else name="Name2">
        <dgm:constrLst>
          <dgm:constr type="w" for="ch" forName="container" refType="w"/>
          <dgm:constr type="h" for="ch" forName="container" refType="h"/>
        </dgm:constrLst>
      </dgm:else>
    </dgm:choose>
    <dgm:ruleLst>
      <dgm:rule type="h" for="ch" forName="container" val="INF" fact="NaN" max="NaN"/>
    </dgm:ruleLst>
    <dgm:layoutNode name="container">
      <dgm:varLst>
        <dgm:dir/>
        <dgm:resizeHandles val="exact"/>
      </dgm:varLst>
      <dgm:choose name="Name3">
        <dgm:if name="Name4" axis="self" func="var" arg="dir" op="equ" val="norm">
          <dgm:alg type="snake">
            <dgm:param type="grDir" val="tL"/>
            <dgm:param type="flowDir" val="row"/>
            <dgm:param type="contDir" val="sameDir"/>
          </dgm:alg>
        </dgm:if>
        <dgm:else name="Name5">
          <dgm:alg type="snake">
            <dgm:param type="grDir" val="tR"/>
            <dgm:param type="flowDir" val="row"/>
            <dgm:param type="contDir" val="sameDi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w" fact="0.28"/>
        <dgm:constr type="w" for="ch" forName="sibTrans" refType="w" refFor="ch" refForName="compNode" fact="0.115"/>
        <dgm:constr type="sp" refType="h" op="equ" fact="0.17"/>
        <dgm:constr type="primFontSz" for="des" ptType="node" op="equ" val="24"/>
        <dgm:constr type="h" for="des" forName="compNode" op="equ"/>
        <dgm:constr type="h" for="des" forName="iconBgRect" op="equ"/>
      </dgm:constrLst>
      <dgm:ruleLst>
        <dgm:rule type="w" for="ch" forName="compNode" val="60" fact="NaN" max="NaN"/>
      </dgm:ruleLst>
      <dgm:forEach name="Name6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 axis="self"/>
          <dgm:constrLst>
            <dgm:constr type="w" for="ch" forName="iconBgRect" refType="w" fact="0.28"/>
            <dgm:constr type="h" for="ch" forName="iconBgRect" refType="w" refFor="ch" refForName="iconBgRect"/>
            <dgm:constr type="t" for="ch" forName="iconBgRect"/>
            <dgm:constr type="l" for="ch" forName="iconBgRect"/>
            <dgm:constr type="w" for="ch" forName="iconRect" refType="w" refFor="ch" refForName="iconBgRect" fact="0.58"/>
            <dgm:constr type="h" for="ch" forName="iconRect" refType="w" refFor="ch" refForName="iconRect"/>
            <dgm:constr type="ctrX" for="ch" forName="iconRect" refType="ctrX" refFor="ch" refForName="iconBgRect"/>
            <dgm:constr type="ctrY" for="ch" forName="iconRect" refType="ctrY" refFor="ch" refForName="iconBgRect"/>
            <dgm:constr type="w" for="ch" forName="spaceRect" refType="w" fact="0.06"/>
            <dgm:constr type="h" for="ch" forName="spaceRect" refType="h" refFor="ch" refForName="iconBgRect"/>
            <dgm:constr type="t" for="ch" forName="spaceRect" refType="t" refFor="ch" refForName="iconBgRect"/>
            <dgm:constr type="l" for="ch" forName="spaceRect" refType="r" refFor="ch" refForName="iconBgRect"/>
            <dgm:constr type="h" for="ch" forName="textRect" refType="h" refFor="ch" refForName="iconBgRect"/>
            <dgm:constr type="t" for="ch" forName="textRect" refType="t" refFor="ch" refForName="iconBgRect"/>
            <dgm:constr type="l" for="ch" forName="textRect" refType="r" refFor="ch" refForName="spaceRect"/>
          </dgm:constrLst>
          <dgm:ruleLst/>
          <dgm:layoutNode name="iconBgRect" styleLbl="bgShp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  <dgm:ruleLst/>
          </dgm:layoutNode>
          <dgm:layoutNode name="iconRect" styleLbl="node1">
            <dgm:alg type="sp"/>
            <dgm:shape xmlns:r="http://schemas.openxmlformats.org/officeDocument/2006/relationships" type="rect" r:blip="" blipPhldr="1">
              <dgm:adjLst/>
            </dgm:shape>
            <dgm:presOf/>
            <dgm:constrLst/>
            <dgm:ruleLst/>
          </dgm:layoutNode>
          <dgm:layoutNode name="spaceRect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textRect" styleLbl="revTx">
            <dgm:varLst>
              <dgm:chMax val="1"/>
              <dgm:chPref val="1"/>
            </dgm:varLst>
            <dgm:choose name="Name7">
              <dgm:if name="Name8" func="var" arg="dir" op="equ" val="norm">
                <dgm:alg type="tx">
                  <dgm:param type="txAnchorVert" val="mid"/>
                  <dgm:param type="parTxLTRAlign" val="l"/>
                  <dgm:param type="shpTxLTRAlignCh" val="l"/>
                  <dgm:param type="parTxRTLAlign" val="l"/>
                  <dgm:param type="shpTxRTLAlignCh" val="l"/>
                </dgm:alg>
              </dgm:if>
              <dgm:else name="Name9">
                <dgm:alg type="tx">
                  <dgm:param type="txAnchorVert" val="mid"/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11" fact="NaN" max="NaN"/>
            </dgm:ruleLst>
          </dgm:layoutNode>
        </dgm:layoutNode>
        <dgm:forEach name="Name10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g30421d258d7_1_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8" name="Google Shape;98;g30421d258d7_1_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GB">
                <a:solidFill>
                  <a:schemeClr val="dk1"/>
                </a:solidFill>
              </a:rPr>
              <a:t>How to use the speaker slide? Just that </a:t>
            </a:r>
            <a:r>
              <a:rPr lang="en-GB" b="1">
                <a:solidFill>
                  <a:schemeClr val="dk1"/>
                </a:solidFill>
              </a:rPr>
              <a:t>if you want to put a picture, you should click on it and then choose "Replace image"</a:t>
            </a:r>
            <a:endParaRPr b="1">
              <a:solidFill>
                <a:schemeClr val="dk1"/>
              </a:solidFill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just">
              <a:buFont typeface="Symbol" panose="05050102010706020507" pitchFamily="18" charset="2"/>
              <a:buNone/>
            </a:pPr>
            <a:endParaRPr lang="en-BE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CF2995-AB43-4B7C-B8CD-9DC7C3692A9C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49699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77915D-9A6E-0FF3-F2CC-64EC308AAC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FA3E8E45-0843-FE63-F748-A549416CE57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0F35C2CA-0E51-EC76-D841-2956BF2C22C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0">
              <a:lnSpc>
                <a:spcPct val="115000"/>
              </a:lnSpc>
              <a:spcAft>
                <a:spcPts val="800"/>
              </a:spcAft>
            </a:pPr>
            <a:r>
              <a:rPr lang="en-GB">
                <a:solidFill>
                  <a:srgbClr val="000000"/>
                </a:solidFill>
                <a:latin typeface="Aptos Narrow"/>
                <a:ea typeface="Times New Roman" panose="02020603050405020304" pitchFamily="18" charset="0"/>
                <a:cs typeface="Times New Roman" panose="02020603050405020304" pitchFamily="18" charset="0"/>
              </a:rPr>
              <a:t>28</a:t>
            </a:r>
            <a:r>
              <a:rPr lang="en-GB" sz="1200" kern="0">
                <a:solidFill>
                  <a:srgbClr val="000000"/>
                </a:solidFill>
                <a:effectLst/>
                <a:latin typeface="Aptos Narrow"/>
                <a:ea typeface="Times New Roman" panose="02020603050405020304" pitchFamily="18" charset="0"/>
                <a:cs typeface="Times New Roman" panose="02020603050405020304" pitchFamily="18" charset="0"/>
              </a:rPr>
              <a:t> Card issuers registered:</a:t>
            </a:r>
            <a:r>
              <a:rPr lang="en-GB">
                <a:solidFill>
                  <a:srgbClr val="000000"/>
                </a:solidFill>
                <a:latin typeface="Aptos Narrow"/>
                <a:ea typeface="Times New Roman" panose="02020603050405020304" pitchFamily="18" charset="0"/>
                <a:cs typeface="Times New Roman" panose="02020603050405020304" pitchFamily="18" charset="0"/>
              </a:rPr>
              <a:t> FR: 20, FL: 6, DE: 1</a:t>
            </a:r>
            <a:endParaRPr lang="en-US"/>
          </a:p>
          <a:p>
            <a:pPr>
              <a:lnSpc>
                <a:spcPct val="114999"/>
              </a:lnSpc>
              <a:spcAft>
                <a:spcPts val="800"/>
              </a:spcAft>
            </a:pPr>
            <a:endParaRPr lang="en-GB">
              <a:solidFill>
                <a:srgbClr val="000000"/>
              </a:solidFill>
              <a:latin typeface="Aptos Narrow"/>
            </a:endParaRPr>
          </a:p>
          <a:p>
            <a:pPr>
              <a:lnSpc>
                <a:spcPct val="114999"/>
              </a:lnSpc>
              <a:spcAft>
                <a:spcPts val="800"/>
              </a:spcAft>
            </a:pPr>
            <a:r>
              <a:rPr lang="en-GB" b="1">
                <a:solidFill>
                  <a:srgbClr val="000000"/>
                </a:solidFill>
                <a:latin typeface="Aptos Narrow"/>
              </a:rPr>
              <a:t>HEIs to be removed</a:t>
            </a:r>
            <a:r>
              <a:rPr lang="en-GB">
                <a:solidFill>
                  <a:srgbClr val="000000"/>
                </a:solidFill>
                <a:latin typeface="Aptos Narrow"/>
              </a:rPr>
              <a:t>:</a:t>
            </a:r>
            <a:endParaRPr lang="en-GB">
              <a:solidFill>
                <a:srgbClr val="000000"/>
              </a:solidFill>
              <a:latin typeface="Aptos Narrow" panose="020B0004020202020204" pitchFamily="34" charset="0"/>
              <a:cs typeface="Times New Roman" panose="02020603050405020304" pitchFamily="18" charset="0"/>
            </a:endParaRPr>
          </a:p>
          <a:p>
            <a:r>
              <a:rPr lang="en-GB"/>
              <a:t>Universite Saint-Louis - Bruxelles</a:t>
            </a:r>
          </a:p>
          <a:p>
            <a:r>
              <a:rPr lang="en-GB"/>
              <a:t>ECOLE SUPERIEURE DES ARTS SAINT-LUC DE TOURNAI</a:t>
            </a:r>
          </a:p>
          <a:p>
            <a:r>
              <a:rPr lang="en-GB"/>
              <a:t>Universite de Namur</a:t>
            </a:r>
          </a:p>
          <a:p>
            <a:r>
              <a:rPr lang="en-GB"/>
              <a:t>VRIJE UNIVERSITEIT BRUSSEL</a:t>
            </a:r>
          </a:p>
          <a:p>
            <a:r>
              <a:rPr lang="en-GB"/>
              <a:t>ECOLE IT</a:t>
            </a:r>
          </a:p>
          <a:p>
            <a:r>
              <a:rPr lang="en-GB"/>
              <a:t>Haute Ecole Louvain </a:t>
            </a:r>
            <a:r>
              <a:rPr lang="en-GB" err="1"/>
              <a:t>en</a:t>
            </a:r>
            <a:r>
              <a:rPr lang="en-GB"/>
              <a:t> Hainaut - </a:t>
            </a:r>
            <a:r>
              <a:rPr lang="en-GB" err="1"/>
              <a:t>HELHa</a:t>
            </a:r>
          </a:p>
          <a:p>
            <a:r>
              <a:rPr lang="en-GB" err="1"/>
              <a:t>Hogeschool</a:t>
            </a:r>
            <a:r>
              <a:rPr lang="en-GB"/>
              <a:t> Gent</a:t>
            </a:r>
          </a:p>
          <a:p>
            <a:r>
              <a:rPr lang="en-GB"/>
              <a:t>Artevelde University of Applied Sciences</a:t>
            </a:r>
          </a:p>
          <a:p>
            <a:r>
              <a:rPr lang="en-GB"/>
              <a:t>ARES </a:t>
            </a:r>
            <a:r>
              <a:rPr lang="en-GB" err="1"/>
              <a:t>AcadÃ©mie</a:t>
            </a:r>
            <a:r>
              <a:rPr lang="en-GB"/>
              <a:t> de recherche et </a:t>
            </a:r>
            <a:r>
              <a:rPr lang="en-GB" err="1"/>
              <a:t>d'enseignement</a:t>
            </a:r>
            <a:r>
              <a:rPr lang="en-GB"/>
              <a:t> </a:t>
            </a:r>
            <a:r>
              <a:rPr lang="en-GB" err="1"/>
              <a:t>supÃ©rieur</a:t>
            </a:r>
          </a:p>
          <a:p>
            <a:pPr>
              <a:lnSpc>
                <a:spcPct val="114999"/>
              </a:lnSpc>
              <a:spcAft>
                <a:spcPts val="800"/>
              </a:spcAft>
            </a:pPr>
            <a:r>
              <a:rPr lang="en-GB">
                <a:solidFill>
                  <a:srgbClr val="000000"/>
                </a:solidFill>
                <a:latin typeface="Aptos Narrow"/>
              </a:rPr>
              <a:t> </a:t>
            </a:r>
            <a:endParaRPr lang="en-GB">
              <a:solidFill>
                <a:srgbClr val="000000"/>
              </a:solidFill>
              <a:latin typeface="Aptos Narrow" panose="020B000402020202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4999"/>
              </a:lnSpc>
              <a:spcAft>
                <a:spcPts val="800"/>
              </a:spcAft>
            </a:pPr>
            <a:r>
              <a:rPr lang="en-GB" b="1">
                <a:solidFill>
                  <a:srgbClr val="000000"/>
                </a:solidFill>
              </a:rPr>
              <a:t>HAUTE ECOLE DE NAMUR-LIEGE-LUXEMBOURG </a:t>
            </a:r>
            <a:r>
              <a:rPr lang="en-GB">
                <a:solidFill>
                  <a:srgbClr val="000000"/>
                </a:solidFill>
              </a:rPr>
              <a:t>has 4 active ESCs, but likely for testing purposes.</a:t>
            </a:r>
          </a:p>
          <a:p>
            <a:pPr>
              <a:lnSpc>
                <a:spcPct val="114999"/>
              </a:lnSpc>
              <a:spcAft>
                <a:spcPts val="800"/>
              </a:spcAft>
            </a:pPr>
            <a:r>
              <a:rPr lang="en-GB"/>
              <a:t>Other HEIs have issued 1-2 cards in the past:</a:t>
            </a:r>
          </a:p>
          <a:p>
            <a:pPr marL="514350" indent="-285750">
              <a:lnSpc>
                <a:spcPct val="114999"/>
              </a:lnSpc>
              <a:spcAft>
                <a:spcPts val="800"/>
              </a:spcAft>
              <a:buFont typeface="Calibri"/>
              <a:buChar char="-"/>
            </a:pPr>
            <a:r>
              <a:rPr lang="en-GB" b="1"/>
              <a:t>Haute Ecole </a:t>
            </a:r>
            <a:r>
              <a:rPr lang="en-GB" b="1" err="1"/>
              <a:t>Bruxelles</a:t>
            </a:r>
            <a:r>
              <a:rPr lang="en-GB" b="1"/>
              <a:t>-Brabant (HE2B) (2)</a:t>
            </a:r>
            <a:endParaRPr lang="en-GB"/>
          </a:p>
          <a:p>
            <a:pPr marL="514350" indent="-285750">
              <a:lnSpc>
                <a:spcPct val="114999"/>
              </a:lnSpc>
              <a:spcAft>
                <a:spcPts val="800"/>
              </a:spcAft>
              <a:buFont typeface="Calibri"/>
              <a:buChar char="-"/>
            </a:pPr>
            <a:r>
              <a:rPr lang="en-GB" b="1" err="1"/>
              <a:t>Vlerick</a:t>
            </a:r>
            <a:r>
              <a:rPr lang="en-GB" b="1"/>
              <a:t> Business School (2)</a:t>
            </a:r>
          </a:p>
          <a:p>
            <a:pPr marL="514350" indent="-285750">
              <a:lnSpc>
                <a:spcPct val="114999"/>
              </a:lnSpc>
              <a:spcAft>
                <a:spcPts val="800"/>
              </a:spcAft>
              <a:buFont typeface="Calibri"/>
              <a:buChar char="-"/>
            </a:pPr>
            <a:r>
              <a:rPr lang="en-GB" b="1"/>
              <a:t>KU Leuven (1)</a:t>
            </a:r>
          </a:p>
          <a:p>
            <a:pPr marL="514350" indent="-285750">
              <a:lnSpc>
                <a:spcPct val="114999"/>
              </a:lnSpc>
              <a:spcAft>
                <a:spcPts val="800"/>
              </a:spcAft>
              <a:buFont typeface="Calibri"/>
              <a:buChar char="-"/>
            </a:pPr>
            <a:r>
              <a:rPr lang="en-GB" b="1"/>
              <a:t>Haute École Albert Jacquard (HEAJ) (1)</a:t>
            </a:r>
          </a:p>
          <a:p>
            <a:pPr>
              <a:lnSpc>
                <a:spcPct val="114999"/>
              </a:lnSpc>
              <a:spcAft>
                <a:spcPts val="800"/>
              </a:spcAft>
            </a:pPr>
            <a:endParaRPr lang="en-GB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9CFE8DC2-D28E-797D-05EA-76E852673D4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CF2995-AB43-4B7C-B8CD-9DC7C3692A9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50249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8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816348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9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524204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2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786248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Harp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CF2995-AB43-4B7C-B8CD-9DC7C3692A9C}" type="slidenum">
              <a:rPr lang="en-GB" smtClean="0"/>
              <a:t>2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98744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>
  <p:cSld name="2_Title Slide"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38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148" name="Google Shape;148;p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850288"/>
            <a:ext cx="12192000" cy="5018345"/>
          </a:xfrm>
          <a:prstGeom prst="rect">
            <a:avLst/>
          </a:prstGeom>
          <a:noFill/>
          <a:ln>
            <a:noFill/>
          </a:ln>
        </p:spPr>
      </p:pic>
      <p:sp>
        <p:nvSpPr>
          <p:cNvPr id="149" name="Google Shape;149;p38"/>
          <p:cNvSpPr/>
          <p:nvPr/>
        </p:nvSpPr>
        <p:spPr>
          <a:xfrm>
            <a:off x="0" y="1078174"/>
            <a:ext cx="12192000" cy="2890800"/>
          </a:xfrm>
          <a:prstGeom prst="rect">
            <a:avLst/>
          </a:prstGeom>
          <a:solidFill>
            <a:srgbClr val="0356B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accent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50" name="Google Shape;150;p38" descr="European Commission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388933" y="258042"/>
            <a:ext cx="1659793" cy="1152460"/>
          </a:xfrm>
          <a:prstGeom prst="rect">
            <a:avLst/>
          </a:prstGeom>
          <a:noFill/>
          <a:ln>
            <a:noFill/>
          </a:ln>
        </p:spPr>
      </p:pic>
      <p:sp>
        <p:nvSpPr>
          <p:cNvPr id="151" name="Google Shape;151;p38"/>
          <p:cNvSpPr txBox="1">
            <a:spLocks noGrp="1"/>
          </p:cNvSpPr>
          <p:nvPr>
            <p:ph type="ctrTitle"/>
          </p:nvPr>
        </p:nvSpPr>
        <p:spPr>
          <a:xfrm>
            <a:off x="1071350" y="1992572"/>
            <a:ext cx="10065224" cy="8726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Arial"/>
              <a:buNone/>
              <a:defRPr sz="6000" b="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52" name="Google Shape;152;p38"/>
          <p:cNvSpPr txBox="1">
            <a:spLocks noGrp="1"/>
          </p:cNvSpPr>
          <p:nvPr>
            <p:ph type="subTitle" idx="1"/>
          </p:nvPr>
        </p:nvSpPr>
        <p:spPr>
          <a:xfrm>
            <a:off x="1071351" y="3067468"/>
            <a:ext cx="10065224" cy="8977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 i="0">
                <a:solidFill>
                  <a:schemeClr val="accent5"/>
                </a:solidFill>
              </a:defRPr>
            </a:lvl1pPr>
            <a:lvl2pPr lvl="1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53" name="Google Shape;153;p38"/>
          <p:cNvSpPr txBox="1">
            <a:spLocks noGrp="1"/>
          </p:cNvSpPr>
          <p:nvPr>
            <p:ph type="body" idx="2"/>
          </p:nvPr>
        </p:nvSpPr>
        <p:spPr>
          <a:xfrm>
            <a:off x="6096000" y="5783535"/>
            <a:ext cx="5040313" cy="528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Font typeface="Arial"/>
              <a:buNone/>
              <a:defRPr sz="2200" i="1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4" name="Google Shape;154;p38"/>
          <p:cNvSpPr/>
          <p:nvPr/>
        </p:nvSpPr>
        <p:spPr>
          <a:xfrm>
            <a:off x="5741158" y="6619164"/>
            <a:ext cx="707409" cy="240594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55" name="Google Shape;155;p38"/>
          <p:cNvCxnSpPr/>
          <p:nvPr/>
        </p:nvCxnSpPr>
        <p:spPr>
          <a:xfrm>
            <a:off x="838200" y="1978925"/>
            <a:ext cx="0" cy="4879075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e du titre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t>Texte du titre</a:t>
            </a:r>
          </a:p>
        </p:txBody>
      </p:sp>
      <p:sp>
        <p:nvSpPr>
          <p:cNvPr id="30" name="Texte niveau 1…"/>
          <p:cNvSpPr txBox="1">
            <a:spLocks noGrp="1"/>
          </p:cNvSpPr>
          <p:nvPr>
            <p:ph type="body" sz="quarter" idx="1"/>
          </p:nvPr>
        </p:nvSpPr>
        <p:spPr>
          <a:xfrm>
            <a:off x="831850" y="4589462"/>
            <a:ext cx="10515600" cy="1500188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  <a:defRPr sz="2400">
                <a:solidFill>
                  <a:srgbClr val="888888"/>
                </a:solidFill>
              </a:defRPr>
            </a:lvl1pPr>
            <a:lvl2pPr marL="0" indent="457200">
              <a:buSzTx/>
              <a:buFontTx/>
              <a:buNone/>
              <a:defRPr sz="2400">
                <a:solidFill>
                  <a:srgbClr val="888888"/>
                </a:solidFill>
              </a:defRPr>
            </a:lvl2pPr>
            <a:lvl3pPr marL="0" indent="914400">
              <a:buSzTx/>
              <a:buFontTx/>
              <a:buNone/>
              <a:defRPr sz="2400">
                <a:solidFill>
                  <a:srgbClr val="888888"/>
                </a:solidFill>
              </a:defRPr>
            </a:lvl3pPr>
            <a:lvl4pPr marL="0" indent="1371600">
              <a:buSzTx/>
              <a:buFontTx/>
              <a:buNone/>
              <a:defRPr sz="2400">
                <a:solidFill>
                  <a:srgbClr val="888888"/>
                </a:solidFill>
              </a:defRPr>
            </a:lvl4pPr>
            <a:lvl5pPr marL="0" indent="1828800">
              <a:buSzTx/>
              <a:buFontTx/>
              <a:buNone/>
              <a:defRPr sz="2400">
                <a:solidFill>
                  <a:srgbClr val="888888"/>
                </a:solidFill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31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4958116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199" y="1825625"/>
            <a:ext cx="10905699" cy="3881904"/>
          </a:xfrm>
        </p:spPr>
        <p:txBody>
          <a:bodyPr>
            <a:noAutofit/>
          </a:bodyPr>
          <a:lstStyle>
            <a:lvl1pPr marL="342900" indent="-34290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007FC8"/>
              </a:buClr>
              <a:buFont typeface="Arial Black" panose="020B0A04020102020204" pitchFamily="34" charset="0"/>
              <a:buChar char="•"/>
              <a:defRPr/>
            </a:lvl1pPr>
            <a:lvl2pPr marL="685800" indent="-228600">
              <a:lnSpc>
                <a:spcPct val="100000"/>
              </a:lnSpc>
              <a:spcAft>
                <a:spcPts val="1800"/>
              </a:spcAft>
              <a:buClr>
                <a:srgbClr val="007FC8"/>
              </a:buClr>
              <a:buFont typeface="Arial" panose="020B0604020202020204" pitchFamily="34" charset="0"/>
              <a:buChar char="•"/>
              <a:defRPr/>
            </a:lvl2pPr>
            <a:lvl3pPr marL="1143000" indent="-228600">
              <a:lnSpc>
                <a:spcPct val="100000"/>
              </a:lnSpc>
              <a:spcAft>
                <a:spcPts val="1800"/>
              </a:spcAft>
              <a:buClr>
                <a:srgbClr val="007FC8"/>
              </a:buClr>
              <a:buSzPct val="70000"/>
              <a:buFont typeface="Arial Black" panose="020B0A04020102020204" pitchFamily="34" charset="0"/>
              <a:buChar char="+"/>
              <a:defRPr/>
            </a:lvl3pPr>
            <a:lvl4pPr marL="1600200" indent="-228600">
              <a:lnSpc>
                <a:spcPct val="100000"/>
              </a:lnSpc>
              <a:spcAft>
                <a:spcPts val="1800"/>
              </a:spcAft>
              <a:buClr>
                <a:srgbClr val="007FC8"/>
              </a:buClr>
              <a:buSzPct val="77000"/>
              <a:buFont typeface="Arial Black" panose="020B0A04020102020204" pitchFamily="34" charset="0"/>
              <a:buChar char="+"/>
              <a:defRPr/>
            </a:lvl4pPr>
            <a:lvl5pPr marL="2057400" indent="-228600">
              <a:lnSpc>
                <a:spcPct val="100000"/>
              </a:lnSpc>
              <a:spcAft>
                <a:spcPts val="1800"/>
              </a:spcAft>
              <a:buClr>
                <a:srgbClr val="007FC8"/>
              </a:buClr>
              <a:buSzPct val="70000"/>
              <a:buFont typeface="Arial Black" panose="020B0A04020102020204" pitchFamily="34" charset="0"/>
              <a:buChar char="+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rgbClr val="007FC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>
            <a:lvl1pPr>
              <a:defRPr>
                <a:solidFill>
                  <a:srgbClr val="3B2C7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15871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Content (half p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17056" y="1825625"/>
            <a:ext cx="4926841" cy="3769957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6817056" y="482860"/>
            <a:ext cx="4669266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-46383" y="-46383"/>
            <a:ext cx="6142383" cy="6964017"/>
          </a:xfrm>
          <a:solidFill>
            <a:schemeClr val="bg2"/>
          </a:solidFill>
          <a:ln w="28575">
            <a:solidFill>
              <a:srgbClr val="007FC8"/>
            </a:solidFill>
          </a:ln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61391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078173"/>
            <a:ext cx="12192000" cy="5791904"/>
          </a:xfrm>
          <a:prstGeom prst="rect">
            <a:avLst/>
          </a:prstGeom>
          <a:solidFill>
            <a:srgbClr val="3B2C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-1138" y="5178077"/>
            <a:ext cx="12192000" cy="16920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100000">
                <a:schemeClr val="accent5">
                  <a:alpha val="0"/>
                  <a:lumMod val="32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grpSp>
        <p:nvGrpSpPr>
          <p:cNvPr id="21" name="Group 20"/>
          <p:cNvGrpSpPr>
            <a:grpSpLocks noChangeAspect="1"/>
          </p:cNvGrpSpPr>
          <p:nvPr userDrawn="1"/>
        </p:nvGrpSpPr>
        <p:grpSpPr>
          <a:xfrm>
            <a:off x="3529975" y="6092078"/>
            <a:ext cx="4300323" cy="430887"/>
            <a:chOff x="3294838" y="6039824"/>
            <a:chExt cx="4709674" cy="471905"/>
          </a:xfrm>
        </p:grpSpPr>
        <p:sp>
          <p:nvSpPr>
            <p:cNvPr id="16" name="TextBox 15"/>
            <p:cNvSpPr txBox="1"/>
            <p:nvPr/>
          </p:nvSpPr>
          <p:spPr>
            <a:xfrm>
              <a:off x="3294838" y="6039824"/>
              <a:ext cx="2657475" cy="4719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fr-BE" sz="14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rasmus+</a:t>
              </a:r>
            </a:p>
            <a:p>
              <a:pPr algn="r"/>
              <a:r>
                <a:rPr lang="fr-BE" sz="70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riching</a:t>
              </a:r>
              <a:r>
                <a:rPr lang="fr-BE" sz="7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BE" sz="70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ives</a:t>
              </a:r>
              <a:r>
                <a:rPr lang="fr-BE" sz="7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fr-BE" sz="70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pening</a:t>
              </a:r>
              <a:r>
                <a:rPr lang="fr-BE" sz="7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BE" sz="70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nds</a:t>
              </a:r>
              <a:endParaRPr lang="fr-BE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6261798" y="6065849"/>
              <a:ext cx="1742714" cy="323324"/>
            </a:xfrm>
            <a:prstGeom prst="roundRect">
              <a:avLst>
                <a:gd name="adj" fmla="val 50000"/>
              </a:avLst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BE" sz="1200" b="1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igher</a:t>
              </a:r>
              <a:r>
                <a:rPr lang="fr-BE" sz="12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BE" sz="1200" b="1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ducation</a:t>
              </a:r>
              <a:endParaRPr lang="fr-BE"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" name="Slide Number Placeholder 3"/>
          <p:cNvSpPr>
            <a:spLocks noGrp="1"/>
          </p:cNvSpPr>
          <p:nvPr userDrawn="1"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12192000" cy="1078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8933" y="258042"/>
            <a:ext cx="1659793" cy="115246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 userDrawn="1">
            <p:ph type="ctrTitle"/>
          </p:nvPr>
        </p:nvSpPr>
        <p:spPr>
          <a:xfrm>
            <a:off x="1071350" y="1992572"/>
            <a:ext cx="10065224" cy="2149523"/>
          </a:xfrm>
        </p:spPr>
        <p:txBody>
          <a:bodyPr wrap="none" anchor="t">
            <a:noAutofit/>
          </a:bodyPr>
          <a:lstStyle>
            <a:lvl1pPr algn="l">
              <a:defRPr sz="6000" b="0">
                <a:solidFill>
                  <a:srgbClr val="FFFF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38200" y="1978925"/>
            <a:ext cx="0" cy="4879075"/>
          </a:xfrm>
          <a:prstGeom prst="line">
            <a:avLst/>
          </a:prstGeom>
          <a:ln w="28575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5741158" y="6622243"/>
            <a:ext cx="707409" cy="240594"/>
          </a:xfrm>
          <a:prstGeom prst="rect">
            <a:avLst/>
          </a:prstGeom>
          <a:solidFill>
            <a:srgbClr val="007F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Subtitle 2"/>
          <p:cNvSpPr>
            <a:spLocks noGrp="1"/>
          </p:cNvSpPr>
          <p:nvPr userDrawn="1">
            <p:ph type="subTitle" idx="1"/>
          </p:nvPr>
        </p:nvSpPr>
        <p:spPr>
          <a:xfrm>
            <a:off x="1071351" y="4418049"/>
            <a:ext cx="10065224" cy="897754"/>
          </a:xfrm>
        </p:spPr>
        <p:txBody>
          <a:bodyPr>
            <a:noAutofit/>
          </a:bodyPr>
          <a:lstStyle>
            <a:lvl1pPr marL="0" indent="0" algn="l">
              <a:buNone/>
              <a:defRPr sz="2800" i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9" name="Text Placeholder 18"/>
          <p:cNvSpPr>
            <a:spLocks noGrp="1"/>
          </p:cNvSpPr>
          <p:nvPr userDrawn="1">
            <p:ph type="body" sz="quarter" idx="13"/>
          </p:nvPr>
        </p:nvSpPr>
        <p:spPr>
          <a:xfrm>
            <a:off x="6096000" y="5557903"/>
            <a:ext cx="5040313" cy="528998"/>
          </a:xfrm>
        </p:spPr>
        <p:txBody>
          <a:bodyPr>
            <a:noAutofit/>
          </a:bodyPr>
          <a:lstStyle>
            <a:lvl1pPr marL="0" indent="0" algn="r">
              <a:buFontTx/>
              <a:buNone/>
              <a:defRPr sz="2200" i="1">
                <a:solidFill>
                  <a:srgbClr val="FFFF00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724000" y="1387475"/>
            <a:ext cx="720000" cy="0"/>
          </a:xfrm>
          <a:prstGeom prst="line">
            <a:avLst/>
          </a:prstGeom>
          <a:ln w="38100">
            <a:solidFill>
              <a:srgbClr val="007FC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76384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E0BBD8-0B30-D4CA-1CBF-BAB9F9623C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EFA67D-8134-0E35-C471-2056CC8E874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25D125-A01A-F417-4537-D68C8835DEE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1A3FED6-A479-4C51-AC77-2E6E772484F6}" type="slidenum">
              <a:rPr lang="en-GB" altLang="fr-FR"/>
              <a:pPr/>
              <a:t>‹#›</a:t>
            </a:fld>
            <a:endParaRPr lang="en-GB" altLang="fr-FR"/>
          </a:p>
        </p:txBody>
      </p:sp>
    </p:spTree>
    <p:extLst>
      <p:ext uri="{BB962C8B-B14F-4D97-AF65-F5344CB8AC3E}">
        <p14:creationId xmlns:p14="http://schemas.microsoft.com/office/powerpoint/2010/main" val="3726202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rgbClr val="007FC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>
            <a:lvl1pPr>
              <a:defRPr>
                <a:solidFill>
                  <a:srgbClr val="3B2C7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970722" y="2284667"/>
            <a:ext cx="3141663" cy="2090737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7901451" y="2284668"/>
            <a:ext cx="3141663" cy="2090737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4436086" y="2284667"/>
            <a:ext cx="3141663" cy="2090737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1206774" y="4038684"/>
            <a:ext cx="2669558" cy="1524235"/>
          </a:xfrm>
          <a:solidFill>
            <a:schemeClr val="bg1"/>
          </a:solidFill>
        </p:spPr>
        <p:txBody>
          <a:bodyPr tIns="90000"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672139" y="4041944"/>
            <a:ext cx="2669558" cy="1524235"/>
          </a:xfrm>
          <a:solidFill>
            <a:schemeClr val="bg1"/>
          </a:solidFill>
        </p:spPr>
        <p:txBody>
          <a:bodyPr tIns="90000"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8137503" y="4037437"/>
            <a:ext cx="2669558" cy="1524235"/>
          </a:xfrm>
          <a:solidFill>
            <a:schemeClr val="bg1"/>
          </a:solidFill>
        </p:spPr>
        <p:txBody>
          <a:bodyPr tIns="90000"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098196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(option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12192000" cy="3428999"/>
          </a:xfrm>
          <a:prstGeom prst="rect">
            <a:avLst/>
          </a:prstGeom>
          <a:solidFill>
            <a:srgbClr val="3B2C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077013" y="1122363"/>
            <a:ext cx="10156297" cy="1240348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rgbClr val="FFFF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38200" y="0"/>
            <a:ext cx="0" cy="2362711"/>
          </a:xfrm>
          <a:prstGeom prst="line">
            <a:avLst/>
          </a:prstGeom>
          <a:ln w="28575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838200" y="4160826"/>
            <a:ext cx="10889439" cy="1620145"/>
          </a:xfrm>
        </p:spPr>
        <p:txBody>
          <a:bodyPr>
            <a:noAutofit/>
          </a:bodyPr>
          <a:lstStyle>
            <a:lvl1pPr marL="0" indent="0" algn="l">
              <a:buNone/>
              <a:defRPr sz="1400">
                <a:solidFill>
                  <a:srgbClr val="3B2C7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99212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urple square with white text&#10;&#10;Description automatically generated">
            <a:extLst>
              <a:ext uri="{FF2B5EF4-FFF2-40B4-BE49-F238E27FC236}">
                <a16:creationId xmlns:a16="http://schemas.microsoft.com/office/drawing/2014/main" id="{6C950DFB-9A3C-8DA7-8C3D-0D01420891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75527" y="2973014"/>
            <a:ext cx="7302035" cy="3020741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5333" b="0" cap="none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104341" y="6501341"/>
            <a:ext cx="1219200" cy="356659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Slide </a:t>
            </a:r>
            <a:fld id="{E5A2D1E2-AADD-4352-99BC-B8B0D40E53D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3875F87-6D8F-11D1-27FE-CF6906A68A4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75527" y="2363413"/>
            <a:ext cx="7302035" cy="609600"/>
          </a:xfrm>
        </p:spPr>
        <p:txBody>
          <a:bodyPr anchor="b"/>
          <a:lstStyle>
            <a:lvl1pPr marL="0" indent="0">
              <a:buNone/>
              <a:defRPr sz="2667">
                <a:solidFill>
                  <a:srgbClr val="F0A6A3"/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Welcome to session</a:t>
            </a:r>
          </a:p>
        </p:txBody>
      </p:sp>
    </p:spTree>
    <p:extLst>
      <p:ext uri="{BB962C8B-B14F-4D97-AF65-F5344CB8AC3E}">
        <p14:creationId xmlns:p14="http://schemas.microsoft.com/office/powerpoint/2010/main" val="545004177"/>
      </p:ext>
    </p:extLst>
  </p:cSld>
  <p:clrMapOvr>
    <a:masterClrMapping/>
  </p:clrMapOvr>
  <p:transition spd="slow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508787"/>
            <a:ext cx="5384800" cy="452596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508787"/>
            <a:ext cx="5384800" cy="452596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09600" y="381000"/>
            <a:ext cx="10972800" cy="91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5333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E3210CC-1883-BF4D-AA8C-4084ABD68B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080000" y="6501341"/>
            <a:ext cx="1219200" cy="356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67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GB"/>
              <a:t> Slide </a:t>
            </a:r>
            <a:fld id="{E5A2D1E2-AADD-4352-99BC-B8B0D40E53D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8220252"/>
      </p:ext>
    </p:extLst>
  </p:cSld>
  <p:clrMapOvr>
    <a:masterClrMapping/>
  </p:clrMapOvr>
  <p:transition spd="slow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503237"/>
            <a:ext cx="4011084" cy="838200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503237"/>
            <a:ext cx="6815667" cy="5440363"/>
          </a:xfrm>
        </p:spPr>
        <p:txBody>
          <a:bodyPr>
            <a:normAutofit/>
          </a:bodyPr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341437"/>
            <a:ext cx="4011084" cy="46021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DBF62CE-8711-274D-BB43-DF6AD62D80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080000" y="6501341"/>
            <a:ext cx="1219200" cy="356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67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GB"/>
              <a:t> Slide </a:t>
            </a:r>
            <a:fld id="{E5A2D1E2-AADD-4352-99BC-B8B0D40E53D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6816882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lide">
  <p:cSld name="1_Title Slide"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Google Shape;157;p39"/>
          <p:cNvSpPr txBox="1">
            <a:spLocks noGrp="1"/>
          </p:cNvSpPr>
          <p:nvPr>
            <p:ph type="sldNum" idx="12"/>
          </p:nvPr>
        </p:nvSpPr>
        <p:spPr>
          <a:xfrm>
            <a:off x="838200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158" name="Google Shape;158;p39"/>
          <p:cNvPicPr preferRelativeResize="0"/>
          <p:nvPr/>
        </p:nvPicPr>
        <p:blipFill rotWithShape="1">
          <a:blip r:embed="rId2">
            <a:alphaModFix/>
          </a:blip>
          <a:srcRect t="4555"/>
          <a:stretch/>
        </p:blipFill>
        <p:spPr>
          <a:xfrm>
            <a:off x="0" y="1078173"/>
            <a:ext cx="12192000" cy="5783240"/>
          </a:xfrm>
          <a:prstGeom prst="rect">
            <a:avLst/>
          </a:prstGeom>
          <a:noFill/>
          <a:ln>
            <a:noFill/>
          </a:ln>
        </p:spPr>
      </p:pic>
      <p:sp>
        <p:nvSpPr>
          <p:cNvPr id="159" name="Google Shape;159;p39"/>
          <p:cNvSpPr/>
          <p:nvPr/>
        </p:nvSpPr>
        <p:spPr>
          <a:xfrm>
            <a:off x="5289" y="1078173"/>
            <a:ext cx="12197346" cy="5783239"/>
          </a:xfrm>
          <a:prstGeom prst="rect">
            <a:avLst/>
          </a:prstGeom>
          <a:solidFill>
            <a:srgbClr val="024EA2">
              <a:alpha val="69803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accent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60" name="Google Shape;160;p39" descr="European Commission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388933" y="258042"/>
            <a:ext cx="1659793" cy="1152460"/>
          </a:xfrm>
          <a:prstGeom prst="rect">
            <a:avLst/>
          </a:prstGeom>
          <a:noFill/>
          <a:ln>
            <a:noFill/>
          </a:ln>
        </p:spPr>
      </p:pic>
      <p:sp>
        <p:nvSpPr>
          <p:cNvPr id="161" name="Google Shape;161;p39"/>
          <p:cNvSpPr txBox="1">
            <a:spLocks noGrp="1"/>
          </p:cNvSpPr>
          <p:nvPr>
            <p:ph type="ctrTitle"/>
          </p:nvPr>
        </p:nvSpPr>
        <p:spPr>
          <a:xfrm>
            <a:off x="1071350" y="1992572"/>
            <a:ext cx="10065224" cy="21495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Arial"/>
              <a:buNone/>
              <a:defRPr sz="6000" b="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62" name="Google Shape;162;p39"/>
          <p:cNvSpPr txBox="1">
            <a:spLocks noGrp="1"/>
          </p:cNvSpPr>
          <p:nvPr>
            <p:ph type="subTitle" idx="1"/>
          </p:nvPr>
        </p:nvSpPr>
        <p:spPr>
          <a:xfrm>
            <a:off x="1071351" y="4418049"/>
            <a:ext cx="10065224" cy="8977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 i="0">
                <a:solidFill>
                  <a:schemeClr val="accent5"/>
                </a:solidFill>
              </a:defRPr>
            </a:lvl1pPr>
            <a:lvl2pPr lvl="1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63" name="Google Shape;163;p39"/>
          <p:cNvSpPr txBox="1">
            <a:spLocks noGrp="1"/>
          </p:cNvSpPr>
          <p:nvPr>
            <p:ph type="body" idx="2"/>
          </p:nvPr>
        </p:nvSpPr>
        <p:spPr>
          <a:xfrm>
            <a:off x="6096000" y="5557903"/>
            <a:ext cx="5040313" cy="528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Font typeface="Arial"/>
              <a:buNone/>
              <a:defRPr sz="2200" i="1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4" name="Google Shape;164;p39"/>
          <p:cNvSpPr/>
          <p:nvPr/>
        </p:nvSpPr>
        <p:spPr>
          <a:xfrm>
            <a:off x="5741158" y="6619164"/>
            <a:ext cx="707409" cy="240594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65" name="Google Shape;165;p39"/>
          <p:cNvCxnSpPr/>
          <p:nvPr/>
        </p:nvCxnSpPr>
        <p:spPr>
          <a:xfrm>
            <a:off x="838200" y="1978925"/>
            <a:ext cx="0" cy="4879075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DD5AACA-4543-A243-97F5-EA28BD2599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080000" y="6501341"/>
            <a:ext cx="1219200" cy="356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67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GB"/>
              <a:t> Slide </a:t>
            </a:r>
            <a:fld id="{E5A2D1E2-AADD-4352-99BC-B8B0D40E53D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8695215"/>
      </p:ext>
    </p:extLst>
  </p:cSld>
  <p:clrMapOvr>
    <a:masterClrMapping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image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4"/>
          </p:nvPr>
        </p:nvSpPr>
        <p:spPr>
          <a:xfrm>
            <a:off x="6590211" y="2080435"/>
            <a:ext cx="5159374" cy="2718693"/>
          </a:xfrm>
        </p:spPr>
        <p:txBody>
          <a:bodyPr>
            <a:spAutoFit/>
          </a:bodyPr>
          <a:lstStyle>
            <a:lvl1pPr marL="342900" indent="-34290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007FC8"/>
              </a:buClr>
              <a:buFont typeface="Arial Black" panose="020B0A04020102020204" pitchFamily="34" charset="0"/>
              <a:buChar char="•"/>
              <a:defRPr/>
            </a:lvl1pPr>
            <a:lvl2pPr marL="685800" indent="-228600">
              <a:lnSpc>
                <a:spcPct val="100000"/>
              </a:lnSpc>
              <a:spcAft>
                <a:spcPts val="1800"/>
              </a:spcAft>
              <a:buClr>
                <a:srgbClr val="007FC8"/>
              </a:buClr>
              <a:buFont typeface="Arial" panose="020B0604020202020204" pitchFamily="34" charset="0"/>
              <a:buChar char="•"/>
              <a:defRPr/>
            </a:lvl2pPr>
            <a:lvl3pPr marL="1143000" indent="-228600">
              <a:lnSpc>
                <a:spcPct val="100000"/>
              </a:lnSpc>
              <a:spcAft>
                <a:spcPts val="1800"/>
              </a:spcAft>
              <a:buClr>
                <a:srgbClr val="007FC8"/>
              </a:buClr>
              <a:buSzPct val="70000"/>
              <a:buFont typeface="Arial Black" panose="020B0A04020102020204" pitchFamily="34" charset="0"/>
              <a:buChar char="+"/>
              <a:defRPr/>
            </a:lvl3pPr>
            <a:lvl4pPr marL="1600200" indent="-228600">
              <a:lnSpc>
                <a:spcPct val="100000"/>
              </a:lnSpc>
              <a:spcAft>
                <a:spcPts val="1800"/>
              </a:spcAft>
              <a:buClr>
                <a:srgbClr val="007FC8"/>
              </a:buClr>
              <a:buSzPct val="77000"/>
              <a:buFont typeface="Arial Black" panose="020B0A04020102020204" pitchFamily="34" charset="0"/>
              <a:buChar char="+"/>
              <a:defRPr/>
            </a:lvl4pPr>
            <a:lvl5pPr marL="2057400" indent="-228600">
              <a:lnSpc>
                <a:spcPct val="100000"/>
              </a:lnSpc>
              <a:spcAft>
                <a:spcPts val="1800"/>
              </a:spcAft>
              <a:buClr>
                <a:srgbClr val="007FC8"/>
              </a:buClr>
              <a:buSzPct val="70000"/>
              <a:buFont typeface="Arial Black" panose="020B0A04020102020204" pitchFamily="34" charset="0"/>
              <a:buChar char="+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zöveg helye 2"/>
          <p:cNvSpPr>
            <a:spLocks noGrp="1"/>
          </p:cNvSpPr>
          <p:nvPr>
            <p:ph type="body" sz="quarter" idx="15"/>
          </p:nvPr>
        </p:nvSpPr>
        <p:spPr>
          <a:xfrm>
            <a:off x="6590211" y="536800"/>
            <a:ext cx="5159374" cy="1323439"/>
          </a:xfrm>
        </p:spPr>
        <p:txBody>
          <a:bodyPr>
            <a:spAutoFit/>
          </a:bodyPr>
          <a:lstStyle>
            <a:lvl1pPr marL="0" indent="0">
              <a:buFontTx/>
              <a:buNone/>
              <a:defRPr lang="en-GB" sz="4000" kern="1200" dirty="0">
                <a:solidFill>
                  <a:srgbClr val="3B2C7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hu-HU"/>
              <a:t>Mintaszöveg szerkesztése</a:t>
            </a:r>
            <a:endParaRPr lang="en-GB"/>
          </a:p>
        </p:txBody>
      </p:sp>
      <p:sp>
        <p:nvSpPr>
          <p:cNvPr id="4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  <a:solidFill>
            <a:srgbClr val="00ADE9"/>
          </a:solidFill>
          <a:ln w="28575">
            <a:noFill/>
          </a:ln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14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12114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078173"/>
            <a:ext cx="12192000" cy="5791903"/>
          </a:xfrm>
          <a:prstGeom prst="rect">
            <a:avLst/>
          </a:prstGeom>
          <a:solidFill>
            <a:srgbClr val="3B2C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-1139" y="3762103"/>
            <a:ext cx="12193139" cy="3107974"/>
            <a:chOff x="-1139" y="3762103"/>
            <a:chExt cx="12193139" cy="3107974"/>
          </a:xfrm>
        </p:grpSpPr>
        <p:sp>
          <p:nvSpPr>
            <p:cNvPr id="12" name="Rectangle 11"/>
            <p:cNvSpPr/>
            <p:nvPr userDrawn="1"/>
          </p:nvSpPr>
          <p:spPr>
            <a:xfrm>
              <a:off x="-1139" y="5178077"/>
              <a:ext cx="12193139" cy="1692000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lumMod val="67000"/>
                  </a:schemeClr>
                </a:gs>
                <a:gs pos="100000">
                  <a:schemeClr val="accent5">
                    <a:alpha val="0"/>
                    <a:lumMod val="32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3294838" y="6039824"/>
              <a:ext cx="2657475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fr-BE" sz="14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rasmus+</a:t>
              </a:r>
            </a:p>
            <a:p>
              <a:pPr algn="r"/>
              <a:r>
                <a:rPr lang="fr-BE" sz="70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riching</a:t>
              </a:r>
              <a:r>
                <a:rPr lang="fr-BE" sz="7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BE" sz="70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ives</a:t>
              </a:r>
              <a:r>
                <a:rPr lang="fr-BE" sz="7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fr-BE" sz="70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pening</a:t>
              </a:r>
              <a:r>
                <a:rPr lang="fr-BE" sz="7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BE" sz="70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nds</a:t>
              </a:r>
              <a:endParaRPr lang="fr-BE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6276845" y="6096588"/>
              <a:ext cx="1584285" cy="293931"/>
            </a:xfrm>
            <a:prstGeom prst="roundRect">
              <a:avLst>
                <a:gd name="adj" fmla="val 50000"/>
              </a:avLst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BE" sz="1200" b="1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igher</a:t>
              </a:r>
              <a:r>
                <a:rPr lang="fr-BE" sz="12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BE" sz="1200" b="1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ducation</a:t>
              </a:r>
              <a:endParaRPr lang="fr-BE"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Rounded Rectangle 20"/>
            <p:cNvSpPr/>
            <p:nvPr userDrawn="1"/>
          </p:nvSpPr>
          <p:spPr>
            <a:xfrm>
              <a:off x="6084000" y="4535731"/>
              <a:ext cx="3820665" cy="1777067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r-BE" sz="1200" b="0">
                  <a:solidFill>
                    <a:schemeClr val="bg1">
                      <a:alpha val="8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Jean Monnet </a:t>
              </a:r>
            </a:p>
            <a:p>
              <a:pPr algn="l"/>
              <a:r>
                <a:rPr lang="fr-BE" sz="1200" b="0">
                  <a:solidFill>
                    <a:schemeClr val="bg1">
                      <a:alpha val="8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port</a:t>
              </a:r>
            </a:p>
            <a:p>
              <a:pPr algn="l"/>
              <a:r>
                <a:rPr lang="fr-BE" sz="1200" b="0" err="1">
                  <a:solidFill>
                    <a:schemeClr val="bg1">
                      <a:alpha val="8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outh</a:t>
              </a:r>
              <a:endParaRPr lang="fr-BE" sz="1200" b="0">
                <a:solidFill>
                  <a:schemeClr val="bg1">
                    <a:alpha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l"/>
              <a:r>
                <a:rPr lang="fr-BE" sz="1200" b="0" err="1">
                  <a:solidFill>
                    <a:schemeClr val="bg1">
                      <a:alpha val="8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chool</a:t>
              </a:r>
              <a:r>
                <a:rPr lang="fr-BE" sz="1200" b="0">
                  <a:solidFill>
                    <a:schemeClr val="bg1">
                      <a:alpha val="8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BE" sz="1200" b="0" err="1">
                  <a:solidFill>
                    <a:schemeClr val="bg1">
                      <a:alpha val="8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ducation</a:t>
              </a:r>
              <a:endParaRPr lang="fr-BE" sz="1200" b="0">
                <a:solidFill>
                  <a:schemeClr val="bg1">
                    <a:alpha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l"/>
              <a:r>
                <a:rPr lang="fr-BE" sz="1200" b="0" err="1">
                  <a:solidFill>
                    <a:schemeClr val="bg1">
                      <a:alpha val="8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ocational</a:t>
              </a:r>
              <a:r>
                <a:rPr lang="fr-BE" sz="1200" b="0">
                  <a:solidFill>
                    <a:schemeClr val="bg1">
                      <a:alpha val="8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BE" sz="1200" b="0" err="1">
                  <a:solidFill>
                    <a:schemeClr val="bg1">
                      <a:alpha val="8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ducation</a:t>
              </a:r>
              <a:r>
                <a:rPr lang="fr-BE" sz="1200" b="0">
                  <a:solidFill>
                    <a:schemeClr val="bg1">
                      <a:alpha val="8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and training</a:t>
              </a:r>
            </a:p>
            <a:p>
              <a:pPr algn="l"/>
              <a:r>
                <a:rPr lang="fr-BE" sz="1200" b="0" err="1">
                  <a:solidFill>
                    <a:schemeClr val="bg1">
                      <a:alpha val="8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dult</a:t>
              </a:r>
              <a:r>
                <a:rPr lang="fr-BE" sz="1200" b="0">
                  <a:solidFill>
                    <a:schemeClr val="bg1">
                      <a:alpha val="8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BE" sz="1200" b="0" err="1">
                  <a:solidFill>
                    <a:schemeClr val="bg1">
                      <a:alpha val="8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ducation</a:t>
              </a:r>
              <a:endParaRPr lang="fr-BE" sz="1200" b="0">
                <a:solidFill>
                  <a:schemeClr val="bg1">
                    <a:alpha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28990" y="3762103"/>
              <a:ext cx="12163010" cy="2284890"/>
            </a:xfrm>
            <a:prstGeom prst="rect">
              <a:avLst/>
            </a:prstGeom>
            <a:gradFill flip="none" rotWithShape="1">
              <a:gsLst>
                <a:gs pos="0">
                  <a:srgbClr val="3B2C71">
                    <a:alpha val="16000"/>
                  </a:srgbClr>
                </a:gs>
                <a:gs pos="61000">
                  <a:srgbClr val="3B2C71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BE" sz="1400" b="0">
                <a:solidFill>
                  <a:schemeClr val="bg1">
                    <a:alpha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" name="Slide Number Placeholder 3"/>
          <p:cNvSpPr>
            <a:spLocks noGrp="1"/>
          </p:cNvSpPr>
          <p:nvPr userDrawn="1"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12192000" cy="1078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8933" y="258042"/>
            <a:ext cx="1659793" cy="1152460"/>
          </a:xfrm>
          <a:prstGeom prst="rect">
            <a:avLst/>
          </a:prstGeom>
        </p:spPr>
      </p:pic>
      <p:cxnSp>
        <p:nvCxnSpPr>
          <p:cNvPr id="7" name="Straight Connector 6"/>
          <p:cNvCxnSpPr/>
          <p:nvPr userDrawn="1"/>
        </p:nvCxnSpPr>
        <p:spPr>
          <a:xfrm>
            <a:off x="838200" y="1978925"/>
            <a:ext cx="0" cy="4879075"/>
          </a:xfrm>
          <a:prstGeom prst="line">
            <a:avLst/>
          </a:prstGeom>
          <a:ln w="28575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5741158" y="6622243"/>
            <a:ext cx="707409" cy="240594"/>
          </a:xfrm>
          <a:prstGeom prst="rect">
            <a:avLst/>
          </a:prstGeom>
          <a:solidFill>
            <a:srgbClr val="007F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724000" y="1387475"/>
            <a:ext cx="720000" cy="0"/>
          </a:xfrm>
          <a:prstGeom prst="line">
            <a:avLst/>
          </a:prstGeom>
          <a:ln w="38100">
            <a:solidFill>
              <a:srgbClr val="007FC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 userDrawn="1">
            <p:ph type="ctrTitle"/>
          </p:nvPr>
        </p:nvSpPr>
        <p:spPr>
          <a:xfrm>
            <a:off x="1071350" y="1992573"/>
            <a:ext cx="10065224" cy="1769530"/>
          </a:xfrm>
        </p:spPr>
        <p:txBody>
          <a:bodyPr wrap="none" anchor="t">
            <a:noAutofit/>
          </a:bodyPr>
          <a:lstStyle>
            <a:lvl1pPr algn="l">
              <a:defRPr sz="6000" b="0">
                <a:solidFill>
                  <a:srgbClr val="FFFF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Subtitle 2"/>
          <p:cNvSpPr>
            <a:spLocks noGrp="1"/>
          </p:cNvSpPr>
          <p:nvPr userDrawn="1">
            <p:ph type="subTitle" idx="1"/>
          </p:nvPr>
        </p:nvSpPr>
        <p:spPr>
          <a:xfrm>
            <a:off x="1071351" y="3830217"/>
            <a:ext cx="4669807" cy="897754"/>
          </a:xfrm>
        </p:spPr>
        <p:txBody>
          <a:bodyPr>
            <a:noAutofit/>
          </a:bodyPr>
          <a:lstStyle>
            <a:lvl1pPr marL="0" indent="0" algn="l">
              <a:buNone/>
              <a:defRPr sz="2400" i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15170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>
  <p:cSld name="1_Custom Layout"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g2e3300f9003_4_5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dk2"/>
          </a:solidFill>
          <a:ln>
            <a:noFill/>
          </a:ln>
        </p:spPr>
      </p:sp>
      <p:sp>
        <p:nvSpPr>
          <p:cNvPr id="233" name="Google Shape;233;g2e3300f9003_4_5"/>
          <p:cNvSpPr txBox="1">
            <a:spLocks noGrp="1"/>
          </p:cNvSpPr>
          <p:nvPr>
            <p:ph type="title"/>
          </p:nvPr>
        </p:nvSpPr>
        <p:spPr>
          <a:xfrm>
            <a:off x="838200" y="2646643"/>
            <a:ext cx="10515600" cy="782357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>
                <a:solidFill>
                  <a:srgbClr val="3B2C7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4" name="Google Shape;234;g2e3300f9003_4_5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5" name="Google Shape;235;g2e3300f9003_4_5"/>
          <p:cNvSpPr txBox="1">
            <a:spLocks noGrp="1"/>
          </p:cNvSpPr>
          <p:nvPr>
            <p:ph type="body" idx="1"/>
          </p:nvPr>
        </p:nvSpPr>
        <p:spPr>
          <a:xfrm>
            <a:off x="838200" y="3570021"/>
            <a:ext cx="10515600" cy="302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FC8"/>
              </a:buClr>
              <a:buSzPts val="2400"/>
              <a:buFont typeface="Arial Black"/>
              <a:buChar char="•"/>
              <a:defRPr/>
            </a:lvl1pPr>
            <a:lvl2pPr marL="914400" lvl="1" indent="-3556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7FC8"/>
              </a:buClr>
              <a:buSzPts val="2000"/>
              <a:buFont typeface="Arial"/>
              <a:buChar char="•"/>
              <a:defRPr/>
            </a:lvl2pPr>
            <a:lvl3pPr marL="1371600" lvl="2" indent="-30861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7FC8"/>
              </a:buClr>
              <a:buSzPts val="1260"/>
              <a:buFont typeface="Arial Black"/>
              <a:buChar char="+"/>
              <a:defRPr/>
            </a:lvl3pPr>
            <a:lvl4pPr marL="1828800" lvl="3" indent="-306832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7FC8"/>
              </a:buClr>
              <a:buSzPts val="1232"/>
              <a:buFont typeface="Arial Black"/>
              <a:buChar char="+"/>
              <a:defRPr/>
            </a:lvl4pPr>
            <a:lvl5pPr marL="2286000" lvl="4" indent="-29972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7FC8"/>
              </a:buClr>
              <a:buSzPts val="1120"/>
              <a:buFont typeface="Arial Black"/>
              <a:buChar char="+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05978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images in mosa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églalap 11"/>
          <p:cNvSpPr/>
          <p:nvPr userDrawn="1"/>
        </p:nvSpPr>
        <p:spPr>
          <a:xfrm>
            <a:off x="970720" y="3592388"/>
            <a:ext cx="3337667" cy="2106101"/>
          </a:xfrm>
          <a:prstGeom prst="rect">
            <a:avLst/>
          </a:prstGeom>
          <a:solidFill>
            <a:srgbClr val="E3ED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rgbClr val="007FC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 userDrawn="1">
            <p:ph type="title"/>
          </p:nvPr>
        </p:nvSpPr>
        <p:spPr>
          <a:xfrm>
            <a:off x="970722" y="665053"/>
            <a:ext cx="10515600" cy="600164"/>
          </a:xfrm>
          <a:prstGeom prst="rect">
            <a:avLst/>
          </a:prstGeom>
        </p:spPr>
        <p:txBody>
          <a:bodyPr vert="horz" lIns="91440" tIns="45720" rIns="91440" bIns="0" rtlCol="0" anchor="b" anchorCtr="0">
            <a:spAutoFit/>
          </a:bodyPr>
          <a:lstStyle>
            <a:lvl1pPr>
              <a:defRPr>
                <a:solidFill>
                  <a:srgbClr val="3B2C7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5" name="Picture Placeholder 2"/>
          <p:cNvSpPr>
            <a:spLocks noGrp="1"/>
          </p:cNvSpPr>
          <p:nvPr userDrawn="1">
            <p:ph type="pic" sz="quarter" idx="13"/>
          </p:nvPr>
        </p:nvSpPr>
        <p:spPr>
          <a:xfrm>
            <a:off x="970722" y="1383322"/>
            <a:ext cx="3337667" cy="2090737"/>
          </a:xfrm>
          <a:solidFill>
            <a:srgbClr val="00ADE9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Text Placeholder 12"/>
          <p:cNvSpPr>
            <a:spLocks noGrp="1"/>
          </p:cNvSpPr>
          <p:nvPr userDrawn="1">
            <p:ph type="body" sz="quarter" idx="17"/>
          </p:nvPr>
        </p:nvSpPr>
        <p:spPr>
          <a:xfrm>
            <a:off x="4540259" y="2502393"/>
            <a:ext cx="3112617" cy="444822"/>
          </a:xfrm>
          <a:solidFill>
            <a:schemeClr val="bg1"/>
          </a:solidFill>
        </p:spPr>
        <p:txBody>
          <a:bodyPr wrap="square" tIns="90000" anchor="ctr">
            <a:sp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4427735" y="3607752"/>
            <a:ext cx="3337667" cy="2090737"/>
          </a:xfrm>
          <a:solidFill>
            <a:srgbClr val="00ADE9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7886387" y="1367958"/>
            <a:ext cx="3337667" cy="2090737"/>
          </a:xfrm>
          <a:solidFill>
            <a:srgbClr val="00ADE9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21"/>
          </p:nvPr>
        </p:nvSpPr>
        <p:spPr>
          <a:xfrm>
            <a:off x="1083246" y="4430710"/>
            <a:ext cx="3112617" cy="444822"/>
          </a:xfrm>
          <a:noFill/>
        </p:spPr>
        <p:txBody>
          <a:bodyPr wrap="square" tIns="90000" anchor="ctr">
            <a:sp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22"/>
          </p:nvPr>
        </p:nvSpPr>
        <p:spPr>
          <a:xfrm>
            <a:off x="7998911" y="4341994"/>
            <a:ext cx="3112617" cy="444822"/>
          </a:xfrm>
          <a:noFill/>
        </p:spPr>
        <p:txBody>
          <a:bodyPr wrap="square" tIns="90000" anchor="ctr">
            <a:sp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églalap 1"/>
          <p:cNvSpPr/>
          <p:nvPr userDrawn="1"/>
        </p:nvSpPr>
        <p:spPr>
          <a:xfrm>
            <a:off x="4427735" y="1367957"/>
            <a:ext cx="3337667" cy="2106101"/>
          </a:xfrm>
          <a:prstGeom prst="rect">
            <a:avLst/>
          </a:prstGeom>
          <a:solidFill>
            <a:srgbClr val="FFC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16" name="Csoportba foglalás 15"/>
          <p:cNvGrpSpPr/>
          <p:nvPr userDrawn="1"/>
        </p:nvGrpSpPr>
        <p:grpSpPr>
          <a:xfrm>
            <a:off x="1078426" y="5998633"/>
            <a:ext cx="10671159" cy="593274"/>
            <a:chOff x="1078426" y="5998633"/>
            <a:chExt cx="10671159" cy="593274"/>
          </a:xfrm>
        </p:grpSpPr>
        <p:pic>
          <p:nvPicPr>
            <p:cNvPr id="22" name="Kép 21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8426" y="5998633"/>
              <a:ext cx="1483541" cy="593274"/>
            </a:xfrm>
            <a:prstGeom prst="rect">
              <a:avLst/>
            </a:prstGeom>
          </p:spPr>
        </p:pic>
        <p:pic>
          <p:nvPicPr>
            <p:cNvPr id="23" name="Picture 6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33852" y="6045988"/>
              <a:ext cx="1715733" cy="45042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5518723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1_Title only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rgbClr val="2E3192"/>
              </a:buClr>
              <a:buSzPts val="3000"/>
              <a:buNone/>
              <a:defRPr>
                <a:solidFill>
                  <a:srgbClr val="2E319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4" name="Google Shape;24;p5"/>
          <p:cNvSpPr txBox="1">
            <a:spLocks noGrp="1"/>
          </p:cNvSpPr>
          <p:nvPr>
            <p:ph type="subTitle" idx="1"/>
          </p:nvPr>
        </p:nvSpPr>
        <p:spPr>
          <a:xfrm>
            <a:off x="415600" y="1253333"/>
            <a:ext cx="5789600" cy="52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1400"/>
              <a:buNone/>
              <a:defRPr sz="1867" b="1" i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i="1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i="1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i="1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i="1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i="1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i="1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i="1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i="1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904537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wrap="square" anchor="b">
            <a:noAutofit/>
          </a:bodyPr>
          <a:lstStyle>
            <a:lvl1pPr marL="0" indent="0">
              <a:buNone/>
              <a:defRPr sz="2800" b="1">
                <a:solidFill>
                  <a:srgbClr val="3B2C7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noFill/>
        </p:spPr>
        <p:txBody>
          <a:bodyPr wrap="square" anchor="b">
            <a:noAutofit/>
          </a:bodyPr>
          <a:lstStyle>
            <a:lvl1pPr marL="0" indent="0">
              <a:buNone/>
              <a:defRPr sz="2800" b="1">
                <a:solidFill>
                  <a:srgbClr val="3B2C7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rgbClr val="00449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>
            <a:lvl1pPr>
              <a:defRPr>
                <a:solidFill>
                  <a:srgbClr val="3B2C7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838201" y="2585277"/>
            <a:ext cx="5159374" cy="3024000"/>
          </a:xfrm>
        </p:spPr>
        <p:txBody>
          <a:bodyPr>
            <a:noAutofit/>
          </a:bodyPr>
          <a:lstStyle>
            <a:lvl1pPr marL="342900" indent="-34290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007FC8"/>
              </a:buClr>
              <a:buFont typeface="Arial Black" panose="020B0A04020102020204" pitchFamily="34" charset="0"/>
              <a:buChar char="•"/>
              <a:defRPr/>
            </a:lvl1pPr>
            <a:lvl2pPr marL="685800" indent="-228600">
              <a:lnSpc>
                <a:spcPct val="100000"/>
              </a:lnSpc>
              <a:spcAft>
                <a:spcPts val="1800"/>
              </a:spcAft>
              <a:buClr>
                <a:srgbClr val="007FC8"/>
              </a:buClr>
              <a:buFont typeface="Arial" panose="020B0604020202020204" pitchFamily="34" charset="0"/>
              <a:buChar char="•"/>
              <a:defRPr/>
            </a:lvl2pPr>
            <a:lvl3pPr marL="1143000" indent="-228600">
              <a:lnSpc>
                <a:spcPct val="100000"/>
              </a:lnSpc>
              <a:spcAft>
                <a:spcPts val="1800"/>
              </a:spcAft>
              <a:buClr>
                <a:srgbClr val="007FC8"/>
              </a:buClr>
              <a:buSzPct val="70000"/>
              <a:buFont typeface="Arial Black" panose="020B0A04020102020204" pitchFamily="34" charset="0"/>
              <a:buChar char="+"/>
              <a:defRPr/>
            </a:lvl3pPr>
            <a:lvl4pPr marL="1600200" indent="-228600">
              <a:lnSpc>
                <a:spcPct val="100000"/>
              </a:lnSpc>
              <a:spcAft>
                <a:spcPts val="1800"/>
              </a:spcAft>
              <a:buClr>
                <a:srgbClr val="007FC8"/>
              </a:buClr>
              <a:buSzPct val="77000"/>
              <a:buFont typeface="Arial Black" panose="020B0A04020102020204" pitchFamily="34" charset="0"/>
              <a:buChar char="+"/>
              <a:defRPr/>
            </a:lvl4pPr>
            <a:lvl5pPr marL="2057400" indent="-228600">
              <a:lnSpc>
                <a:spcPct val="100000"/>
              </a:lnSpc>
              <a:spcAft>
                <a:spcPts val="1800"/>
              </a:spcAft>
              <a:buClr>
                <a:srgbClr val="007FC8"/>
              </a:buClr>
              <a:buSzPct val="70000"/>
              <a:buFont typeface="Arial Black" panose="020B0A04020102020204" pitchFamily="34" charset="0"/>
              <a:buChar char="+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2"/>
          <p:cNvSpPr>
            <a:spLocks noGrp="1"/>
          </p:cNvSpPr>
          <p:nvPr>
            <p:ph idx="14"/>
          </p:nvPr>
        </p:nvSpPr>
        <p:spPr>
          <a:xfrm>
            <a:off x="6181578" y="2589483"/>
            <a:ext cx="5159374" cy="3024000"/>
          </a:xfrm>
        </p:spPr>
        <p:txBody>
          <a:bodyPr>
            <a:noAutofit/>
          </a:bodyPr>
          <a:lstStyle>
            <a:lvl1pPr marL="342900" indent="-34290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007FC8"/>
              </a:buClr>
              <a:buFont typeface="Arial Black" panose="020B0A04020102020204" pitchFamily="34" charset="0"/>
              <a:buChar char="•"/>
              <a:defRPr/>
            </a:lvl1pPr>
            <a:lvl2pPr marL="685800" indent="-228600">
              <a:lnSpc>
                <a:spcPct val="100000"/>
              </a:lnSpc>
              <a:spcAft>
                <a:spcPts val="1800"/>
              </a:spcAft>
              <a:buClr>
                <a:srgbClr val="007FC8"/>
              </a:buClr>
              <a:buFont typeface="Arial" panose="020B0604020202020204" pitchFamily="34" charset="0"/>
              <a:buChar char="•"/>
              <a:defRPr/>
            </a:lvl2pPr>
            <a:lvl3pPr marL="1143000" indent="-228600">
              <a:lnSpc>
                <a:spcPct val="100000"/>
              </a:lnSpc>
              <a:spcAft>
                <a:spcPts val="1800"/>
              </a:spcAft>
              <a:buClr>
                <a:srgbClr val="007FC8"/>
              </a:buClr>
              <a:buSzPct val="70000"/>
              <a:buFont typeface="Arial Black" panose="020B0A04020102020204" pitchFamily="34" charset="0"/>
              <a:buChar char="+"/>
              <a:defRPr/>
            </a:lvl3pPr>
            <a:lvl4pPr marL="1600200" indent="-228600">
              <a:lnSpc>
                <a:spcPct val="100000"/>
              </a:lnSpc>
              <a:spcAft>
                <a:spcPts val="1800"/>
              </a:spcAft>
              <a:buClr>
                <a:srgbClr val="007FC8"/>
              </a:buClr>
              <a:buSzPct val="77000"/>
              <a:buFont typeface="Arial Black" panose="020B0A04020102020204" pitchFamily="34" charset="0"/>
              <a:buChar char="+"/>
              <a:defRPr/>
            </a:lvl4pPr>
            <a:lvl5pPr marL="2057400" indent="-228600">
              <a:lnSpc>
                <a:spcPct val="100000"/>
              </a:lnSpc>
              <a:spcAft>
                <a:spcPts val="1800"/>
              </a:spcAft>
              <a:buClr>
                <a:srgbClr val="007FC8"/>
              </a:buClr>
              <a:buSzPct val="70000"/>
              <a:buFont typeface="Arial Black" panose="020B0A04020102020204" pitchFamily="34" charset="0"/>
              <a:buChar char="+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855728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02250" y="1825625"/>
            <a:ext cx="5328000" cy="3906435"/>
          </a:xfrm>
          <a:noFill/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rgbClr val="007FC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>
            <a:lvl1pPr>
              <a:defRPr>
                <a:solidFill>
                  <a:srgbClr val="3B2C7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838201" y="1825624"/>
            <a:ext cx="5253110" cy="3906436"/>
          </a:xfrm>
        </p:spPr>
        <p:txBody>
          <a:bodyPr>
            <a:noAutofit/>
          </a:bodyPr>
          <a:lstStyle>
            <a:lvl1pPr marL="342900" indent="-34290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007FC8"/>
              </a:buClr>
              <a:buFont typeface="Arial Black" panose="020B0A04020102020204" pitchFamily="34" charset="0"/>
              <a:buChar char="•"/>
              <a:defRPr/>
            </a:lvl1pPr>
            <a:lvl2pPr marL="685800" indent="-228600">
              <a:lnSpc>
                <a:spcPct val="100000"/>
              </a:lnSpc>
              <a:spcAft>
                <a:spcPts val="1800"/>
              </a:spcAft>
              <a:buClr>
                <a:srgbClr val="007FC8"/>
              </a:buClr>
              <a:buFont typeface="Arial" panose="020B0604020202020204" pitchFamily="34" charset="0"/>
              <a:buChar char="•"/>
              <a:defRPr/>
            </a:lvl2pPr>
            <a:lvl3pPr marL="1143000" indent="-228600">
              <a:lnSpc>
                <a:spcPct val="100000"/>
              </a:lnSpc>
              <a:spcAft>
                <a:spcPts val="1800"/>
              </a:spcAft>
              <a:buClr>
                <a:srgbClr val="007FC8"/>
              </a:buClr>
              <a:buSzPct val="70000"/>
              <a:buFont typeface="Arial Black" panose="020B0A04020102020204" pitchFamily="34" charset="0"/>
              <a:buChar char="+"/>
              <a:defRPr/>
            </a:lvl3pPr>
            <a:lvl4pPr marL="1600200" indent="-228600">
              <a:lnSpc>
                <a:spcPct val="100000"/>
              </a:lnSpc>
              <a:spcAft>
                <a:spcPts val="1800"/>
              </a:spcAft>
              <a:buClr>
                <a:srgbClr val="007FC8"/>
              </a:buClr>
              <a:buSzPct val="77000"/>
              <a:buFont typeface="Arial Black" panose="020B0A04020102020204" pitchFamily="34" charset="0"/>
              <a:buChar char="+"/>
              <a:defRPr/>
            </a:lvl4pPr>
            <a:lvl5pPr marL="2057400" indent="-228600">
              <a:lnSpc>
                <a:spcPct val="100000"/>
              </a:lnSpc>
              <a:spcAft>
                <a:spcPts val="1800"/>
              </a:spcAft>
              <a:buClr>
                <a:srgbClr val="007FC8"/>
              </a:buClr>
              <a:buSzPct val="70000"/>
              <a:buFont typeface="Arial Black" panose="020B0A04020102020204" pitchFamily="34" charset="0"/>
              <a:buChar char="+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826122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600" y="381000"/>
            <a:ext cx="10972800" cy="91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5333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46E2340-8DC4-B445-BF1B-A60AD34901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080000" y="6501341"/>
            <a:ext cx="1219200" cy="356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67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GB"/>
              <a:t> Slide </a:t>
            </a:r>
            <a:fld id="{E5A2D1E2-AADD-4352-99BC-B8B0D40E53D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5403809"/>
      </p:ext>
    </p:extLst>
  </p:cSld>
  <p:clrMapOvr>
    <a:masterClrMapping/>
  </p:clrMapOvr>
  <p:transition spd="slow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rgbClr val="007FC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>
            <a:lvl1pPr>
              <a:defRPr>
                <a:solidFill>
                  <a:srgbClr val="3B2C7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838201" y="1825624"/>
            <a:ext cx="5253110" cy="3906436"/>
          </a:xfrm>
        </p:spPr>
        <p:txBody>
          <a:bodyPr>
            <a:noAutofit/>
          </a:bodyPr>
          <a:lstStyle>
            <a:lvl1pPr marL="342900" indent="-34290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007FC8"/>
              </a:buClr>
              <a:buFont typeface="Arial Black" panose="020B0A04020102020204" pitchFamily="34" charset="0"/>
              <a:buChar char="•"/>
              <a:defRPr/>
            </a:lvl1pPr>
            <a:lvl2pPr marL="685800" indent="-228600">
              <a:lnSpc>
                <a:spcPct val="100000"/>
              </a:lnSpc>
              <a:spcAft>
                <a:spcPts val="1800"/>
              </a:spcAft>
              <a:buClr>
                <a:srgbClr val="007FC8"/>
              </a:buClr>
              <a:buFont typeface="Arial" panose="020B0604020202020204" pitchFamily="34" charset="0"/>
              <a:buChar char="•"/>
              <a:defRPr/>
            </a:lvl2pPr>
            <a:lvl3pPr marL="1143000" indent="-228600">
              <a:lnSpc>
                <a:spcPct val="100000"/>
              </a:lnSpc>
              <a:spcAft>
                <a:spcPts val="1800"/>
              </a:spcAft>
              <a:buClr>
                <a:srgbClr val="007FC8"/>
              </a:buClr>
              <a:buSzPct val="70000"/>
              <a:buFont typeface="Arial Black" panose="020B0A04020102020204" pitchFamily="34" charset="0"/>
              <a:buChar char="+"/>
              <a:defRPr/>
            </a:lvl3pPr>
            <a:lvl4pPr marL="1600200" indent="-228600">
              <a:lnSpc>
                <a:spcPct val="100000"/>
              </a:lnSpc>
              <a:spcAft>
                <a:spcPts val="1800"/>
              </a:spcAft>
              <a:buClr>
                <a:srgbClr val="007FC8"/>
              </a:buClr>
              <a:buSzPct val="77000"/>
              <a:buFont typeface="Arial Black" panose="020B0A04020102020204" pitchFamily="34" charset="0"/>
              <a:buChar char="+"/>
              <a:defRPr/>
            </a:lvl4pPr>
            <a:lvl5pPr marL="2057400" indent="-228600">
              <a:lnSpc>
                <a:spcPct val="100000"/>
              </a:lnSpc>
              <a:spcAft>
                <a:spcPts val="1800"/>
              </a:spcAft>
              <a:buClr>
                <a:srgbClr val="007FC8"/>
              </a:buClr>
              <a:buSzPct val="70000"/>
              <a:buFont typeface="Arial Black" panose="020B0A04020102020204" pitchFamily="34" charset="0"/>
              <a:buChar char="+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476996" y="1814217"/>
            <a:ext cx="5253110" cy="3906436"/>
          </a:xfrm>
        </p:spPr>
        <p:txBody>
          <a:bodyPr>
            <a:noAutofit/>
          </a:bodyPr>
          <a:lstStyle>
            <a:lvl1pPr marL="342900" indent="-34290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007FC8"/>
              </a:buClr>
              <a:buFont typeface="Arial Black" panose="020B0A04020102020204" pitchFamily="34" charset="0"/>
              <a:buChar char="•"/>
              <a:defRPr/>
            </a:lvl1pPr>
            <a:lvl2pPr marL="685800" indent="-228600">
              <a:lnSpc>
                <a:spcPct val="100000"/>
              </a:lnSpc>
              <a:spcAft>
                <a:spcPts val="1800"/>
              </a:spcAft>
              <a:buClr>
                <a:srgbClr val="007FC8"/>
              </a:buClr>
              <a:buFont typeface="Arial" panose="020B0604020202020204" pitchFamily="34" charset="0"/>
              <a:buChar char="•"/>
              <a:defRPr/>
            </a:lvl2pPr>
            <a:lvl3pPr marL="1143000" indent="-228600">
              <a:lnSpc>
                <a:spcPct val="100000"/>
              </a:lnSpc>
              <a:spcAft>
                <a:spcPts val="1800"/>
              </a:spcAft>
              <a:buClr>
                <a:srgbClr val="007FC8"/>
              </a:buClr>
              <a:buSzPct val="70000"/>
              <a:buFont typeface="Arial Black" panose="020B0A04020102020204" pitchFamily="34" charset="0"/>
              <a:buChar char="+"/>
              <a:defRPr/>
            </a:lvl3pPr>
            <a:lvl4pPr marL="1600200" indent="-228600">
              <a:lnSpc>
                <a:spcPct val="100000"/>
              </a:lnSpc>
              <a:spcAft>
                <a:spcPts val="1800"/>
              </a:spcAft>
              <a:buClr>
                <a:srgbClr val="007FC8"/>
              </a:buClr>
              <a:buSzPct val="77000"/>
              <a:buFont typeface="Arial Black" panose="020B0A04020102020204" pitchFamily="34" charset="0"/>
              <a:buChar char="+"/>
              <a:defRPr/>
            </a:lvl4pPr>
            <a:lvl5pPr marL="2057400" indent="-228600">
              <a:lnSpc>
                <a:spcPct val="100000"/>
              </a:lnSpc>
              <a:spcAft>
                <a:spcPts val="1800"/>
              </a:spcAft>
              <a:buClr>
                <a:srgbClr val="007FC8"/>
              </a:buClr>
              <a:buSzPct val="70000"/>
              <a:buFont typeface="Arial Black" panose="020B0A04020102020204" pitchFamily="34" charset="0"/>
              <a:buChar char="+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24254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ast slide (option 2)">
  <p:cSld name="Last slide (option 2)">
    <p:spTree>
      <p:nvGrpSpPr>
        <p:cNvPr id="1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Google Shape;167;p40"/>
          <p:cNvSpPr/>
          <p:nvPr/>
        </p:nvSpPr>
        <p:spPr>
          <a:xfrm>
            <a:off x="0" y="1"/>
            <a:ext cx="12192000" cy="342899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8" name="Google Shape;168;p40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169" name="Google Shape;169;p40"/>
          <p:cNvSpPr txBox="1">
            <a:spLocks noGrp="1"/>
          </p:cNvSpPr>
          <p:nvPr>
            <p:ph type="ctrTitle"/>
          </p:nvPr>
        </p:nvSpPr>
        <p:spPr>
          <a:xfrm>
            <a:off x="1077013" y="1122363"/>
            <a:ext cx="10156297" cy="1240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6000"/>
              <a:buFont typeface="Arial"/>
              <a:buNone/>
              <a:defRPr sz="6000">
                <a:solidFill>
                  <a:schemeClr val="accent5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70" name="Google Shape;170;p40"/>
          <p:cNvSpPr txBox="1">
            <a:spLocks noGrp="1"/>
          </p:cNvSpPr>
          <p:nvPr>
            <p:ph type="body" idx="1"/>
          </p:nvPr>
        </p:nvSpPr>
        <p:spPr>
          <a:xfrm>
            <a:off x="838976" y="4175997"/>
            <a:ext cx="10888663" cy="16201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400">
                <a:solidFill>
                  <a:srgbClr val="767676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20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1" name="Google Shape;171;p40"/>
          <p:cNvCxnSpPr/>
          <p:nvPr/>
        </p:nvCxnSpPr>
        <p:spPr>
          <a:xfrm>
            <a:off x="838200" y="0"/>
            <a:ext cx="0" cy="2362711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and Object">
  <p:cSld name="Content and Object"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Google Shape;173;p41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174" name="Google Shape;174;p41"/>
          <p:cNvSpPr txBox="1"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75" name="Google Shape;175;p41"/>
          <p:cNvSpPr txBox="1">
            <a:spLocks noGrp="1"/>
          </p:cNvSpPr>
          <p:nvPr>
            <p:ph type="body" idx="1"/>
          </p:nvPr>
        </p:nvSpPr>
        <p:spPr>
          <a:xfrm>
            <a:off x="838198" y="1825625"/>
            <a:ext cx="5328000" cy="39064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•"/>
              <a:defRPr/>
            </a:lvl1pPr>
            <a:lvl2pPr marL="914400" lvl="1" indent="-3556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20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302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Char char="•"/>
              <a:defRPr/>
            </a:lvl4pPr>
            <a:lvl5pPr marL="2286000" lvl="4" indent="-3302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6" name="Google Shape;176;p41"/>
          <p:cNvSpPr txBox="1">
            <a:spLocks noGrp="1"/>
          </p:cNvSpPr>
          <p:nvPr>
            <p:ph type="body" idx="2"/>
          </p:nvPr>
        </p:nvSpPr>
        <p:spPr>
          <a:xfrm>
            <a:off x="6402250" y="1825625"/>
            <a:ext cx="5328000" cy="39064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7" name="Google Shape;177;p41"/>
          <p:cNvCxnSpPr/>
          <p:nvPr/>
        </p:nvCxnSpPr>
        <p:spPr>
          <a:xfrm flipH="1">
            <a:off x="838199" y="0"/>
            <a:ext cx="1" cy="1276357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42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180" name="Google Shape;180;p42"/>
          <p:cNvSpPr txBox="1"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cxnSp>
        <p:nvCxnSpPr>
          <p:cNvPr id="181" name="Google Shape;181;p42"/>
          <p:cNvCxnSpPr/>
          <p:nvPr/>
        </p:nvCxnSpPr>
        <p:spPr>
          <a:xfrm flipH="1">
            <a:off x="838199" y="0"/>
            <a:ext cx="1" cy="1276357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43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02250" y="1825625"/>
            <a:ext cx="5328000" cy="3906435"/>
          </a:xfrm>
          <a:noFill/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rgbClr val="007FC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>
            <a:lvl1pPr>
              <a:defRPr>
                <a:solidFill>
                  <a:srgbClr val="3B2C7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838201" y="1825624"/>
            <a:ext cx="5253110" cy="3906436"/>
          </a:xfrm>
        </p:spPr>
        <p:txBody>
          <a:bodyPr>
            <a:noAutofit/>
          </a:bodyPr>
          <a:lstStyle>
            <a:lvl1pPr marL="342900" indent="-34290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007FC8"/>
              </a:buClr>
              <a:buFont typeface="Arial Black" panose="020B0A04020102020204" pitchFamily="34" charset="0"/>
              <a:buChar char="•"/>
              <a:defRPr/>
            </a:lvl1pPr>
            <a:lvl2pPr marL="685800" indent="-228600">
              <a:lnSpc>
                <a:spcPct val="100000"/>
              </a:lnSpc>
              <a:spcAft>
                <a:spcPts val="1800"/>
              </a:spcAft>
              <a:buClr>
                <a:srgbClr val="007FC8"/>
              </a:buClr>
              <a:buFont typeface="Arial" panose="020B0604020202020204" pitchFamily="34" charset="0"/>
              <a:buChar char="•"/>
              <a:defRPr/>
            </a:lvl2pPr>
            <a:lvl3pPr marL="1143000" indent="-228600">
              <a:lnSpc>
                <a:spcPct val="100000"/>
              </a:lnSpc>
              <a:spcAft>
                <a:spcPts val="1800"/>
              </a:spcAft>
              <a:buClr>
                <a:srgbClr val="007FC8"/>
              </a:buClr>
              <a:buSzPct val="70000"/>
              <a:buFont typeface="Arial Black" panose="020B0A04020102020204" pitchFamily="34" charset="0"/>
              <a:buChar char="+"/>
              <a:defRPr/>
            </a:lvl3pPr>
            <a:lvl4pPr marL="1600200" indent="-228600">
              <a:lnSpc>
                <a:spcPct val="100000"/>
              </a:lnSpc>
              <a:spcAft>
                <a:spcPts val="1800"/>
              </a:spcAft>
              <a:buClr>
                <a:srgbClr val="007FC8"/>
              </a:buClr>
              <a:buSzPct val="77000"/>
              <a:buFont typeface="Arial Black" panose="020B0A04020102020204" pitchFamily="34" charset="0"/>
              <a:buChar char="+"/>
              <a:defRPr/>
            </a:lvl4pPr>
            <a:lvl5pPr marL="2057400" indent="-228600">
              <a:lnSpc>
                <a:spcPct val="100000"/>
              </a:lnSpc>
              <a:spcAft>
                <a:spcPts val="1800"/>
              </a:spcAft>
              <a:buClr>
                <a:srgbClr val="007FC8"/>
              </a:buClr>
              <a:buSzPct val="70000"/>
              <a:buFont typeface="Arial Black" panose="020B0A04020102020204" pitchFamily="34" charset="0"/>
              <a:buChar char="+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9798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7F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8" name="Rectangle 7"/>
          <p:cNvSpPr/>
          <p:nvPr userDrawn="1"/>
        </p:nvSpPr>
        <p:spPr>
          <a:xfrm>
            <a:off x="-187633" y="5178077"/>
            <a:ext cx="12378495" cy="1692000"/>
          </a:xfrm>
          <a:prstGeom prst="rect">
            <a:avLst/>
          </a:prstGeom>
          <a:gradFill flip="none" rotWithShape="1">
            <a:gsLst>
              <a:gs pos="0">
                <a:srgbClr val="3B2C71"/>
              </a:gs>
              <a:gs pos="100000">
                <a:schemeClr val="accent5">
                  <a:alpha val="0"/>
                  <a:lumMod val="32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3296392" y="6261735"/>
            <a:ext cx="4571422" cy="432158"/>
            <a:chOff x="3296392" y="6261735"/>
            <a:chExt cx="4571422" cy="432158"/>
          </a:xfrm>
        </p:grpSpPr>
        <p:sp>
          <p:nvSpPr>
            <p:cNvPr id="11" name="TextBox 10"/>
            <p:cNvSpPr txBox="1"/>
            <p:nvPr/>
          </p:nvSpPr>
          <p:spPr>
            <a:xfrm>
              <a:off x="3296392" y="6263006"/>
              <a:ext cx="2698125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fr-BE" sz="14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rasmus+</a:t>
              </a:r>
            </a:p>
            <a:p>
              <a:pPr algn="r"/>
              <a:r>
                <a:rPr lang="fr-BE" sz="75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riching</a:t>
              </a:r>
              <a:r>
                <a:rPr lang="fr-BE" sz="75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BE" sz="75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ives</a:t>
              </a:r>
              <a:r>
                <a:rPr lang="fr-BE" sz="75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fr-BE" sz="75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pening</a:t>
              </a:r>
              <a:r>
                <a:rPr lang="fr-BE" sz="75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BE" sz="75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nds</a:t>
              </a:r>
              <a:endParaRPr lang="fr-BE" sz="7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Rounded Rectangle 11"/>
            <p:cNvSpPr/>
            <p:nvPr/>
          </p:nvSpPr>
          <p:spPr>
            <a:xfrm>
              <a:off x="6259295" y="6261735"/>
              <a:ext cx="1608519" cy="323324"/>
            </a:xfrm>
            <a:prstGeom prst="roundRect">
              <a:avLst>
                <a:gd name="adj" fmla="val 50000"/>
              </a:avLst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BE" sz="1200" b="1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igher</a:t>
              </a:r>
              <a:r>
                <a:rPr lang="fr-BE" sz="12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BE" sz="1200" b="1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ducation</a:t>
              </a:r>
              <a:endParaRPr lang="fr-BE"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70189" y="1122363"/>
            <a:ext cx="10676038" cy="2387600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rgbClr val="3B2C7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70189" y="3602038"/>
            <a:ext cx="10676038" cy="1655762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38200" y="0"/>
            <a:ext cx="0" cy="3295934"/>
          </a:xfrm>
          <a:prstGeom prst="line">
            <a:avLst/>
          </a:prstGeom>
          <a:ln w="28575">
            <a:solidFill>
              <a:srgbClr val="3B2C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7715" y="6045257"/>
            <a:ext cx="1718512" cy="451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15988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646643"/>
            <a:ext cx="10515600" cy="782357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rgbClr val="3B2C7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5"/>
          </p:nvPr>
        </p:nvSpPr>
        <p:spPr>
          <a:xfrm>
            <a:off x="838200" y="3570021"/>
            <a:ext cx="10515600" cy="3024000"/>
          </a:xfrm>
        </p:spPr>
        <p:txBody>
          <a:bodyPr>
            <a:noAutofit/>
          </a:bodyPr>
          <a:lstStyle>
            <a:lvl1pPr marL="342900" indent="-34290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007FC8"/>
              </a:buClr>
              <a:buFont typeface="Arial Black" panose="020B0A04020102020204" pitchFamily="34" charset="0"/>
              <a:buChar char="•"/>
              <a:defRPr/>
            </a:lvl1pPr>
            <a:lvl2pPr marL="685800" indent="-228600">
              <a:lnSpc>
                <a:spcPct val="100000"/>
              </a:lnSpc>
              <a:spcAft>
                <a:spcPts val="1800"/>
              </a:spcAft>
              <a:buClr>
                <a:srgbClr val="007FC8"/>
              </a:buClr>
              <a:buFont typeface="Arial" panose="020B0604020202020204" pitchFamily="34" charset="0"/>
              <a:buChar char="•"/>
              <a:defRPr/>
            </a:lvl2pPr>
            <a:lvl3pPr marL="1143000" indent="-228600">
              <a:lnSpc>
                <a:spcPct val="100000"/>
              </a:lnSpc>
              <a:spcAft>
                <a:spcPts val="1800"/>
              </a:spcAft>
              <a:buClr>
                <a:srgbClr val="007FC8"/>
              </a:buClr>
              <a:buSzPct val="70000"/>
              <a:buFont typeface="Arial Black" panose="020B0A04020102020204" pitchFamily="34" charset="0"/>
              <a:buChar char="+"/>
              <a:defRPr/>
            </a:lvl3pPr>
            <a:lvl4pPr marL="1600200" indent="-228600">
              <a:lnSpc>
                <a:spcPct val="100000"/>
              </a:lnSpc>
              <a:spcAft>
                <a:spcPts val="1800"/>
              </a:spcAft>
              <a:buClr>
                <a:srgbClr val="007FC8"/>
              </a:buClr>
              <a:buSzPct val="77000"/>
              <a:buFont typeface="Arial Black" panose="020B0A04020102020204" pitchFamily="34" charset="0"/>
              <a:buChar char="+"/>
              <a:defRPr/>
            </a:lvl4pPr>
            <a:lvl5pPr marL="2057400" indent="-228600">
              <a:lnSpc>
                <a:spcPct val="100000"/>
              </a:lnSpc>
              <a:spcAft>
                <a:spcPts val="1800"/>
              </a:spcAft>
              <a:buClr>
                <a:srgbClr val="007FC8"/>
              </a:buClr>
              <a:buSzPct val="70000"/>
              <a:buFont typeface="Arial Black" panose="020B0A04020102020204" pitchFamily="34" charset="0"/>
              <a:buChar char="+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63084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1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11" name="Google Shape;11;p21"/>
          <p:cNvSpPr txBox="1">
            <a:spLocks noGrp="1"/>
          </p:cNvSpPr>
          <p:nvPr>
            <p:ph type="title"/>
          </p:nvPr>
        </p:nvSpPr>
        <p:spPr>
          <a:xfrm>
            <a:off x="838200" y="482860"/>
            <a:ext cx="10515600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Font typeface="Arial"/>
              <a:buNone/>
              <a:defRPr sz="4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2" name="Google Shape;12;p2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38819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3" name="Google Shape;13;p21" descr="European Commission"/>
          <p:cNvPicPr preferRelativeResize="0"/>
          <p:nvPr/>
        </p:nvPicPr>
        <p:blipFill rotWithShape="1">
          <a:blip r:embed="rId31">
            <a:alphaModFix/>
          </a:blip>
          <a:srcRect/>
          <a:stretch/>
        </p:blipFill>
        <p:spPr>
          <a:xfrm>
            <a:off x="10033852" y="6045988"/>
            <a:ext cx="1715733" cy="450423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  <p:sldLayoutId id="2147483678" r:id="rId14"/>
    <p:sldLayoutId id="2147483679" r:id="rId15"/>
    <p:sldLayoutId id="2147483680" r:id="rId16"/>
    <p:sldLayoutId id="2147483681" r:id="rId17"/>
    <p:sldLayoutId id="2147483682" r:id="rId18"/>
    <p:sldLayoutId id="2147483683" r:id="rId19"/>
    <p:sldLayoutId id="2147483684" r:id="rId20"/>
    <p:sldLayoutId id="2147483685" r:id="rId21"/>
    <p:sldLayoutId id="2147483687" r:id="rId22"/>
    <p:sldLayoutId id="2147483688" r:id="rId23"/>
    <p:sldLayoutId id="2147483689" r:id="rId24"/>
    <p:sldLayoutId id="2147483690" r:id="rId25"/>
    <p:sldLayoutId id="2147483691" r:id="rId26"/>
    <p:sldLayoutId id="2147483692" r:id="rId27"/>
    <p:sldLayoutId id="2147483693" r:id="rId28"/>
    <p:sldLayoutId id="2147483694" r:id="rId29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7" Type="http://schemas.openxmlformats.org/officeDocument/2006/relationships/image" Target="../media/image27.sv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6.png"/><Relationship Id="rId5" Type="http://schemas.openxmlformats.org/officeDocument/2006/relationships/image" Target="../media/image25.svg"/><Relationship Id="rId4" Type="http://schemas.openxmlformats.org/officeDocument/2006/relationships/image" Target="../media/image2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5" Type="http://schemas.openxmlformats.org/officeDocument/2006/relationships/hyperlink" Target="https://unsplash.com/photos/person-catching-light-bulb-7esRPTt38nI?utm_content=creditCopyText&amp;utm_medium=referral&amp;utm_source=unsplash" TargetMode="External"/><Relationship Id="rId4" Type="http://schemas.openxmlformats.org/officeDocument/2006/relationships/hyperlink" Target="https://unsplash.com/@juniorferreir_?utm_content=creditCopyText&amp;utm_medium=referral&amp;utm_source=unsplash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hyperlink" Target="https://erasmus-plus.ec.europa.eu/european-student-card-initiative/help-support/user-guide/EWP-user-groups" TargetMode="External"/><Relationship Id="rId13" Type="http://schemas.openxmlformats.org/officeDocument/2006/relationships/image" Target="../media/image43.png"/><Relationship Id="rId3" Type="http://schemas.openxmlformats.org/officeDocument/2006/relationships/hyperlink" Target="https://erasmus-plus.ec.europa.eu/european-student-card-initiative/help-support" TargetMode="External"/><Relationship Id="rId7" Type="http://schemas.openxmlformats.org/officeDocument/2006/relationships/hyperlink" Target="https://esci-sd.atlassian.net/wiki/spaces/ITSC/overview" TargetMode="External"/><Relationship Id="rId12" Type="http://schemas.openxmlformats.org/officeDocument/2006/relationships/hyperlink" Target="https://erasmus-plus.ec.europa.eu/european-student-card-initiative/events?facets__field_eac_topics=1944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erasmus-plus.ec.europa.eu/european-student-card-initiative/ewp/champions" TargetMode="External"/><Relationship Id="rId11" Type="http://schemas.openxmlformats.org/officeDocument/2006/relationships/hyperlink" Target="https://erasmus-plus.ec.europa.eu/european-student-card-initiative/news?facets__field_eac_topics=1944" TargetMode="External"/><Relationship Id="rId5" Type="http://schemas.openxmlformats.org/officeDocument/2006/relationships/hyperlink" Target="https://ec.europa.eu/newsroom/esci/user-subscriptions/3696/create" TargetMode="External"/><Relationship Id="rId10" Type="http://schemas.openxmlformats.org/officeDocument/2006/relationships/hyperlink" Target="https://erasmus-plus.ec.europa.eu/european-student-card-initiative/ewp/governance" TargetMode="External"/><Relationship Id="rId4" Type="http://schemas.openxmlformats.org/officeDocument/2006/relationships/hyperlink" Target="https://esci-sd.atlassian.net/servicedesk/customer/portal/1/group/15" TargetMode="External"/><Relationship Id="rId9" Type="http://schemas.openxmlformats.org/officeDocument/2006/relationships/hyperlink" Target="https://erasmus-plus.ec.europa.eu/european-student-card-initiative/help-support/user-guide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hyperlink" Target="https://ec.europa.eu/eusurvey/runner/ESC" TargetMode="External"/><Relationship Id="rId3" Type="http://schemas.openxmlformats.org/officeDocument/2006/relationships/hyperlink" Target="https://op.europa.eu/en/publication-detail/-/publication/e3e35bec-b5de-11ef-acb1-01aa75ed71a1" TargetMode="External"/><Relationship Id="rId7" Type="http://schemas.openxmlformats.org/officeDocument/2006/relationships/hyperlink" Target="https://esci-sd.atlassian.net/servicedesk/customer/portal/8" TargetMode="External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14.xml"/><Relationship Id="rId6" Type="http://schemas.openxmlformats.org/officeDocument/2006/relationships/hyperlink" Target="https://erasmus-plus.ec.europa.eu/european-student-card-initiative/card/how-to-join/terms-conditions?" TargetMode="External"/><Relationship Id="rId5" Type="http://schemas.openxmlformats.org/officeDocument/2006/relationships/hyperlink" Target="https://op.europa.eu/en/publication-detail/-/publication/80c655e9-b5e3-11ef-acb1-01aa75ed71a1" TargetMode="External"/><Relationship Id="rId10" Type="http://schemas.openxmlformats.org/officeDocument/2006/relationships/hyperlink" Target="https://unsplash.com/photos/books-on-ground-hmCMUZKLxa4?utm_content=creditCopyText&amp;utm_medium=referral&amp;utm_source=unsplash" TargetMode="External"/><Relationship Id="rId4" Type="http://schemas.openxmlformats.org/officeDocument/2006/relationships/hyperlink" Target="https://op.europa.eu/en/publication-detail/-/publication/e9c7cd30-b5dd-11ef-acb1-01aa75ed71a1" TargetMode="External"/><Relationship Id="rId9" Type="http://schemas.openxmlformats.org/officeDocument/2006/relationships/hyperlink" Target="https://unsplash.com/@kapfii?utm_content=creditCopyText&amp;utm_medium=referral&amp;utm_source=unsplash" TargetMode="Externa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hyperlink" Target="https://erasmus-plus.ec.europa.eu/document/higher-education-institutions-holding-an-eche-2021-2027" TargetMode="Externa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stats.erasmuswithoutpaper.eu/filter/?country=contains+cyprus&amp;schac=not_empty&amp;iias=implemented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4EBA03-8D4E-DE7F-12F3-FBFB8729291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ESCI Day Cypru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B976479-39F6-F9C3-7288-2F09F4678E6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25 September 2025, Nicosia</a:t>
            </a:r>
          </a:p>
          <a:p>
            <a:r>
              <a:rPr lang="en-US"/>
              <a:t>University of Cypru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7B2FF49-AA4B-9F0A-4241-ACFBE75ABAA1}"/>
              </a:ext>
            </a:extLst>
          </p:cNvPr>
          <p:cNvSpPr>
            <a:spLocks noGrp="1"/>
          </p:cNvSpPr>
          <p:nvPr>
            <p:ph type="body" idx="2"/>
          </p:nvPr>
        </p:nvSpPr>
        <p:spPr>
          <a:xfrm>
            <a:off x="699977" y="4912468"/>
            <a:ext cx="9151568" cy="1719042"/>
          </a:xfrm>
        </p:spPr>
        <p:txBody>
          <a:bodyPr/>
          <a:lstStyle/>
          <a:p>
            <a:pPr algn="l"/>
            <a:r>
              <a:rPr lang="en-US" i="0"/>
              <a:t>Victor Aguilar, Policy officer</a:t>
            </a:r>
          </a:p>
          <a:p>
            <a:pPr algn="l"/>
            <a:r>
              <a:rPr lang="en-US" i="0"/>
              <a:t>European Commission, DG EAC</a:t>
            </a:r>
            <a:endParaRPr lang="en-US"/>
          </a:p>
          <a:p>
            <a:pPr algn="l"/>
            <a:r>
              <a:rPr lang="en-US" i="0"/>
              <a:t>ESCI Team, Unit B1 – Higher educ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77823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EA12D9B-7EA4-C428-18F3-98094A9944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</p:spPr>
        <p:txBody>
          <a:bodyPr wrap="square" anchor="b">
            <a:normAutofit/>
          </a:bodyPr>
          <a:lstStyle/>
          <a:p>
            <a:r>
              <a:rPr lang="en-US"/>
              <a:t>2024 EWP </a:t>
            </a:r>
            <a:r>
              <a:rPr lang="en-US" err="1"/>
              <a:t>digitalisation</a:t>
            </a:r>
            <a:r>
              <a:rPr lang="en-US"/>
              <a:t> rate in Cyprus: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AE260E8-1DB6-6FE8-5E84-3A3468C891EA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069" y="1478323"/>
            <a:ext cx="6109464" cy="514825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2C5A8D8C-856F-5A14-2031-7D4D6093ED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9388070"/>
              </p:ext>
            </p:extLst>
          </p:nvPr>
        </p:nvGraphicFramePr>
        <p:xfrm>
          <a:off x="7154210" y="5216243"/>
          <a:ext cx="2757170" cy="1410335"/>
        </p:xfrm>
        <a:graphic>
          <a:graphicData uri="http://schemas.openxmlformats.org/drawingml/2006/table">
            <a:tbl>
              <a:tblPr firstRow="1" firstCol="1" bandRow="1"/>
              <a:tblGrid>
                <a:gridCol w="1265555">
                  <a:extLst>
                    <a:ext uri="{9D8B030D-6E8A-4147-A177-3AD203B41FA5}">
                      <a16:colId xmlns:a16="http://schemas.microsoft.com/office/drawing/2014/main" val="2653158488"/>
                    </a:ext>
                  </a:extLst>
                </a:gridCol>
                <a:gridCol w="1491615">
                  <a:extLst>
                    <a:ext uri="{9D8B030D-6E8A-4147-A177-3AD203B41FA5}">
                      <a16:colId xmlns:a16="http://schemas.microsoft.com/office/drawing/2014/main" val="4176316806"/>
                    </a:ext>
                  </a:extLst>
                </a:gridCol>
              </a:tblGrid>
              <a:tr h="2667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  <a:tabLst>
                          <a:tab pos="1367155" algn="l"/>
                        </a:tabLst>
                      </a:pPr>
                      <a:r>
                        <a:rPr lang="en-IE" sz="1000" b="1" kern="10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MX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  <a:tabLst>
                          <a:tab pos="1367155" algn="l"/>
                        </a:tabLst>
                      </a:pPr>
                      <a:r>
                        <a:rPr lang="en-IE" sz="800" b="1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Digitalisation level</a:t>
                      </a:r>
                      <a:endParaRPr lang="es-MX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1852082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  <a:tabLst>
                          <a:tab pos="1367155" algn="l"/>
                        </a:tabLst>
                      </a:pPr>
                      <a:r>
                        <a:rPr lang="en-IE" sz="8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High </a:t>
                      </a:r>
                      <a:endParaRPr lang="es-MX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  <a:tabLst>
                          <a:tab pos="1367155" algn="l"/>
                        </a:tabLst>
                      </a:pPr>
                      <a:r>
                        <a:rPr lang="en-IE" sz="800" kern="10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70%-100%</a:t>
                      </a:r>
                      <a:endParaRPr lang="es-MX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0481851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  <a:tabLst>
                          <a:tab pos="1367155" algn="l"/>
                        </a:tabLst>
                      </a:pPr>
                      <a:r>
                        <a:rPr lang="en-IE" sz="8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Medium </a:t>
                      </a:r>
                      <a:endParaRPr lang="es-MX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  <a:tabLst>
                          <a:tab pos="1367155" algn="l"/>
                        </a:tabLst>
                      </a:pPr>
                      <a:r>
                        <a:rPr lang="en-IE" sz="800" kern="10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25%-69%</a:t>
                      </a:r>
                      <a:endParaRPr lang="es-MX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5265589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  <a:tabLst>
                          <a:tab pos="1367155" algn="l"/>
                        </a:tabLst>
                      </a:pPr>
                      <a:r>
                        <a:rPr lang="en-IE" sz="8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Low</a:t>
                      </a:r>
                      <a:endParaRPr lang="es-MX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  <a:tabLst>
                          <a:tab pos="1367155" algn="l"/>
                        </a:tabLst>
                      </a:pPr>
                      <a:r>
                        <a:rPr lang="en-IE" sz="800" kern="10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1%-24%</a:t>
                      </a:r>
                      <a:endParaRPr lang="es-MX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2291949"/>
                  </a:ext>
                </a:extLst>
              </a:tr>
              <a:tr h="34353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  <a:tabLst>
                          <a:tab pos="1367155" algn="l"/>
                        </a:tabLst>
                      </a:pPr>
                      <a:r>
                        <a:rPr lang="en-IE" sz="8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Not using EWP</a:t>
                      </a:r>
                      <a:endParaRPr lang="es-MX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  <a:tabLst>
                          <a:tab pos="1367155" algn="l"/>
                        </a:tabLst>
                      </a:pPr>
                      <a:r>
                        <a:rPr lang="en-IE" sz="800" kern="10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0%</a:t>
                      </a:r>
                      <a:endParaRPr lang="es-MX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08232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542770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FE7406-74BC-D6B7-5ACD-2AC002A0CE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739A785-F704-9FF0-CD52-4BC42FBD8C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</p:spPr>
        <p:txBody>
          <a:bodyPr wrap="square" anchor="b">
            <a:noAutofit/>
          </a:bodyPr>
          <a:lstStyle/>
          <a:p>
            <a:r>
              <a:rPr lang="en-US" sz="3200"/>
              <a:t>Top HEIs in Cyprus by outgoing student mobility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E988A95A-02EE-EED6-69B5-19BE36007D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8351234"/>
              </p:ext>
            </p:extLst>
          </p:nvPr>
        </p:nvGraphicFramePr>
        <p:xfrm>
          <a:off x="838199" y="1614281"/>
          <a:ext cx="10515601" cy="4167940"/>
        </p:xfrm>
        <a:graphic>
          <a:graphicData uri="http://schemas.openxmlformats.org/drawingml/2006/table">
            <a:tbl>
              <a:tblPr firstRow="1" firstCol="1" bandRow="1"/>
              <a:tblGrid>
                <a:gridCol w="2321132">
                  <a:extLst>
                    <a:ext uri="{9D8B030D-6E8A-4147-A177-3AD203B41FA5}">
                      <a16:colId xmlns:a16="http://schemas.microsoft.com/office/drawing/2014/main" val="1290177293"/>
                    </a:ext>
                  </a:extLst>
                </a:gridCol>
                <a:gridCol w="1446301">
                  <a:extLst>
                    <a:ext uri="{9D8B030D-6E8A-4147-A177-3AD203B41FA5}">
                      <a16:colId xmlns:a16="http://schemas.microsoft.com/office/drawing/2014/main" val="3504021739"/>
                    </a:ext>
                  </a:extLst>
                </a:gridCol>
                <a:gridCol w="1939843">
                  <a:extLst>
                    <a:ext uri="{9D8B030D-6E8A-4147-A177-3AD203B41FA5}">
                      <a16:colId xmlns:a16="http://schemas.microsoft.com/office/drawing/2014/main" val="1242967426"/>
                    </a:ext>
                  </a:extLst>
                </a:gridCol>
                <a:gridCol w="1642976">
                  <a:extLst>
                    <a:ext uri="{9D8B030D-6E8A-4147-A177-3AD203B41FA5}">
                      <a16:colId xmlns:a16="http://schemas.microsoft.com/office/drawing/2014/main" val="279934636"/>
                    </a:ext>
                  </a:extLst>
                </a:gridCol>
                <a:gridCol w="1250554">
                  <a:extLst>
                    <a:ext uri="{9D8B030D-6E8A-4147-A177-3AD203B41FA5}">
                      <a16:colId xmlns:a16="http://schemas.microsoft.com/office/drawing/2014/main" val="4092869758"/>
                    </a:ext>
                  </a:extLst>
                </a:gridCol>
                <a:gridCol w="1249626">
                  <a:extLst>
                    <a:ext uri="{9D8B030D-6E8A-4147-A177-3AD203B41FA5}">
                      <a16:colId xmlns:a16="http://schemas.microsoft.com/office/drawing/2014/main" val="2308145174"/>
                    </a:ext>
                  </a:extLst>
                </a:gridCol>
                <a:gridCol w="665169">
                  <a:extLst>
                    <a:ext uri="{9D8B030D-6E8A-4147-A177-3AD203B41FA5}">
                      <a16:colId xmlns:a16="http://schemas.microsoft.com/office/drawing/2014/main" val="3325172962"/>
                    </a:ext>
                  </a:extLst>
                </a:gridCol>
              </a:tblGrid>
              <a:tr h="67550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200" b="1" ker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Higher education institution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9F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200" b="1" ker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ystem used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9F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200" b="1" kern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umber of outgoing students in BM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200" b="1" kern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2022-2023)*</a:t>
                      </a:r>
                      <a:endParaRPr lang="es-MX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9F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200" b="1" ker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otal DLAs completed 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200" b="1" ker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2023-2024)*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9F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200" b="1" ker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igitalisation rate 2024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9F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200" b="1" ker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igitalisation rate 2023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9F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200" b="1" ker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9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7258343"/>
                  </a:ext>
                </a:extLst>
              </a:tr>
              <a:tr h="19729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b="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University Of Cyprus</a:t>
                      </a:r>
                      <a:endParaRPr lang="es-MX" sz="2000" b="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EWP Dashboard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182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209</a:t>
                      </a:r>
                      <a:endParaRPr lang="es-MX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100%*</a:t>
                      </a:r>
                      <a:endParaRPr lang="es-MX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0%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400" b="1" kern="10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↑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1706899"/>
                  </a:ext>
                </a:extLst>
              </a:tr>
              <a:tr h="19729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b="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European University Cyprus</a:t>
                      </a:r>
                      <a:endParaRPr lang="es-MX" sz="2000" b="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EWP Dashboard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36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24</a:t>
                      </a:r>
                      <a:endParaRPr lang="es-MX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67%</a:t>
                      </a:r>
                      <a:endParaRPr lang="es-MX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0%</a:t>
                      </a:r>
                      <a:endParaRPr lang="es-MX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400" b="1" kern="10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↓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4734805"/>
                  </a:ext>
                </a:extLst>
              </a:tr>
              <a:tr h="32520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b="0" kern="1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Edex</a:t>
                      </a:r>
                      <a:r>
                        <a:rPr lang="en-IE" sz="1100" b="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 - Educational Excellence Corporation Limited</a:t>
                      </a:r>
                      <a:endParaRPr lang="es-MX" sz="2000" b="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EWP Dashboard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27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51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100%*</a:t>
                      </a:r>
                      <a:endParaRPr lang="es-MX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4%</a:t>
                      </a:r>
                      <a:endParaRPr lang="es-MX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400" b="1" kern="10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↑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5652764"/>
                  </a:ext>
                </a:extLst>
              </a:tr>
              <a:tr h="32520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b="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Technologiko Panepistimio Kyprou</a:t>
                      </a:r>
                      <a:endParaRPr lang="es-MX" sz="2000" b="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EWP Dashboard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12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21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100%*</a:t>
                      </a:r>
                      <a:endParaRPr lang="es-MX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1%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400" b="1" kern="10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↑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130741"/>
                  </a:ext>
                </a:extLst>
              </a:tr>
              <a:tr h="19729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b="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Neapolis University</a:t>
                      </a:r>
                      <a:endParaRPr lang="es-MX" sz="2000" b="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EWP Dashboard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9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44%</a:t>
                      </a:r>
                      <a:endParaRPr lang="es-MX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0%</a:t>
                      </a:r>
                      <a:endParaRPr lang="es-MX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400" b="1" kern="10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↓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601129"/>
                  </a:ext>
                </a:extLst>
              </a:tr>
              <a:tr h="19729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b="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Frederick University</a:t>
                      </a:r>
                      <a:endParaRPr lang="es-MX" sz="2000" b="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EWP Dashboard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8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1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en-IE" sz="11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0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100%*</a:t>
                      </a:r>
                      <a:endParaRPr lang="es-MX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0%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400" b="1" kern="10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↑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0165145"/>
                  </a:ext>
                </a:extLst>
              </a:tr>
              <a:tr h="32520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b="0" kern="1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Anoikto</a:t>
                      </a:r>
                      <a:r>
                        <a:rPr lang="en-IE" sz="1100" b="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IE" sz="1100" b="0" kern="1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Panepistimio</a:t>
                      </a:r>
                      <a:r>
                        <a:rPr lang="en-IE" sz="1100" b="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IE" sz="1100" b="0" kern="1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Kyprou</a:t>
                      </a:r>
                      <a:r>
                        <a:rPr lang="en-IE" sz="1100" b="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 (Open University Of Cyprus)</a:t>
                      </a:r>
                      <a:endParaRPr lang="es-MX" sz="2000" b="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EWP Dashboard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8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100%*</a:t>
                      </a:r>
                      <a:endParaRPr lang="es-MX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0%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400" b="1" kern="10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↑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2871209"/>
                  </a:ext>
                </a:extLst>
              </a:tr>
              <a:tr h="660033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Chrysako</a:t>
                      </a:r>
                      <a:r>
                        <a:rPr lang="en-IE" sz="11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 Educational Centre Limited (College Of Tourism And Hotel Management)</a:t>
                      </a:r>
                      <a:endParaRPr lang="es-MX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EWP Dashboard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3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100%*</a:t>
                      </a:r>
                      <a:endParaRPr lang="es-MX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0%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400" b="1" kern="10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↑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9159922"/>
                  </a:ext>
                </a:extLst>
              </a:tr>
              <a:tr h="19729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Uclan Cyprus Limited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EWP Dashboard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3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3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100%</a:t>
                      </a:r>
                      <a:endParaRPr lang="es-MX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0%</a:t>
                      </a:r>
                      <a:endParaRPr lang="es-MX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400" b="1" kern="10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↑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1676547"/>
                  </a:ext>
                </a:extLst>
              </a:tr>
              <a:tr h="19729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G. </a:t>
                      </a:r>
                      <a:r>
                        <a:rPr lang="en-IE" sz="1100" kern="1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Takkas</a:t>
                      </a:r>
                      <a:r>
                        <a:rPr lang="en-IE" sz="11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 Educational College</a:t>
                      </a:r>
                      <a:endParaRPr lang="es-MX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EWP Dashboard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3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100%*</a:t>
                      </a:r>
                      <a:endParaRPr lang="es-MX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0%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400" b="1" kern="10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→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8813945"/>
                  </a:ext>
                </a:extLst>
              </a:tr>
              <a:tr h="32520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Theologiki Sxoli Ekklisias Kyprou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EWP Dashboard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100%*</a:t>
                      </a:r>
                      <a:endParaRPr lang="es-MX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1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0%</a:t>
                      </a:r>
                      <a:endParaRPr lang="es-MX" sz="20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E" sz="1400" b="1" kern="1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↑</a:t>
                      </a:r>
                      <a:endParaRPr lang="es-MX" sz="20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0627032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C8A098BE-1131-0D49-7625-B131013BE5F4}"/>
              </a:ext>
            </a:extLst>
          </p:cNvPr>
          <p:cNvSpPr txBox="1"/>
          <p:nvPr/>
        </p:nvSpPr>
        <p:spPr>
          <a:xfrm>
            <a:off x="736598" y="5878844"/>
            <a:ext cx="9141179" cy="504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  <a:tabLst>
                <a:tab pos="1367155" algn="l"/>
              </a:tabLst>
            </a:pPr>
            <a:r>
              <a:rPr lang="en-IE" sz="1200" kern="10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* The number of DLAs completed and the number of outgoing students is not a perfect match due to differences in the academic years compared (BM: 2022-2023 and EWP: 2023-2024) and overall yearly increases in mobilities.</a:t>
            </a:r>
            <a:endParaRPr lang="es-MX" sz="24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36501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018CEF-3CE0-F85E-D1F5-6402D1DAE3A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1" y="1398719"/>
            <a:ext cx="5384800" cy="4525963"/>
          </a:xfr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571500" indent="-571500">
              <a:lnSpc>
                <a:spcPct val="90000"/>
              </a:lnSpc>
              <a:buFont typeface="Arial,Sans-Serif"/>
            </a:pPr>
            <a:endParaRPr lang="en-IE" sz="1500" dirty="0"/>
          </a:p>
          <a:p>
            <a:pPr>
              <a:lnSpc>
                <a:spcPct val="90000"/>
              </a:lnSpc>
              <a:spcAft>
                <a:spcPts val="1800"/>
              </a:spcAft>
            </a:pPr>
            <a:r>
              <a:rPr lang="en-US" sz="1600" dirty="0"/>
              <a:t>Cyprus maintained </a:t>
            </a:r>
            <a:r>
              <a:rPr lang="en-US" sz="1600" b="1" dirty="0"/>
              <a:t>100% </a:t>
            </a:r>
            <a:r>
              <a:rPr lang="en-US" sz="1600" b="1" dirty="0" err="1"/>
              <a:t>digitalisation</a:t>
            </a:r>
            <a:r>
              <a:rPr lang="en-US" sz="1600" b="1" dirty="0"/>
              <a:t> rate at the national level </a:t>
            </a:r>
            <a:r>
              <a:rPr lang="en-US" sz="1600" dirty="0"/>
              <a:t>in 2024 – in alignment with the European Commission’s 95% </a:t>
            </a:r>
            <a:r>
              <a:rPr lang="en-US" sz="1600" dirty="0" err="1"/>
              <a:t>digitalisation</a:t>
            </a:r>
            <a:r>
              <a:rPr lang="en-US" sz="1600" dirty="0"/>
              <a:t> target.</a:t>
            </a:r>
          </a:p>
          <a:p>
            <a:pPr>
              <a:lnSpc>
                <a:spcPct val="90000"/>
              </a:lnSpc>
              <a:spcAft>
                <a:spcPts val="1800"/>
              </a:spcAft>
            </a:pPr>
            <a:r>
              <a:rPr lang="en-US" sz="1600" b="1" dirty="0"/>
              <a:t>Projections </a:t>
            </a:r>
            <a:r>
              <a:rPr lang="en-US" sz="1600" dirty="0"/>
              <a:t>for the ongoing academic year (2024-2025) indicate that </a:t>
            </a:r>
            <a:r>
              <a:rPr lang="en-US" sz="1600" b="1" dirty="0"/>
              <a:t>Cyprus will maintain this rate in the next exercise </a:t>
            </a:r>
            <a:r>
              <a:rPr lang="en-US" sz="1600" dirty="0"/>
              <a:t>(2025).</a:t>
            </a:r>
          </a:p>
          <a:p>
            <a:pPr>
              <a:lnSpc>
                <a:spcPct val="90000"/>
              </a:lnSpc>
              <a:spcAft>
                <a:spcPts val="1800"/>
              </a:spcAft>
            </a:pPr>
            <a:r>
              <a:rPr lang="en-IE" sz="1600" dirty="0"/>
              <a:t>The </a:t>
            </a:r>
            <a:r>
              <a:rPr lang="en-IE" sz="1600" b="1" dirty="0"/>
              <a:t>EWP Dashboard </a:t>
            </a:r>
            <a:r>
              <a:rPr lang="en-IE" sz="1600" dirty="0"/>
              <a:t>is predominantly used by Cypriot HEIs.</a:t>
            </a:r>
            <a:endParaRPr lang="en-IE" sz="1600" b="1" dirty="0"/>
          </a:p>
          <a:p>
            <a:pPr>
              <a:lnSpc>
                <a:spcPct val="90000"/>
              </a:lnSpc>
            </a:pPr>
            <a:r>
              <a:rPr lang="en-US" sz="1600" b="1" dirty="0"/>
              <a:t>Cyprus’ 100% </a:t>
            </a:r>
            <a:r>
              <a:rPr lang="en-US" sz="1600" b="1" dirty="0" err="1"/>
              <a:t>digitalisation</a:t>
            </a:r>
            <a:r>
              <a:rPr lang="en-US" sz="1600" b="1" dirty="0"/>
              <a:t> reflects aggregated data</a:t>
            </a:r>
            <a:r>
              <a:rPr lang="en-US" sz="1600" dirty="0"/>
              <a:t>. At the institutional level, </a:t>
            </a:r>
            <a:r>
              <a:rPr lang="en-US" sz="1600" dirty="0" err="1"/>
              <a:t>digitalisation</a:t>
            </a:r>
            <a:r>
              <a:rPr lang="en-US" sz="1600" dirty="0"/>
              <a:t> rates may vary. </a:t>
            </a:r>
          </a:p>
          <a:p>
            <a:pPr>
              <a:lnSpc>
                <a:spcPct val="90000"/>
              </a:lnSpc>
            </a:pPr>
            <a:endParaRPr lang="en-US" sz="1600" dirty="0"/>
          </a:p>
          <a:p>
            <a:pPr>
              <a:lnSpc>
                <a:spcPct val="90000"/>
              </a:lnSpc>
            </a:pPr>
            <a:r>
              <a:rPr lang="en-US" sz="1600" dirty="0"/>
              <a:t>While some institutions exceed 100%, this surplus compensates for lower </a:t>
            </a:r>
            <a:r>
              <a:rPr lang="en-US" sz="1600" dirty="0" err="1"/>
              <a:t>digitalisation</a:t>
            </a:r>
            <a:r>
              <a:rPr lang="en-US" sz="1600" dirty="0"/>
              <a:t> rates at others. </a:t>
            </a:r>
          </a:p>
          <a:p>
            <a:pPr>
              <a:lnSpc>
                <a:spcPct val="90000"/>
              </a:lnSpc>
            </a:pPr>
            <a:endParaRPr lang="en-US" sz="1600" dirty="0"/>
          </a:p>
          <a:p>
            <a:pPr>
              <a:lnSpc>
                <a:spcPct val="90000"/>
              </a:lnSpc>
            </a:pPr>
            <a:r>
              <a:rPr lang="en-IE" sz="1600" b="1" dirty="0"/>
              <a:t>Declines in digitalisation rates</a:t>
            </a:r>
            <a:r>
              <a:rPr lang="en-IE" sz="1600" dirty="0"/>
              <a:t> at institutional level </a:t>
            </a:r>
            <a:r>
              <a:rPr lang="en-US" sz="1600" dirty="0"/>
              <a:t>highlight the need for targeted support/outreach to sustain the positive adoption levels.</a:t>
            </a:r>
            <a:endParaRPr lang="en-IE" sz="1600" b="1" dirty="0"/>
          </a:p>
          <a:p>
            <a:pPr>
              <a:lnSpc>
                <a:spcPct val="90000"/>
              </a:lnSpc>
            </a:pPr>
            <a:endParaRPr lang="en-IE" sz="1500" dirty="0"/>
          </a:p>
          <a:p>
            <a:pPr marL="571500" indent="-571500">
              <a:lnSpc>
                <a:spcPct val="90000"/>
              </a:lnSpc>
              <a:buFont typeface="Arial,Sans-Serif"/>
            </a:pPr>
            <a:endParaRPr lang="en-IE" sz="1500" dirty="0"/>
          </a:p>
        </p:txBody>
      </p:sp>
      <p:pic>
        <p:nvPicPr>
          <p:cNvPr id="5" name="Picture 4" descr="Technology abstract with upwards arrows">
            <a:extLst>
              <a:ext uri="{FF2B5EF4-FFF2-40B4-BE49-F238E27FC236}">
                <a16:creationId xmlns:a16="http://schemas.microsoft.com/office/drawing/2014/main" id="{D050D362-3679-D58D-EA88-7AF16B81F6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97600" y="1691889"/>
            <a:ext cx="5384800" cy="4159758"/>
          </a:xfrm>
          <a:prstGeom prst="rect">
            <a:avLst/>
          </a:prstGeom>
          <a:noFill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38DC54-6A71-356F-9AFE-FA2080E014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81000"/>
            <a:ext cx="10972800" cy="914400"/>
          </a:xfrm>
        </p:spPr>
        <p:txBody>
          <a:bodyPr wrap="square" anchor="b">
            <a:normAutofit/>
          </a:bodyPr>
          <a:lstStyle/>
          <a:p>
            <a:r>
              <a:rPr lang="en-US">
                <a:solidFill>
                  <a:srgbClr val="3B2C71"/>
                </a:solidFill>
              </a:rPr>
              <a:t>Main findings</a:t>
            </a:r>
          </a:p>
        </p:txBody>
      </p:sp>
    </p:spTree>
    <p:extLst>
      <p:ext uri="{BB962C8B-B14F-4D97-AF65-F5344CB8AC3E}">
        <p14:creationId xmlns:p14="http://schemas.microsoft.com/office/powerpoint/2010/main" val="4188114031"/>
      </p:ext>
    </p:extLst>
  </p:cSld>
  <p:clrMapOvr>
    <a:masterClrMapping/>
  </p:clrMapOvr>
  <p:transition spd="slow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9C9F06-0E13-EBC8-FCE3-98F59DF318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23742F8-F804-039E-2287-CD480C0D30F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5400">
                <a:solidFill>
                  <a:schemeClr val="bg1"/>
                </a:solidFill>
              </a:rPr>
              <a:t>European Student Card (ESC) overview</a:t>
            </a:r>
            <a:br>
              <a:rPr lang="en-US" sz="5400">
                <a:solidFill>
                  <a:schemeClr val="bg1"/>
                </a:solidFill>
              </a:rPr>
            </a:b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AFDA8CB-DDE8-7E18-838C-25342909E78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48714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CE5A09-D2FF-EDBA-7B5C-43F1D670EC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722" y="305883"/>
            <a:ext cx="10515600" cy="782357"/>
          </a:xfrm>
        </p:spPr>
        <p:txBody>
          <a:bodyPr/>
          <a:lstStyle/>
          <a:p>
            <a:r>
              <a:rPr lang="en-GB"/>
              <a:t>The European Student Card (ESC)</a:t>
            </a:r>
            <a:endParaRPr lang="es-MX"/>
          </a:p>
        </p:txBody>
      </p:sp>
      <p:sp>
        <p:nvSpPr>
          <p:cNvPr id="51" name="Slide Number Placeholder 3">
            <a:extLst>
              <a:ext uri="{FF2B5EF4-FFF2-40B4-BE49-F238E27FC236}">
                <a16:creationId xmlns:a16="http://schemas.microsoft.com/office/drawing/2014/main" id="{BF75AD3D-A4BC-AD4C-EEA9-F2E5A280EF1C}"/>
              </a:ext>
            </a:extLst>
          </p:cNvPr>
          <p:cNvSpPr txBox="1">
            <a:spLocks/>
          </p:cNvSpPr>
          <p:nvPr/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81A3FED6-A479-4C51-AC77-2E6E772484F6}" type="slidenum">
              <a:rPr lang="en-GB" altLang="fr-FR" smtClean="0"/>
              <a:pPr/>
              <a:t>14</a:t>
            </a:fld>
            <a:endParaRPr lang="en-GB" altLang="fr-FR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B3724AC-D1AB-4EE6-FA8A-8F5585A477B1}"/>
              </a:ext>
            </a:extLst>
          </p:cNvPr>
          <p:cNvSpPr/>
          <p:nvPr/>
        </p:nvSpPr>
        <p:spPr>
          <a:xfrm>
            <a:off x="0" y="1490533"/>
            <a:ext cx="12192000" cy="11132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62000" defTabSz="685800"/>
            <a:r>
              <a:rPr lang="en-GB">
                <a:solidFill>
                  <a:srgbClr val="3B2C71"/>
                </a:solidFill>
                <a:latin typeface="Arial"/>
              </a:rPr>
              <a:t>The ESC is </a:t>
            </a:r>
            <a:r>
              <a:rPr lang="en-GB" u="sng">
                <a:solidFill>
                  <a:srgbClr val="3B2C71"/>
                </a:solidFill>
                <a:latin typeface="Arial"/>
              </a:rPr>
              <a:t>not a new card</a:t>
            </a:r>
            <a:r>
              <a:rPr lang="en-GB">
                <a:solidFill>
                  <a:srgbClr val="3B2C71"/>
                </a:solidFill>
                <a:latin typeface="Arial"/>
              </a:rPr>
              <a:t>. It’s </a:t>
            </a:r>
            <a:r>
              <a:rPr lang="en-GB" b="1">
                <a:solidFill>
                  <a:srgbClr val="3B2C71"/>
                </a:solidFill>
                <a:latin typeface="Arial"/>
              </a:rPr>
              <a:t>higher education institutions’ current cards upgraded with a set of common visual and technical elements </a:t>
            </a:r>
            <a:r>
              <a:rPr lang="en-GB">
                <a:solidFill>
                  <a:srgbClr val="3B2C71"/>
                </a:solidFill>
                <a:latin typeface="Arial"/>
              </a:rPr>
              <a:t>that HEIs can add via the ESC-Router.</a:t>
            </a:r>
            <a:endParaRPr lang="en-GB" b="1">
              <a:solidFill>
                <a:srgbClr val="3B2C71"/>
              </a:solidFill>
              <a:latin typeface="Arial"/>
            </a:endParaRPr>
          </a:p>
          <a:p>
            <a:pPr marL="162000" defTabSz="685800"/>
            <a:endParaRPr lang="en-GB" b="1">
              <a:solidFill>
                <a:srgbClr val="3B2C71"/>
              </a:solidFill>
              <a:latin typeface="Arial"/>
            </a:endParaRPr>
          </a:p>
          <a:p>
            <a:pPr marL="162000" defTabSz="685800"/>
            <a:r>
              <a:rPr lang="en-US">
                <a:solidFill>
                  <a:srgbClr val="3B2C71"/>
                </a:solidFill>
                <a:latin typeface="Arial"/>
              </a:rPr>
              <a:t>The ESC can be adapted to </a:t>
            </a:r>
            <a:r>
              <a:rPr lang="en-US" b="1">
                <a:solidFill>
                  <a:srgbClr val="3B2C71"/>
                </a:solidFill>
                <a:latin typeface="Arial"/>
              </a:rPr>
              <a:t>digital </a:t>
            </a:r>
            <a:r>
              <a:rPr lang="en-US">
                <a:solidFill>
                  <a:srgbClr val="3B2C71"/>
                </a:solidFill>
                <a:latin typeface="Arial"/>
              </a:rPr>
              <a:t>and </a:t>
            </a:r>
            <a:r>
              <a:rPr lang="en-US" b="1">
                <a:solidFill>
                  <a:srgbClr val="3B2C71"/>
                </a:solidFill>
                <a:latin typeface="Arial"/>
              </a:rPr>
              <a:t>physical formats </a:t>
            </a:r>
            <a:r>
              <a:rPr lang="en-US">
                <a:solidFill>
                  <a:srgbClr val="3B2C71"/>
                </a:solidFill>
                <a:latin typeface="Arial"/>
              </a:rPr>
              <a:t>with any type of technology (e.g., chip technology, magnetic stripe, etc.).</a:t>
            </a:r>
            <a:endParaRPr lang="en-GB" b="1">
              <a:solidFill>
                <a:srgbClr val="3B2C71"/>
              </a:solidFill>
              <a:latin typeface="Arial"/>
            </a:endParaRPr>
          </a:p>
        </p:txBody>
      </p:sp>
      <p:pic>
        <p:nvPicPr>
          <p:cNvPr id="4" name="Picture 3" descr="A close-up of a student card&#10;&#10;AI-generated content may be incorrect.">
            <a:extLst>
              <a:ext uri="{FF2B5EF4-FFF2-40B4-BE49-F238E27FC236}">
                <a16:creationId xmlns:a16="http://schemas.microsoft.com/office/drawing/2014/main" id="{737DFDF7-3A53-E11B-BF16-6533A030A4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6000" y="2830540"/>
            <a:ext cx="3960000" cy="3799619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CDE64C54-AECC-BAB7-1CD3-C8B0842C5B5A}"/>
              </a:ext>
            </a:extLst>
          </p:cNvPr>
          <p:cNvGrpSpPr/>
          <p:nvPr/>
        </p:nvGrpSpPr>
        <p:grpSpPr>
          <a:xfrm>
            <a:off x="8076000" y="3695484"/>
            <a:ext cx="3130675" cy="1969770"/>
            <a:chOff x="8443324" y="2650163"/>
            <a:chExt cx="3130675" cy="1969770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B60EC1D0-9BD2-9761-FA6B-13429FC68DDE}"/>
                </a:ext>
              </a:extLst>
            </p:cNvPr>
            <p:cNvSpPr txBox="1"/>
            <p:nvPr/>
          </p:nvSpPr>
          <p:spPr>
            <a:xfrm>
              <a:off x="8443324" y="2650163"/>
              <a:ext cx="3130675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3B2C7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uropean Student Card logo</a:t>
              </a:r>
              <a:endParaRPr kumimoji="0" lang="en-BE" sz="1600" b="1" i="0" u="none" strike="noStrike" kern="1200" cap="none" spc="0" normalizeH="0" baseline="0" noProof="0">
                <a:ln>
                  <a:noFill/>
                </a:ln>
                <a:solidFill>
                  <a:srgbClr val="3B2C7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3AC13E74-C18E-20AF-2AA1-0B0FF7FF661A}"/>
                </a:ext>
              </a:extLst>
            </p:cNvPr>
            <p:cNvSpPr txBox="1"/>
            <p:nvPr/>
          </p:nvSpPr>
          <p:spPr>
            <a:xfrm>
              <a:off x="8443324" y="3234938"/>
              <a:ext cx="3130675" cy="138499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Integrates the EU flag with the text “European Student Card” and a QR code, certifying the card’s authenticity across Europe and enabling the validation of student status</a:t>
              </a:r>
              <a:endParaRPr kumimoji="0" lang="en-BE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3DA1066-AE48-02FE-74C4-ACC644E98A66}"/>
              </a:ext>
            </a:extLst>
          </p:cNvPr>
          <p:cNvGrpSpPr/>
          <p:nvPr/>
        </p:nvGrpSpPr>
        <p:grpSpPr>
          <a:xfrm>
            <a:off x="985326" y="2830540"/>
            <a:ext cx="3498184" cy="1339436"/>
            <a:chOff x="985324" y="2077606"/>
            <a:chExt cx="3006571" cy="1339436"/>
          </a:xfrm>
        </p:grpSpPr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079EBBAD-7797-6F64-DC44-A69D6B4527E6}"/>
                </a:ext>
              </a:extLst>
            </p:cNvPr>
            <p:cNvSpPr txBox="1"/>
            <p:nvPr/>
          </p:nvSpPr>
          <p:spPr>
            <a:xfrm>
              <a:off x="985325" y="2077606"/>
              <a:ext cx="300657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3B2C7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uropean Student Identifier (ESI)</a:t>
              </a:r>
              <a:endParaRPr kumimoji="0" lang="en-BE" sz="1600" b="1" i="0" u="none" strike="noStrike" kern="1200" cap="none" spc="0" normalizeH="0" baseline="0" noProof="0">
                <a:ln>
                  <a:noFill/>
                </a:ln>
                <a:solidFill>
                  <a:srgbClr val="3B2C7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44EFC760-8BAC-776A-840A-589C84F491B0}"/>
                </a:ext>
              </a:extLst>
            </p:cNvPr>
            <p:cNvSpPr txBox="1"/>
            <p:nvPr/>
          </p:nvSpPr>
          <p:spPr>
            <a:xfrm>
              <a:off x="985324" y="2462935"/>
              <a:ext cx="2900876" cy="9541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A digital identifier used to uniquely identify students of European higher education institutions, linking them to a given ESC</a:t>
              </a:r>
              <a:endParaRPr kumimoji="0" lang="en-BE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4D6E2427-5F4E-BBDE-B6C9-3257AD8694F5}"/>
              </a:ext>
            </a:extLst>
          </p:cNvPr>
          <p:cNvGrpSpPr/>
          <p:nvPr/>
        </p:nvGrpSpPr>
        <p:grpSpPr>
          <a:xfrm>
            <a:off x="985327" y="4512344"/>
            <a:ext cx="2900875" cy="1589560"/>
            <a:chOff x="985323" y="3715075"/>
            <a:chExt cx="2900875" cy="1589560"/>
          </a:xfrm>
        </p:grpSpPr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E57940B3-F477-EF67-E6A3-CAFE907B3A49}"/>
                </a:ext>
              </a:extLst>
            </p:cNvPr>
            <p:cNvSpPr txBox="1"/>
            <p:nvPr/>
          </p:nvSpPr>
          <p:spPr>
            <a:xfrm>
              <a:off x="985325" y="3715075"/>
              <a:ext cx="2900873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3B2C7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uropean Student Card Number (ESCN)</a:t>
              </a:r>
              <a:endParaRPr kumimoji="0" lang="en-BE" sz="1600" b="1" i="0" u="none" strike="noStrike" kern="1200" cap="none" spc="0" normalizeH="0" baseline="0" noProof="0">
                <a:ln>
                  <a:noFill/>
                </a:ln>
                <a:solidFill>
                  <a:srgbClr val="3B2C7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EE3060EE-CF8E-E301-72F4-DA1EEB215BB4}"/>
                </a:ext>
              </a:extLst>
            </p:cNvPr>
            <p:cNvSpPr txBox="1"/>
            <p:nvPr/>
          </p:nvSpPr>
          <p:spPr>
            <a:xfrm>
              <a:off x="985323" y="4350528"/>
              <a:ext cx="2900875" cy="9541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A unique card identifier that serves to identify student cards belonging to a given institution and to validate them</a:t>
              </a:r>
              <a:endParaRPr kumimoji="0" lang="en-BE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9444254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B233A5-77F0-D699-5D83-54450C118D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040647-0E14-47B7-E010-61DA52BD94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he European Student Card (ESC)</a:t>
            </a:r>
            <a:endParaRPr lang="es-MX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53624BA-6678-CFFD-3630-97394A7973E5}"/>
              </a:ext>
            </a:extLst>
          </p:cNvPr>
          <p:cNvSpPr txBox="1">
            <a:spLocks/>
          </p:cNvSpPr>
          <p:nvPr/>
        </p:nvSpPr>
        <p:spPr>
          <a:xfrm>
            <a:off x="838200" y="1473932"/>
            <a:ext cx="10515599" cy="1608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8100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 eaLnBrk="1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 eaLnBrk="1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 eaLnBrk="1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 eaLnBrk="1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76200" indent="0" algn="just">
              <a:buNone/>
            </a:pPr>
            <a:r>
              <a:rPr lang="en-GB" sz="1800"/>
              <a:t>The ESC adds </a:t>
            </a:r>
            <a:r>
              <a:rPr lang="en-GB" sz="1800">
                <a:sym typeface="+mn-lt"/>
              </a:rPr>
              <a:t>a </a:t>
            </a:r>
            <a:r>
              <a:rPr lang="en-GB" sz="1800" b="1">
                <a:sym typeface="+mn-lt"/>
              </a:rPr>
              <a:t>European dimension to existing higher education student cards </a:t>
            </a:r>
            <a:r>
              <a:rPr lang="en-GB" sz="1800">
                <a:sym typeface="+mn-lt"/>
              </a:rPr>
              <a:t>so students can have their student status easily recognised across Europe.</a:t>
            </a:r>
            <a:endParaRPr lang="es-MX" sz="18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D8EF380-8004-EB3C-C1CE-40FD952AC884}"/>
              </a:ext>
            </a:extLst>
          </p:cNvPr>
          <p:cNvSpPr/>
          <p:nvPr/>
        </p:nvSpPr>
        <p:spPr>
          <a:xfrm>
            <a:off x="0" y="3741840"/>
            <a:ext cx="12192000" cy="2173140"/>
          </a:xfrm>
          <a:prstGeom prst="rect">
            <a:avLst/>
          </a:prstGeom>
          <a:solidFill>
            <a:srgbClr val="DCF3FE">
              <a:alpha val="4078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3314F224-0D5A-C164-684F-682E95A02C2A}"/>
              </a:ext>
            </a:extLst>
          </p:cNvPr>
          <p:cNvSpPr/>
          <p:nvPr/>
        </p:nvSpPr>
        <p:spPr>
          <a:xfrm>
            <a:off x="4661559" y="2809509"/>
            <a:ext cx="3064860" cy="615621"/>
          </a:xfrm>
          <a:prstGeom prst="roundRect">
            <a:avLst/>
          </a:prstGeom>
          <a:solidFill>
            <a:srgbClr val="004494"/>
          </a:solidFill>
          <a:ln>
            <a:solidFill>
              <a:srgbClr val="003E9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A595AA32-595A-61A5-0E51-0E9867D9A671}"/>
              </a:ext>
            </a:extLst>
          </p:cNvPr>
          <p:cNvSpPr/>
          <p:nvPr/>
        </p:nvSpPr>
        <p:spPr>
          <a:xfrm>
            <a:off x="8075794" y="2809509"/>
            <a:ext cx="3064860" cy="615621"/>
          </a:xfrm>
          <a:prstGeom prst="roundRect">
            <a:avLst/>
          </a:prstGeom>
          <a:solidFill>
            <a:srgbClr val="004494"/>
          </a:solidFill>
          <a:ln>
            <a:solidFill>
              <a:srgbClr val="003E9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313FC32-9483-03A6-FA38-045A480999E4}"/>
              </a:ext>
            </a:extLst>
          </p:cNvPr>
          <p:cNvSpPr/>
          <p:nvPr/>
        </p:nvSpPr>
        <p:spPr>
          <a:xfrm>
            <a:off x="1287363" y="2809509"/>
            <a:ext cx="3064860" cy="615621"/>
          </a:xfrm>
          <a:prstGeom prst="roundRect">
            <a:avLst/>
          </a:prstGeom>
          <a:solidFill>
            <a:srgbClr val="004494"/>
          </a:solidFill>
          <a:ln>
            <a:solidFill>
              <a:srgbClr val="003E9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ángulo: esquinas redondeadas 5">
            <a:extLst>
              <a:ext uri="{FF2B5EF4-FFF2-40B4-BE49-F238E27FC236}">
                <a16:creationId xmlns:a16="http://schemas.microsoft.com/office/drawing/2014/main" id="{8350DA5D-FB6B-E22F-81D8-9D2583D767A6}"/>
              </a:ext>
            </a:extLst>
          </p:cNvPr>
          <p:cNvSpPr/>
          <p:nvPr/>
        </p:nvSpPr>
        <p:spPr>
          <a:xfrm>
            <a:off x="4313622" y="3886101"/>
            <a:ext cx="3420000" cy="1764000"/>
          </a:xfrm>
          <a:prstGeom prst="roundRect">
            <a:avLst/>
          </a:prstGeom>
          <a:noFill/>
          <a:ln w="28575" cap="flat" cmpd="sng" algn="ctr">
            <a:noFill/>
            <a:prstDash val="dash"/>
            <a:miter lim="800000"/>
          </a:ln>
          <a:effectLst/>
        </p:spPr>
        <p:txBody>
          <a:bodyPr lIns="91440" tIns="45720" rIns="91440" bIns="45720" rtlCol="0" anchor="t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lt"/>
                <a:cs typeface="Arial"/>
                <a:sym typeface="+mn-lt"/>
              </a:rPr>
              <a:t>Securely validate the student card </a:t>
            </a:r>
            <a:r>
              <a:rPr kumimoji="0" lang="en-GB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lt"/>
                <a:cs typeface="Arial"/>
                <a:sym typeface="+mn-lt"/>
              </a:rPr>
              <a:t>of incoming mobile studen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lt"/>
              <a:cs typeface="Arial"/>
              <a:sym typeface="+mn-lt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lt"/>
                <a:cs typeface="Arial"/>
                <a:sym typeface="+mn-lt"/>
              </a:rPr>
              <a:t>Support reciprocity</a:t>
            </a:r>
            <a:r>
              <a:rPr kumimoji="0" lang="en-GB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lt"/>
                <a:cs typeface="Arial"/>
                <a:sym typeface="+mn-lt"/>
              </a:rPr>
              <a:t> in service provision to mobile students.</a:t>
            </a:r>
            <a:endParaRPr kumimoji="0" lang="en-GB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lt"/>
              <a:cs typeface="Arial"/>
            </a:endParaRPr>
          </a:p>
        </p:txBody>
      </p:sp>
      <p:sp>
        <p:nvSpPr>
          <p:cNvPr id="13" name="CuadroTexto 1">
            <a:extLst>
              <a:ext uri="{FF2B5EF4-FFF2-40B4-BE49-F238E27FC236}">
                <a16:creationId xmlns:a16="http://schemas.microsoft.com/office/drawing/2014/main" id="{DFFA30A3-AAA0-ADB6-E24A-E214B9F96AFE}"/>
              </a:ext>
            </a:extLst>
          </p:cNvPr>
          <p:cNvSpPr txBox="1"/>
          <p:nvPr/>
        </p:nvSpPr>
        <p:spPr>
          <a:xfrm>
            <a:off x="4783509" y="2842721"/>
            <a:ext cx="282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lt"/>
                <a:cs typeface="Arial"/>
                <a:sym typeface="+mn-lt"/>
              </a:rPr>
              <a:t>Higher education institutions </a:t>
            </a:r>
          </a:p>
        </p:txBody>
      </p:sp>
      <p:sp>
        <p:nvSpPr>
          <p:cNvPr id="14" name="CuadroTexto 2">
            <a:extLst>
              <a:ext uri="{FF2B5EF4-FFF2-40B4-BE49-F238E27FC236}">
                <a16:creationId xmlns:a16="http://schemas.microsoft.com/office/drawing/2014/main" id="{ADBE066E-0EEB-2C7C-506F-0DE7BAB8884C}"/>
              </a:ext>
            </a:extLst>
          </p:cNvPr>
          <p:cNvSpPr txBox="1"/>
          <p:nvPr/>
        </p:nvSpPr>
        <p:spPr>
          <a:xfrm>
            <a:off x="1409313" y="2948042"/>
            <a:ext cx="28209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lt"/>
                <a:cs typeface="Arial"/>
                <a:sym typeface="+mn-lt"/>
              </a:rPr>
              <a:t>Students</a:t>
            </a:r>
          </a:p>
        </p:txBody>
      </p:sp>
      <p:sp>
        <p:nvSpPr>
          <p:cNvPr id="15" name="CuadroTexto 3">
            <a:extLst>
              <a:ext uri="{FF2B5EF4-FFF2-40B4-BE49-F238E27FC236}">
                <a16:creationId xmlns:a16="http://schemas.microsoft.com/office/drawing/2014/main" id="{3D20758F-CECB-7976-ACDA-B1095D493B2E}"/>
              </a:ext>
            </a:extLst>
          </p:cNvPr>
          <p:cNvSpPr txBox="1"/>
          <p:nvPr/>
        </p:nvSpPr>
        <p:spPr>
          <a:xfrm>
            <a:off x="8205545" y="2948042"/>
            <a:ext cx="28053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lt"/>
                <a:cs typeface="Arial"/>
                <a:sym typeface="+mn-lt"/>
              </a:rPr>
              <a:t>Student service provider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E672F9D-7C8A-2783-1241-DFDAFBCF7174}"/>
              </a:ext>
            </a:extLst>
          </p:cNvPr>
          <p:cNvSpPr txBox="1"/>
          <p:nvPr/>
        </p:nvSpPr>
        <p:spPr>
          <a:xfrm>
            <a:off x="872905" y="3886101"/>
            <a:ext cx="3255004" cy="2485787"/>
          </a:xfrm>
          <a:prstGeom prst="roundRect">
            <a:avLst/>
          </a:prstGeom>
          <a:noFill/>
          <a:effectLst/>
        </p:spPr>
        <p:txBody>
          <a:bodyPr wrap="square" lIns="91440" tIns="45720" rIns="91440" bIns="45720" anchor="t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lt"/>
                <a:cs typeface="Arial"/>
                <a:sym typeface="+mn-lt"/>
              </a:rPr>
              <a:t>Simplified access to student services </a:t>
            </a:r>
            <a:r>
              <a:rPr kumimoji="0" lang="en-GB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lt"/>
                <a:cs typeface="Arial"/>
                <a:sym typeface="+mn-lt"/>
              </a:rPr>
              <a:t>during mobility with their existing student card, just as local students (e.g., libraries, dormitories, discounts, etc.)</a:t>
            </a:r>
            <a:endParaRPr kumimoji="0" lang="en-GB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lt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lt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kumimoji="0" lang="en-GB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lt"/>
                <a:cs typeface="Arial"/>
              </a:rPr>
              <a:t>Shared </a:t>
            </a:r>
            <a:r>
              <a:rPr kumimoji="0" lang="en-GB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lt"/>
                <a:cs typeface="Arial"/>
              </a:rPr>
              <a:t>European student identit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lt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lt"/>
              <a:cs typeface="Arial"/>
            </a:endParaRPr>
          </a:p>
        </p:txBody>
      </p:sp>
      <p:sp>
        <p:nvSpPr>
          <p:cNvPr id="17" name="Rectángulo: esquinas redondeadas 5">
            <a:extLst>
              <a:ext uri="{FF2B5EF4-FFF2-40B4-BE49-F238E27FC236}">
                <a16:creationId xmlns:a16="http://schemas.microsoft.com/office/drawing/2014/main" id="{C2F769D8-6498-C9A7-B390-9EDE2C11E079}"/>
              </a:ext>
            </a:extLst>
          </p:cNvPr>
          <p:cNvSpPr/>
          <p:nvPr/>
        </p:nvSpPr>
        <p:spPr>
          <a:xfrm>
            <a:off x="7868449" y="3886101"/>
            <a:ext cx="3420000" cy="1764000"/>
          </a:xfrm>
          <a:prstGeom prst="roundRect">
            <a:avLst/>
          </a:prstGeom>
          <a:noFill/>
          <a:ln w="28575" cap="flat" cmpd="sng" algn="ctr">
            <a:noFill/>
            <a:prstDash val="dash"/>
            <a:miter lim="800000"/>
          </a:ln>
          <a:effectLst/>
        </p:spPr>
        <p:txBody>
          <a:bodyPr lIns="91440" tIns="45720" rIns="91440" bIns="45720" rtlCol="0" anchor="t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lt"/>
                <a:cs typeface="Arial"/>
                <a:sym typeface="+mn-lt"/>
              </a:rPr>
              <a:t>Streamline </a:t>
            </a:r>
            <a:r>
              <a:rPr kumimoji="0" lang="en-GB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lt"/>
                <a:cs typeface="Arial"/>
                <a:sym typeface="+mn-lt"/>
              </a:rPr>
              <a:t>the </a:t>
            </a:r>
            <a:r>
              <a:rPr kumimoji="0" lang="en-GB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lt"/>
                <a:cs typeface="Arial"/>
                <a:sym typeface="+mn-lt"/>
              </a:rPr>
              <a:t>verification </a:t>
            </a:r>
            <a:r>
              <a:rPr kumimoji="0" lang="en-GB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lt"/>
                <a:cs typeface="Arial"/>
                <a:sym typeface="+mn-lt"/>
              </a:rPr>
              <a:t>of </a:t>
            </a:r>
            <a:r>
              <a:rPr kumimoji="0" lang="en-GB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lt"/>
                <a:cs typeface="Arial"/>
                <a:sym typeface="+mn-lt"/>
              </a:rPr>
              <a:t>student status</a:t>
            </a:r>
            <a:endParaRPr kumimoji="0" lang="en-US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lt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lt"/>
                <a:cs typeface="Arial"/>
                <a:sym typeface="+mn-lt"/>
              </a:rPr>
              <a:t>Gain access to a </a:t>
            </a:r>
            <a:r>
              <a:rPr kumimoji="0" lang="en-GB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lt"/>
                <a:cs typeface="Arial"/>
                <a:sym typeface="+mn-lt"/>
              </a:rPr>
              <a:t>wider network of users </a:t>
            </a:r>
            <a:endParaRPr kumimoji="0" lang="en-GB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lt"/>
              <a:cs typeface="Arial"/>
            </a:endParaRPr>
          </a:p>
        </p:txBody>
      </p:sp>
      <p:sp>
        <p:nvSpPr>
          <p:cNvPr id="18" name="Elipse 4">
            <a:extLst>
              <a:ext uri="{FF2B5EF4-FFF2-40B4-BE49-F238E27FC236}">
                <a16:creationId xmlns:a16="http://schemas.microsoft.com/office/drawing/2014/main" id="{7DE0F5C7-A6B1-B468-1C64-33FAB7F1C14C}"/>
              </a:ext>
            </a:extLst>
          </p:cNvPr>
          <p:cNvSpPr/>
          <p:nvPr/>
        </p:nvSpPr>
        <p:spPr>
          <a:xfrm>
            <a:off x="5923989" y="2362508"/>
            <a:ext cx="540000" cy="54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3E9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Elipse 5">
            <a:extLst>
              <a:ext uri="{FF2B5EF4-FFF2-40B4-BE49-F238E27FC236}">
                <a16:creationId xmlns:a16="http://schemas.microsoft.com/office/drawing/2014/main" id="{ED4563C3-3E62-FACB-FEAF-584C74201059}"/>
              </a:ext>
            </a:extLst>
          </p:cNvPr>
          <p:cNvSpPr/>
          <p:nvPr/>
        </p:nvSpPr>
        <p:spPr>
          <a:xfrm>
            <a:off x="9338224" y="2362508"/>
            <a:ext cx="540000" cy="54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3E9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Elipse 1">
            <a:extLst>
              <a:ext uri="{FF2B5EF4-FFF2-40B4-BE49-F238E27FC236}">
                <a16:creationId xmlns:a16="http://schemas.microsoft.com/office/drawing/2014/main" id="{E36C2B0B-5DE2-8E5A-0C82-FCA23EA7E64D}"/>
              </a:ext>
            </a:extLst>
          </p:cNvPr>
          <p:cNvSpPr/>
          <p:nvPr/>
        </p:nvSpPr>
        <p:spPr>
          <a:xfrm>
            <a:off x="2549793" y="2362508"/>
            <a:ext cx="540000" cy="54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3E9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Diploma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AA5B883-59FC-28D4-80F4-B58DE4C6EB13}"/>
              </a:ext>
            </a:extLst>
          </p:cNvPr>
          <p:cNvSpPr>
            <a:spLocks noChangeAspect="1" noChangeArrowheads="1"/>
          </p:cNvSpPr>
          <p:nvPr>
            <p:custDataLst>
              <p:tags r:id="rId1"/>
            </p:custDataLst>
          </p:nvPr>
        </p:nvSpPr>
        <p:spPr bwMode="auto">
          <a:xfrm>
            <a:off x="2644982" y="2487702"/>
            <a:ext cx="349622" cy="289613"/>
          </a:xfrm>
          <a:custGeom>
            <a:avLst/>
            <a:gdLst>
              <a:gd name="T0" fmla="*/ 108 w 592"/>
              <a:gd name="T1" fmla="*/ 278 h 490"/>
              <a:gd name="T2" fmla="*/ 108 w 592"/>
              <a:gd name="T3" fmla="*/ 386 h 490"/>
              <a:gd name="T4" fmla="*/ 293 w 592"/>
              <a:gd name="T5" fmla="*/ 489 h 490"/>
              <a:gd name="T6" fmla="*/ 483 w 592"/>
              <a:gd name="T7" fmla="*/ 386 h 490"/>
              <a:gd name="T8" fmla="*/ 483 w 592"/>
              <a:gd name="T9" fmla="*/ 278 h 490"/>
              <a:gd name="T10" fmla="*/ 293 w 592"/>
              <a:gd name="T11" fmla="*/ 381 h 490"/>
              <a:gd name="T12" fmla="*/ 108 w 592"/>
              <a:gd name="T13" fmla="*/ 278 h 490"/>
              <a:gd name="T14" fmla="*/ 293 w 592"/>
              <a:gd name="T15" fmla="*/ 0 h 490"/>
              <a:gd name="T16" fmla="*/ 0 w 592"/>
              <a:gd name="T17" fmla="*/ 165 h 490"/>
              <a:gd name="T18" fmla="*/ 293 w 592"/>
              <a:gd name="T19" fmla="*/ 324 h 490"/>
              <a:gd name="T20" fmla="*/ 535 w 592"/>
              <a:gd name="T21" fmla="*/ 196 h 490"/>
              <a:gd name="T22" fmla="*/ 535 w 592"/>
              <a:gd name="T23" fmla="*/ 381 h 490"/>
              <a:gd name="T24" fmla="*/ 591 w 592"/>
              <a:gd name="T25" fmla="*/ 381 h 490"/>
              <a:gd name="T26" fmla="*/ 591 w 592"/>
              <a:gd name="T27" fmla="*/ 165 h 490"/>
              <a:gd name="T28" fmla="*/ 293 w 592"/>
              <a:gd name="T29" fmla="*/ 0 h 4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92" h="490">
                <a:moveTo>
                  <a:pt x="108" y="278"/>
                </a:moveTo>
                <a:lnTo>
                  <a:pt x="108" y="386"/>
                </a:lnTo>
                <a:lnTo>
                  <a:pt x="293" y="489"/>
                </a:lnTo>
                <a:lnTo>
                  <a:pt x="483" y="386"/>
                </a:lnTo>
                <a:lnTo>
                  <a:pt x="483" y="278"/>
                </a:lnTo>
                <a:lnTo>
                  <a:pt x="293" y="381"/>
                </a:lnTo>
                <a:lnTo>
                  <a:pt x="108" y="278"/>
                </a:lnTo>
                <a:close/>
                <a:moveTo>
                  <a:pt x="293" y="0"/>
                </a:moveTo>
                <a:lnTo>
                  <a:pt x="0" y="165"/>
                </a:lnTo>
                <a:lnTo>
                  <a:pt x="293" y="324"/>
                </a:lnTo>
                <a:lnTo>
                  <a:pt x="535" y="196"/>
                </a:lnTo>
                <a:lnTo>
                  <a:pt x="535" y="381"/>
                </a:lnTo>
                <a:lnTo>
                  <a:pt x="591" y="381"/>
                </a:lnTo>
                <a:lnTo>
                  <a:pt x="591" y="165"/>
                </a:lnTo>
                <a:lnTo>
                  <a:pt x="293" y="0"/>
                </a:lnTo>
                <a:close/>
              </a:path>
            </a:pathLst>
          </a:custGeom>
          <a:solidFill>
            <a:srgbClr val="0356B1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356B1"/>
              </a:solidFill>
              <a:effectLst/>
              <a:uLnTx/>
              <a:uFillTx/>
              <a:latin typeface="Arial"/>
              <a:ea typeface="+mn-lt"/>
              <a:cs typeface="Arial"/>
              <a:sym typeface="+mn-lt"/>
            </a:endParaRPr>
          </a:p>
        </p:txBody>
      </p:sp>
      <p:grpSp>
        <p:nvGrpSpPr>
          <p:cNvPr id="22" name="Bank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08EA69A-35A5-0157-6742-E3D8FA37AA71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014774" y="2463120"/>
            <a:ext cx="358430" cy="338776"/>
            <a:chOff x="6734175" y="3933826"/>
            <a:chExt cx="1062037" cy="746125"/>
          </a:xfrm>
          <a:solidFill>
            <a:srgbClr val="0356B1"/>
          </a:solidFill>
        </p:grpSpPr>
        <p:sp>
          <p:nvSpPr>
            <p:cNvPr id="23" name="Rectangle 56">
              <a:extLst>
                <a:ext uri="{FF2B5EF4-FFF2-40B4-BE49-F238E27FC236}">
                  <a16:creationId xmlns:a16="http://schemas.microsoft.com/office/drawing/2014/main" id="{0743123A-CA33-CC1D-698D-05101D3EA7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34175" y="4622801"/>
              <a:ext cx="1062037" cy="5715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09DE0"/>
                </a:solidFill>
                <a:effectLst/>
                <a:uLnTx/>
                <a:uFillTx/>
                <a:latin typeface="Arial"/>
                <a:ea typeface="+mn-lt"/>
                <a:cs typeface="Arial"/>
                <a:sym typeface="+mn-lt"/>
              </a:endParaRPr>
            </a:p>
          </p:txBody>
        </p:sp>
        <p:sp>
          <p:nvSpPr>
            <p:cNvPr id="24" name="Rectangle 57">
              <a:extLst>
                <a:ext uri="{FF2B5EF4-FFF2-40B4-BE49-F238E27FC236}">
                  <a16:creationId xmlns:a16="http://schemas.microsoft.com/office/drawing/2014/main" id="{B44E286E-7BA0-4F38-CCBE-0386C02CE1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88150" y="4543426"/>
              <a:ext cx="952500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09DE0"/>
                </a:solidFill>
                <a:effectLst/>
                <a:uLnTx/>
                <a:uFillTx/>
                <a:latin typeface="Arial"/>
                <a:ea typeface="+mn-lt"/>
                <a:cs typeface="Arial"/>
                <a:sym typeface="+mn-lt"/>
              </a:endParaRPr>
            </a:p>
          </p:txBody>
        </p:sp>
        <p:sp>
          <p:nvSpPr>
            <p:cNvPr id="25" name="Rectangle 58">
              <a:extLst>
                <a:ext uri="{FF2B5EF4-FFF2-40B4-BE49-F238E27FC236}">
                  <a16:creationId xmlns:a16="http://schemas.microsoft.com/office/drawing/2014/main" id="{CA6AC87C-B98B-FDF5-B791-23DCF6B70D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37363" y="4479926"/>
              <a:ext cx="854075" cy="4127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09DE0"/>
                </a:solidFill>
                <a:effectLst/>
                <a:uLnTx/>
                <a:uFillTx/>
                <a:latin typeface="Arial"/>
                <a:ea typeface="+mn-lt"/>
                <a:cs typeface="Arial"/>
                <a:sym typeface="+mn-lt"/>
              </a:endParaRPr>
            </a:p>
          </p:txBody>
        </p:sp>
        <p:sp>
          <p:nvSpPr>
            <p:cNvPr id="26" name="Freeform 59">
              <a:extLst>
                <a:ext uri="{FF2B5EF4-FFF2-40B4-BE49-F238E27FC236}">
                  <a16:creationId xmlns:a16="http://schemas.microsoft.com/office/drawing/2014/main" id="{82012351-3D9B-A18B-1161-38256778884E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2013" y="4187826"/>
              <a:ext cx="104775" cy="263525"/>
            </a:xfrm>
            <a:custGeom>
              <a:avLst/>
              <a:gdLst>
                <a:gd name="T0" fmla="*/ 56 w 66"/>
                <a:gd name="T1" fmla="*/ 166 h 166"/>
                <a:gd name="T2" fmla="*/ 56 w 66"/>
                <a:gd name="T3" fmla="*/ 149 h 166"/>
                <a:gd name="T4" fmla="*/ 61 w 66"/>
                <a:gd name="T5" fmla="*/ 149 h 166"/>
                <a:gd name="T6" fmla="*/ 61 w 66"/>
                <a:gd name="T7" fmla="*/ 141 h 166"/>
                <a:gd name="T8" fmla="*/ 66 w 66"/>
                <a:gd name="T9" fmla="*/ 141 h 166"/>
                <a:gd name="T10" fmla="*/ 66 w 66"/>
                <a:gd name="T11" fmla="*/ 25 h 166"/>
                <a:gd name="T12" fmla="*/ 61 w 66"/>
                <a:gd name="T13" fmla="*/ 25 h 166"/>
                <a:gd name="T14" fmla="*/ 61 w 66"/>
                <a:gd name="T15" fmla="*/ 17 h 166"/>
                <a:gd name="T16" fmla="*/ 56 w 66"/>
                <a:gd name="T17" fmla="*/ 17 h 166"/>
                <a:gd name="T18" fmla="*/ 56 w 66"/>
                <a:gd name="T19" fmla="*/ 0 h 166"/>
                <a:gd name="T20" fmla="*/ 11 w 66"/>
                <a:gd name="T21" fmla="*/ 0 h 166"/>
                <a:gd name="T22" fmla="*/ 11 w 66"/>
                <a:gd name="T23" fmla="*/ 17 h 166"/>
                <a:gd name="T24" fmla="*/ 5 w 66"/>
                <a:gd name="T25" fmla="*/ 17 h 166"/>
                <a:gd name="T26" fmla="*/ 5 w 66"/>
                <a:gd name="T27" fmla="*/ 25 h 166"/>
                <a:gd name="T28" fmla="*/ 0 w 66"/>
                <a:gd name="T29" fmla="*/ 25 h 166"/>
                <a:gd name="T30" fmla="*/ 0 w 66"/>
                <a:gd name="T31" fmla="*/ 141 h 166"/>
                <a:gd name="T32" fmla="*/ 5 w 66"/>
                <a:gd name="T33" fmla="*/ 141 h 166"/>
                <a:gd name="T34" fmla="*/ 5 w 66"/>
                <a:gd name="T35" fmla="*/ 149 h 166"/>
                <a:gd name="T36" fmla="*/ 11 w 66"/>
                <a:gd name="T37" fmla="*/ 149 h 166"/>
                <a:gd name="T38" fmla="*/ 11 w 66"/>
                <a:gd name="T39" fmla="*/ 166 h 166"/>
                <a:gd name="T40" fmla="*/ 56 w 66"/>
                <a:gd name="T41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6" h="166">
                  <a:moveTo>
                    <a:pt x="56" y="166"/>
                  </a:moveTo>
                  <a:lnTo>
                    <a:pt x="56" y="149"/>
                  </a:lnTo>
                  <a:lnTo>
                    <a:pt x="61" y="149"/>
                  </a:lnTo>
                  <a:lnTo>
                    <a:pt x="61" y="141"/>
                  </a:lnTo>
                  <a:lnTo>
                    <a:pt x="66" y="141"/>
                  </a:lnTo>
                  <a:lnTo>
                    <a:pt x="66" y="25"/>
                  </a:lnTo>
                  <a:lnTo>
                    <a:pt x="61" y="25"/>
                  </a:lnTo>
                  <a:lnTo>
                    <a:pt x="61" y="17"/>
                  </a:lnTo>
                  <a:lnTo>
                    <a:pt x="56" y="17"/>
                  </a:lnTo>
                  <a:lnTo>
                    <a:pt x="56" y="0"/>
                  </a:lnTo>
                  <a:lnTo>
                    <a:pt x="11" y="0"/>
                  </a:lnTo>
                  <a:lnTo>
                    <a:pt x="11" y="17"/>
                  </a:lnTo>
                  <a:lnTo>
                    <a:pt x="5" y="17"/>
                  </a:lnTo>
                  <a:lnTo>
                    <a:pt x="5" y="25"/>
                  </a:lnTo>
                  <a:lnTo>
                    <a:pt x="0" y="25"/>
                  </a:lnTo>
                  <a:lnTo>
                    <a:pt x="0" y="141"/>
                  </a:lnTo>
                  <a:lnTo>
                    <a:pt x="5" y="141"/>
                  </a:lnTo>
                  <a:lnTo>
                    <a:pt x="5" y="149"/>
                  </a:lnTo>
                  <a:lnTo>
                    <a:pt x="11" y="149"/>
                  </a:lnTo>
                  <a:lnTo>
                    <a:pt x="11" y="166"/>
                  </a:lnTo>
                  <a:lnTo>
                    <a:pt x="56" y="16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09DE0"/>
                </a:solidFill>
                <a:effectLst/>
                <a:uLnTx/>
                <a:uFillTx/>
                <a:latin typeface="Arial"/>
                <a:ea typeface="+mn-lt"/>
                <a:cs typeface="Arial"/>
                <a:sym typeface="+mn-lt"/>
              </a:endParaRPr>
            </a:p>
          </p:txBody>
        </p:sp>
        <p:sp>
          <p:nvSpPr>
            <p:cNvPr id="27" name="Freeform 60">
              <a:extLst>
                <a:ext uri="{FF2B5EF4-FFF2-40B4-BE49-F238E27FC236}">
                  <a16:creationId xmlns:a16="http://schemas.microsoft.com/office/drawing/2014/main" id="{831B08D8-6C07-1A26-B4FF-6004DA982B7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9813" y="4187826"/>
              <a:ext cx="104775" cy="263525"/>
            </a:xfrm>
            <a:custGeom>
              <a:avLst/>
              <a:gdLst>
                <a:gd name="T0" fmla="*/ 10 w 66"/>
                <a:gd name="T1" fmla="*/ 0 h 166"/>
                <a:gd name="T2" fmla="*/ 10 w 66"/>
                <a:gd name="T3" fmla="*/ 17 h 166"/>
                <a:gd name="T4" fmla="*/ 4 w 66"/>
                <a:gd name="T5" fmla="*/ 17 h 166"/>
                <a:gd name="T6" fmla="*/ 4 w 66"/>
                <a:gd name="T7" fmla="*/ 25 h 166"/>
                <a:gd name="T8" fmla="*/ 0 w 66"/>
                <a:gd name="T9" fmla="*/ 25 h 166"/>
                <a:gd name="T10" fmla="*/ 0 w 66"/>
                <a:gd name="T11" fmla="*/ 141 h 166"/>
                <a:gd name="T12" fmla="*/ 4 w 66"/>
                <a:gd name="T13" fmla="*/ 141 h 166"/>
                <a:gd name="T14" fmla="*/ 4 w 66"/>
                <a:gd name="T15" fmla="*/ 149 h 166"/>
                <a:gd name="T16" fmla="*/ 10 w 66"/>
                <a:gd name="T17" fmla="*/ 149 h 166"/>
                <a:gd name="T18" fmla="*/ 10 w 66"/>
                <a:gd name="T19" fmla="*/ 166 h 166"/>
                <a:gd name="T20" fmla="*/ 55 w 66"/>
                <a:gd name="T21" fmla="*/ 166 h 166"/>
                <a:gd name="T22" fmla="*/ 55 w 66"/>
                <a:gd name="T23" fmla="*/ 149 h 166"/>
                <a:gd name="T24" fmla="*/ 61 w 66"/>
                <a:gd name="T25" fmla="*/ 149 h 166"/>
                <a:gd name="T26" fmla="*/ 61 w 66"/>
                <a:gd name="T27" fmla="*/ 141 h 166"/>
                <a:gd name="T28" fmla="*/ 66 w 66"/>
                <a:gd name="T29" fmla="*/ 141 h 166"/>
                <a:gd name="T30" fmla="*/ 66 w 66"/>
                <a:gd name="T31" fmla="*/ 25 h 166"/>
                <a:gd name="T32" fmla="*/ 61 w 66"/>
                <a:gd name="T33" fmla="*/ 25 h 166"/>
                <a:gd name="T34" fmla="*/ 61 w 66"/>
                <a:gd name="T35" fmla="*/ 17 h 166"/>
                <a:gd name="T36" fmla="*/ 55 w 66"/>
                <a:gd name="T37" fmla="*/ 17 h 166"/>
                <a:gd name="T38" fmla="*/ 55 w 66"/>
                <a:gd name="T39" fmla="*/ 0 h 166"/>
                <a:gd name="T40" fmla="*/ 10 w 66"/>
                <a:gd name="T4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6" h="166">
                  <a:moveTo>
                    <a:pt x="10" y="0"/>
                  </a:moveTo>
                  <a:lnTo>
                    <a:pt x="10" y="17"/>
                  </a:lnTo>
                  <a:lnTo>
                    <a:pt x="4" y="17"/>
                  </a:lnTo>
                  <a:lnTo>
                    <a:pt x="4" y="25"/>
                  </a:lnTo>
                  <a:lnTo>
                    <a:pt x="0" y="25"/>
                  </a:lnTo>
                  <a:lnTo>
                    <a:pt x="0" y="141"/>
                  </a:lnTo>
                  <a:lnTo>
                    <a:pt x="4" y="141"/>
                  </a:lnTo>
                  <a:lnTo>
                    <a:pt x="4" y="149"/>
                  </a:lnTo>
                  <a:lnTo>
                    <a:pt x="10" y="149"/>
                  </a:lnTo>
                  <a:lnTo>
                    <a:pt x="10" y="166"/>
                  </a:lnTo>
                  <a:lnTo>
                    <a:pt x="55" y="166"/>
                  </a:lnTo>
                  <a:lnTo>
                    <a:pt x="55" y="149"/>
                  </a:lnTo>
                  <a:lnTo>
                    <a:pt x="61" y="149"/>
                  </a:lnTo>
                  <a:lnTo>
                    <a:pt x="61" y="141"/>
                  </a:lnTo>
                  <a:lnTo>
                    <a:pt x="66" y="141"/>
                  </a:lnTo>
                  <a:lnTo>
                    <a:pt x="66" y="25"/>
                  </a:lnTo>
                  <a:lnTo>
                    <a:pt x="61" y="25"/>
                  </a:lnTo>
                  <a:lnTo>
                    <a:pt x="61" y="17"/>
                  </a:lnTo>
                  <a:lnTo>
                    <a:pt x="55" y="17"/>
                  </a:lnTo>
                  <a:lnTo>
                    <a:pt x="55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09DE0"/>
                </a:solidFill>
                <a:effectLst/>
                <a:uLnTx/>
                <a:uFillTx/>
                <a:latin typeface="Arial"/>
                <a:ea typeface="+mn-lt"/>
                <a:cs typeface="Arial"/>
                <a:sym typeface="+mn-lt"/>
              </a:endParaRPr>
            </a:p>
          </p:txBody>
        </p:sp>
        <p:sp>
          <p:nvSpPr>
            <p:cNvPr id="28" name="Freeform 61">
              <a:extLst>
                <a:ext uri="{FF2B5EF4-FFF2-40B4-BE49-F238E27FC236}">
                  <a16:creationId xmlns:a16="http://schemas.microsoft.com/office/drawing/2014/main" id="{B4879E9A-9268-CF7D-C168-E80EB22F18A4}"/>
                </a:ext>
              </a:extLst>
            </p:cNvPr>
            <p:cNvSpPr>
              <a:spLocks/>
            </p:cNvSpPr>
            <p:nvPr/>
          </p:nvSpPr>
          <p:spPr bwMode="auto">
            <a:xfrm>
              <a:off x="7035800" y="4187826"/>
              <a:ext cx="104775" cy="263525"/>
            </a:xfrm>
            <a:custGeom>
              <a:avLst/>
              <a:gdLst>
                <a:gd name="T0" fmla="*/ 55 w 66"/>
                <a:gd name="T1" fmla="*/ 166 h 166"/>
                <a:gd name="T2" fmla="*/ 55 w 66"/>
                <a:gd name="T3" fmla="*/ 149 h 166"/>
                <a:gd name="T4" fmla="*/ 61 w 66"/>
                <a:gd name="T5" fmla="*/ 149 h 166"/>
                <a:gd name="T6" fmla="*/ 61 w 66"/>
                <a:gd name="T7" fmla="*/ 141 h 166"/>
                <a:gd name="T8" fmla="*/ 66 w 66"/>
                <a:gd name="T9" fmla="*/ 141 h 166"/>
                <a:gd name="T10" fmla="*/ 66 w 66"/>
                <a:gd name="T11" fmla="*/ 25 h 166"/>
                <a:gd name="T12" fmla="*/ 61 w 66"/>
                <a:gd name="T13" fmla="*/ 25 h 166"/>
                <a:gd name="T14" fmla="*/ 61 w 66"/>
                <a:gd name="T15" fmla="*/ 17 h 166"/>
                <a:gd name="T16" fmla="*/ 55 w 66"/>
                <a:gd name="T17" fmla="*/ 17 h 166"/>
                <a:gd name="T18" fmla="*/ 55 w 66"/>
                <a:gd name="T19" fmla="*/ 0 h 166"/>
                <a:gd name="T20" fmla="*/ 10 w 66"/>
                <a:gd name="T21" fmla="*/ 0 h 166"/>
                <a:gd name="T22" fmla="*/ 10 w 66"/>
                <a:gd name="T23" fmla="*/ 17 h 166"/>
                <a:gd name="T24" fmla="*/ 5 w 66"/>
                <a:gd name="T25" fmla="*/ 17 h 166"/>
                <a:gd name="T26" fmla="*/ 5 w 66"/>
                <a:gd name="T27" fmla="*/ 25 h 166"/>
                <a:gd name="T28" fmla="*/ 0 w 66"/>
                <a:gd name="T29" fmla="*/ 25 h 166"/>
                <a:gd name="T30" fmla="*/ 0 w 66"/>
                <a:gd name="T31" fmla="*/ 141 h 166"/>
                <a:gd name="T32" fmla="*/ 5 w 66"/>
                <a:gd name="T33" fmla="*/ 141 h 166"/>
                <a:gd name="T34" fmla="*/ 5 w 66"/>
                <a:gd name="T35" fmla="*/ 149 h 166"/>
                <a:gd name="T36" fmla="*/ 10 w 66"/>
                <a:gd name="T37" fmla="*/ 149 h 166"/>
                <a:gd name="T38" fmla="*/ 10 w 66"/>
                <a:gd name="T39" fmla="*/ 166 h 166"/>
                <a:gd name="T40" fmla="*/ 55 w 66"/>
                <a:gd name="T41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6" h="166">
                  <a:moveTo>
                    <a:pt x="55" y="166"/>
                  </a:moveTo>
                  <a:lnTo>
                    <a:pt x="55" y="149"/>
                  </a:lnTo>
                  <a:lnTo>
                    <a:pt x="61" y="149"/>
                  </a:lnTo>
                  <a:lnTo>
                    <a:pt x="61" y="141"/>
                  </a:lnTo>
                  <a:lnTo>
                    <a:pt x="66" y="141"/>
                  </a:lnTo>
                  <a:lnTo>
                    <a:pt x="66" y="25"/>
                  </a:lnTo>
                  <a:lnTo>
                    <a:pt x="61" y="25"/>
                  </a:lnTo>
                  <a:lnTo>
                    <a:pt x="61" y="17"/>
                  </a:lnTo>
                  <a:lnTo>
                    <a:pt x="55" y="17"/>
                  </a:lnTo>
                  <a:lnTo>
                    <a:pt x="55" y="0"/>
                  </a:lnTo>
                  <a:lnTo>
                    <a:pt x="10" y="0"/>
                  </a:lnTo>
                  <a:lnTo>
                    <a:pt x="10" y="17"/>
                  </a:lnTo>
                  <a:lnTo>
                    <a:pt x="5" y="17"/>
                  </a:lnTo>
                  <a:lnTo>
                    <a:pt x="5" y="25"/>
                  </a:lnTo>
                  <a:lnTo>
                    <a:pt x="0" y="25"/>
                  </a:lnTo>
                  <a:lnTo>
                    <a:pt x="0" y="141"/>
                  </a:lnTo>
                  <a:lnTo>
                    <a:pt x="5" y="141"/>
                  </a:lnTo>
                  <a:lnTo>
                    <a:pt x="5" y="149"/>
                  </a:lnTo>
                  <a:lnTo>
                    <a:pt x="10" y="149"/>
                  </a:lnTo>
                  <a:lnTo>
                    <a:pt x="10" y="166"/>
                  </a:lnTo>
                  <a:lnTo>
                    <a:pt x="55" y="16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09DE0"/>
                </a:solidFill>
                <a:effectLst/>
                <a:uLnTx/>
                <a:uFillTx/>
                <a:latin typeface="Arial"/>
                <a:ea typeface="+mn-lt"/>
                <a:cs typeface="Arial"/>
                <a:sym typeface="+mn-lt"/>
              </a:endParaRPr>
            </a:p>
          </p:txBody>
        </p:sp>
        <p:sp>
          <p:nvSpPr>
            <p:cNvPr id="29" name="Freeform 62">
              <a:extLst>
                <a:ext uri="{FF2B5EF4-FFF2-40B4-BE49-F238E27FC236}">
                  <a16:creationId xmlns:a16="http://schemas.microsoft.com/office/drawing/2014/main" id="{E9AA7034-D34B-D18E-7198-0ED48961935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1338" y="4187826"/>
              <a:ext cx="71437" cy="263525"/>
            </a:xfrm>
            <a:custGeom>
              <a:avLst/>
              <a:gdLst>
                <a:gd name="T0" fmla="*/ 35 w 45"/>
                <a:gd name="T1" fmla="*/ 149 h 166"/>
                <a:gd name="T2" fmla="*/ 41 w 45"/>
                <a:gd name="T3" fmla="*/ 149 h 166"/>
                <a:gd name="T4" fmla="*/ 41 w 45"/>
                <a:gd name="T5" fmla="*/ 141 h 166"/>
                <a:gd name="T6" fmla="*/ 45 w 45"/>
                <a:gd name="T7" fmla="*/ 141 h 166"/>
                <a:gd name="T8" fmla="*/ 45 w 45"/>
                <a:gd name="T9" fmla="*/ 25 h 166"/>
                <a:gd name="T10" fmla="*/ 41 w 45"/>
                <a:gd name="T11" fmla="*/ 25 h 166"/>
                <a:gd name="T12" fmla="*/ 41 w 45"/>
                <a:gd name="T13" fmla="*/ 17 h 166"/>
                <a:gd name="T14" fmla="*/ 35 w 45"/>
                <a:gd name="T15" fmla="*/ 17 h 166"/>
                <a:gd name="T16" fmla="*/ 35 w 45"/>
                <a:gd name="T17" fmla="*/ 0 h 166"/>
                <a:gd name="T18" fmla="*/ 0 w 45"/>
                <a:gd name="T19" fmla="*/ 0 h 166"/>
                <a:gd name="T20" fmla="*/ 0 w 45"/>
                <a:gd name="T21" fmla="*/ 166 h 166"/>
                <a:gd name="T22" fmla="*/ 35 w 45"/>
                <a:gd name="T23" fmla="*/ 166 h 166"/>
                <a:gd name="T24" fmla="*/ 35 w 45"/>
                <a:gd name="T25" fmla="*/ 149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5" h="166">
                  <a:moveTo>
                    <a:pt x="35" y="149"/>
                  </a:moveTo>
                  <a:lnTo>
                    <a:pt x="41" y="149"/>
                  </a:lnTo>
                  <a:lnTo>
                    <a:pt x="41" y="141"/>
                  </a:lnTo>
                  <a:lnTo>
                    <a:pt x="45" y="141"/>
                  </a:lnTo>
                  <a:lnTo>
                    <a:pt x="45" y="25"/>
                  </a:lnTo>
                  <a:lnTo>
                    <a:pt x="41" y="25"/>
                  </a:lnTo>
                  <a:lnTo>
                    <a:pt x="41" y="17"/>
                  </a:lnTo>
                  <a:lnTo>
                    <a:pt x="35" y="17"/>
                  </a:lnTo>
                  <a:lnTo>
                    <a:pt x="35" y="0"/>
                  </a:lnTo>
                  <a:lnTo>
                    <a:pt x="0" y="0"/>
                  </a:lnTo>
                  <a:lnTo>
                    <a:pt x="0" y="166"/>
                  </a:lnTo>
                  <a:lnTo>
                    <a:pt x="35" y="166"/>
                  </a:lnTo>
                  <a:lnTo>
                    <a:pt x="35" y="14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09DE0"/>
                </a:solidFill>
                <a:effectLst/>
                <a:uLnTx/>
                <a:uFillTx/>
                <a:latin typeface="Arial"/>
                <a:ea typeface="+mn-lt"/>
                <a:cs typeface="Arial"/>
                <a:sym typeface="+mn-lt"/>
              </a:endParaRPr>
            </a:p>
          </p:txBody>
        </p:sp>
        <p:sp>
          <p:nvSpPr>
            <p:cNvPr id="30" name="Freeform 63">
              <a:extLst>
                <a:ext uri="{FF2B5EF4-FFF2-40B4-BE49-F238E27FC236}">
                  <a16:creationId xmlns:a16="http://schemas.microsoft.com/office/drawing/2014/main" id="{7DC2A17E-D567-E4DA-3837-3245A8B6D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6025" y="4187826"/>
              <a:ext cx="71437" cy="263525"/>
            </a:xfrm>
            <a:custGeom>
              <a:avLst/>
              <a:gdLst>
                <a:gd name="T0" fmla="*/ 11 w 45"/>
                <a:gd name="T1" fmla="*/ 0 h 166"/>
                <a:gd name="T2" fmla="*/ 11 w 45"/>
                <a:gd name="T3" fmla="*/ 17 h 166"/>
                <a:gd name="T4" fmla="*/ 5 w 45"/>
                <a:gd name="T5" fmla="*/ 17 h 166"/>
                <a:gd name="T6" fmla="*/ 5 w 45"/>
                <a:gd name="T7" fmla="*/ 25 h 166"/>
                <a:gd name="T8" fmla="*/ 0 w 45"/>
                <a:gd name="T9" fmla="*/ 25 h 166"/>
                <a:gd name="T10" fmla="*/ 0 w 45"/>
                <a:gd name="T11" fmla="*/ 141 h 166"/>
                <a:gd name="T12" fmla="*/ 5 w 45"/>
                <a:gd name="T13" fmla="*/ 141 h 166"/>
                <a:gd name="T14" fmla="*/ 5 w 45"/>
                <a:gd name="T15" fmla="*/ 149 h 166"/>
                <a:gd name="T16" fmla="*/ 11 w 45"/>
                <a:gd name="T17" fmla="*/ 149 h 166"/>
                <a:gd name="T18" fmla="*/ 11 w 45"/>
                <a:gd name="T19" fmla="*/ 166 h 166"/>
                <a:gd name="T20" fmla="*/ 45 w 45"/>
                <a:gd name="T21" fmla="*/ 166 h 166"/>
                <a:gd name="T22" fmla="*/ 45 w 45"/>
                <a:gd name="T23" fmla="*/ 0 h 166"/>
                <a:gd name="T24" fmla="*/ 11 w 45"/>
                <a:gd name="T25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5" h="166">
                  <a:moveTo>
                    <a:pt x="11" y="0"/>
                  </a:moveTo>
                  <a:lnTo>
                    <a:pt x="11" y="17"/>
                  </a:lnTo>
                  <a:lnTo>
                    <a:pt x="5" y="17"/>
                  </a:lnTo>
                  <a:lnTo>
                    <a:pt x="5" y="25"/>
                  </a:lnTo>
                  <a:lnTo>
                    <a:pt x="0" y="25"/>
                  </a:lnTo>
                  <a:lnTo>
                    <a:pt x="0" y="141"/>
                  </a:lnTo>
                  <a:lnTo>
                    <a:pt x="5" y="141"/>
                  </a:lnTo>
                  <a:lnTo>
                    <a:pt x="5" y="149"/>
                  </a:lnTo>
                  <a:lnTo>
                    <a:pt x="11" y="149"/>
                  </a:lnTo>
                  <a:lnTo>
                    <a:pt x="11" y="166"/>
                  </a:lnTo>
                  <a:lnTo>
                    <a:pt x="45" y="166"/>
                  </a:lnTo>
                  <a:lnTo>
                    <a:pt x="45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09DE0"/>
                </a:solidFill>
                <a:effectLst/>
                <a:uLnTx/>
                <a:uFillTx/>
                <a:latin typeface="Arial"/>
                <a:ea typeface="+mn-lt"/>
                <a:cs typeface="Arial"/>
                <a:sym typeface="+mn-lt"/>
              </a:endParaRPr>
            </a:p>
          </p:txBody>
        </p:sp>
        <p:sp>
          <p:nvSpPr>
            <p:cNvPr id="31" name="Freeform 64">
              <a:extLst>
                <a:ext uri="{FF2B5EF4-FFF2-40B4-BE49-F238E27FC236}">
                  <a16:creationId xmlns:a16="http://schemas.microsoft.com/office/drawing/2014/main" id="{C619B996-485E-AC3C-BC00-FCE06C5C48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97675" y="3933826"/>
              <a:ext cx="933450" cy="227013"/>
            </a:xfrm>
            <a:custGeom>
              <a:avLst/>
              <a:gdLst>
                <a:gd name="T0" fmla="*/ 1078 w 5629"/>
                <a:gd name="T1" fmla="*/ 985 h 1371"/>
                <a:gd name="T2" fmla="*/ 2815 w 5629"/>
                <a:gd name="T3" fmla="*/ 358 h 1371"/>
                <a:gd name="T4" fmla="*/ 4551 w 5629"/>
                <a:gd name="T5" fmla="*/ 985 h 1371"/>
                <a:gd name="T6" fmla="*/ 1078 w 5629"/>
                <a:gd name="T7" fmla="*/ 985 h 1371"/>
                <a:gd name="T8" fmla="*/ 2815 w 5629"/>
                <a:gd name="T9" fmla="*/ 0 h 1371"/>
                <a:gd name="T10" fmla="*/ 0 w 5629"/>
                <a:gd name="T11" fmla="*/ 1038 h 1371"/>
                <a:gd name="T12" fmla="*/ 122 w 5629"/>
                <a:gd name="T13" fmla="*/ 1249 h 1371"/>
                <a:gd name="T14" fmla="*/ 253 w 5629"/>
                <a:gd name="T15" fmla="*/ 1249 h 1371"/>
                <a:gd name="T16" fmla="*/ 253 w 5629"/>
                <a:gd name="T17" fmla="*/ 1371 h 1371"/>
                <a:gd name="T18" fmla="*/ 5376 w 5629"/>
                <a:gd name="T19" fmla="*/ 1371 h 1371"/>
                <a:gd name="T20" fmla="*/ 5376 w 5629"/>
                <a:gd name="T21" fmla="*/ 1249 h 1371"/>
                <a:gd name="T22" fmla="*/ 5507 w 5629"/>
                <a:gd name="T23" fmla="*/ 1249 h 1371"/>
                <a:gd name="T24" fmla="*/ 5629 w 5629"/>
                <a:gd name="T25" fmla="*/ 1038 h 1371"/>
                <a:gd name="T26" fmla="*/ 2815 w 5629"/>
                <a:gd name="T27" fmla="*/ 0 h 1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629" h="1371">
                  <a:moveTo>
                    <a:pt x="1078" y="985"/>
                  </a:moveTo>
                  <a:lnTo>
                    <a:pt x="2815" y="358"/>
                  </a:lnTo>
                  <a:lnTo>
                    <a:pt x="4551" y="985"/>
                  </a:lnTo>
                  <a:lnTo>
                    <a:pt x="1078" y="985"/>
                  </a:lnTo>
                  <a:close/>
                  <a:moveTo>
                    <a:pt x="2815" y="0"/>
                  </a:moveTo>
                  <a:lnTo>
                    <a:pt x="0" y="1038"/>
                  </a:lnTo>
                  <a:lnTo>
                    <a:pt x="122" y="1249"/>
                  </a:lnTo>
                  <a:lnTo>
                    <a:pt x="253" y="1249"/>
                  </a:lnTo>
                  <a:lnTo>
                    <a:pt x="253" y="1371"/>
                  </a:lnTo>
                  <a:lnTo>
                    <a:pt x="5376" y="1371"/>
                  </a:lnTo>
                  <a:lnTo>
                    <a:pt x="5376" y="1249"/>
                  </a:lnTo>
                  <a:lnTo>
                    <a:pt x="5507" y="1249"/>
                  </a:lnTo>
                  <a:lnTo>
                    <a:pt x="5629" y="1038"/>
                  </a:lnTo>
                  <a:lnTo>
                    <a:pt x="2815" y="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09DE0"/>
                </a:solidFill>
                <a:effectLst/>
                <a:uLnTx/>
                <a:uFillTx/>
                <a:latin typeface="Arial"/>
                <a:ea typeface="+mn-lt"/>
                <a:cs typeface="Arial"/>
                <a:sym typeface="+mn-lt"/>
              </a:endParaRPr>
            </a:p>
          </p:txBody>
        </p:sp>
      </p:grpSp>
      <p:grpSp>
        <p:nvGrpSpPr>
          <p:cNvPr id="32" name="Handshake15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0AA5E66-55F0-2730-5383-BE9514C1BDC2}"/>
              </a:ext>
            </a:extLst>
          </p:cNvPr>
          <p:cNvGrpSpPr>
            <a:grpSpLocks noChangeAspect="1"/>
          </p:cNvGrpSpPr>
          <p:nvPr/>
        </p:nvGrpSpPr>
        <p:grpSpPr>
          <a:xfrm>
            <a:off x="9383964" y="2443336"/>
            <a:ext cx="448521" cy="378345"/>
            <a:chOff x="7956550" y="1998663"/>
            <a:chExt cx="466725" cy="393700"/>
          </a:xfrm>
          <a:solidFill>
            <a:srgbClr val="0356B1"/>
          </a:solidFill>
        </p:grpSpPr>
        <p:sp>
          <p:nvSpPr>
            <p:cNvPr id="33" name="Freeform 64">
              <a:extLst>
                <a:ext uri="{FF2B5EF4-FFF2-40B4-BE49-F238E27FC236}">
                  <a16:creationId xmlns:a16="http://schemas.microsoft.com/office/drawing/2014/main" id="{FBDF4887-60FA-63E8-54AB-86098A0D6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5950" y="1998663"/>
              <a:ext cx="187325" cy="187325"/>
            </a:xfrm>
            <a:custGeom>
              <a:avLst/>
              <a:gdLst>
                <a:gd name="T0" fmla="*/ 1094 w 1468"/>
                <a:gd name="T1" fmla="*/ 1473 h 1473"/>
                <a:gd name="T2" fmla="*/ 1043 w 1468"/>
                <a:gd name="T3" fmla="*/ 1453 h 1473"/>
                <a:gd name="T4" fmla="*/ 22 w 1468"/>
                <a:gd name="T5" fmla="*/ 466 h 1473"/>
                <a:gd name="T6" fmla="*/ 1 w 1468"/>
                <a:gd name="T7" fmla="*/ 415 h 1473"/>
                <a:gd name="T8" fmla="*/ 21 w 1468"/>
                <a:gd name="T9" fmla="*/ 363 h 1473"/>
                <a:gd name="T10" fmla="*/ 352 w 1468"/>
                <a:gd name="T11" fmla="*/ 29 h 1473"/>
                <a:gd name="T12" fmla="*/ 455 w 1468"/>
                <a:gd name="T13" fmla="*/ 28 h 1473"/>
                <a:gd name="T14" fmla="*/ 455 w 1468"/>
                <a:gd name="T15" fmla="*/ 131 h 1473"/>
                <a:gd name="T16" fmla="*/ 176 w 1468"/>
                <a:gd name="T17" fmla="*/ 413 h 1473"/>
                <a:gd name="T18" fmla="*/ 1086 w 1468"/>
                <a:gd name="T19" fmla="*/ 1293 h 1473"/>
                <a:gd name="T20" fmla="*/ 1329 w 1468"/>
                <a:gd name="T21" fmla="*/ 986 h 1473"/>
                <a:gd name="T22" fmla="*/ 1431 w 1468"/>
                <a:gd name="T23" fmla="*/ 974 h 1473"/>
                <a:gd name="T24" fmla="*/ 1443 w 1468"/>
                <a:gd name="T25" fmla="*/ 1075 h 1473"/>
                <a:gd name="T26" fmla="*/ 1151 w 1468"/>
                <a:gd name="T27" fmla="*/ 1446 h 1473"/>
                <a:gd name="T28" fmla="*/ 1099 w 1468"/>
                <a:gd name="T29" fmla="*/ 1473 h 1473"/>
                <a:gd name="T30" fmla="*/ 1094 w 1468"/>
                <a:gd name="T31" fmla="*/ 1473 h 1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8" h="1473">
                  <a:moveTo>
                    <a:pt x="1094" y="1473"/>
                  </a:moveTo>
                  <a:cubicBezTo>
                    <a:pt x="1075" y="1473"/>
                    <a:pt x="1057" y="1466"/>
                    <a:pt x="1043" y="1453"/>
                  </a:cubicBezTo>
                  <a:lnTo>
                    <a:pt x="22" y="466"/>
                  </a:lnTo>
                  <a:cubicBezTo>
                    <a:pt x="9" y="453"/>
                    <a:pt x="1" y="434"/>
                    <a:pt x="1" y="415"/>
                  </a:cubicBezTo>
                  <a:cubicBezTo>
                    <a:pt x="0" y="396"/>
                    <a:pt x="8" y="377"/>
                    <a:pt x="21" y="363"/>
                  </a:cubicBezTo>
                  <a:lnTo>
                    <a:pt x="352" y="29"/>
                  </a:lnTo>
                  <a:cubicBezTo>
                    <a:pt x="380" y="0"/>
                    <a:pt x="426" y="0"/>
                    <a:pt x="455" y="28"/>
                  </a:cubicBezTo>
                  <a:cubicBezTo>
                    <a:pt x="483" y="57"/>
                    <a:pt x="483" y="102"/>
                    <a:pt x="455" y="131"/>
                  </a:cubicBezTo>
                  <a:lnTo>
                    <a:pt x="176" y="413"/>
                  </a:lnTo>
                  <a:lnTo>
                    <a:pt x="1086" y="1293"/>
                  </a:lnTo>
                  <a:lnTo>
                    <a:pt x="1329" y="986"/>
                  </a:lnTo>
                  <a:cubicBezTo>
                    <a:pt x="1354" y="954"/>
                    <a:pt x="1399" y="949"/>
                    <a:pt x="1431" y="974"/>
                  </a:cubicBezTo>
                  <a:cubicBezTo>
                    <a:pt x="1462" y="998"/>
                    <a:pt x="1468" y="1044"/>
                    <a:pt x="1443" y="1075"/>
                  </a:cubicBezTo>
                  <a:lnTo>
                    <a:pt x="1151" y="1446"/>
                  </a:lnTo>
                  <a:cubicBezTo>
                    <a:pt x="1138" y="1461"/>
                    <a:pt x="1119" y="1472"/>
                    <a:pt x="1099" y="1473"/>
                  </a:cubicBezTo>
                  <a:cubicBezTo>
                    <a:pt x="1097" y="1473"/>
                    <a:pt x="1095" y="1473"/>
                    <a:pt x="1094" y="147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lt"/>
                <a:cs typeface="Arial"/>
                <a:sym typeface="+mn-lt"/>
              </a:endParaRPr>
            </a:p>
          </p:txBody>
        </p:sp>
        <p:sp>
          <p:nvSpPr>
            <p:cNvPr id="34" name="Freeform 65">
              <a:extLst>
                <a:ext uri="{FF2B5EF4-FFF2-40B4-BE49-F238E27FC236}">
                  <a16:creationId xmlns:a16="http://schemas.microsoft.com/office/drawing/2014/main" id="{2664F1C0-EB70-E399-9CFE-9C8BD1C2A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4663" y="2058988"/>
              <a:ext cx="165100" cy="139700"/>
            </a:xfrm>
            <a:custGeom>
              <a:avLst/>
              <a:gdLst>
                <a:gd name="T0" fmla="*/ 285 w 1297"/>
                <a:gd name="T1" fmla="*/ 1102 h 1102"/>
                <a:gd name="T2" fmla="*/ 131 w 1297"/>
                <a:gd name="T3" fmla="*/ 1046 h 1102"/>
                <a:gd name="T4" fmla="*/ 57 w 1297"/>
                <a:gd name="T5" fmla="*/ 726 h 1102"/>
                <a:gd name="T6" fmla="*/ 355 w 1297"/>
                <a:gd name="T7" fmla="*/ 385 h 1102"/>
                <a:gd name="T8" fmla="*/ 740 w 1297"/>
                <a:gd name="T9" fmla="*/ 116 h 1102"/>
                <a:gd name="T10" fmla="*/ 1082 w 1297"/>
                <a:gd name="T11" fmla="*/ 83 h 1102"/>
                <a:gd name="T12" fmla="*/ 1098 w 1297"/>
                <a:gd name="T13" fmla="*/ 81 h 1102"/>
                <a:gd name="T14" fmla="*/ 1162 w 1297"/>
                <a:gd name="T15" fmla="*/ 33 h 1102"/>
                <a:gd name="T16" fmla="*/ 1264 w 1297"/>
                <a:gd name="T17" fmla="*/ 26 h 1102"/>
                <a:gd name="T18" fmla="*/ 1271 w 1297"/>
                <a:gd name="T19" fmla="*/ 128 h 1102"/>
                <a:gd name="T20" fmla="*/ 1117 w 1297"/>
                <a:gd name="T21" fmla="*/ 225 h 1102"/>
                <a:gd name="T22" fmla="*/ 1101 w 1297"/>
                <a:gd name="T23" fmla="*/ 227 h 1102"/>
                <a:gd name="T24" fmla="*/ 744 w 1297"/>
                <a:gd name="T25" fmla="*/ 261 h 1102"/>
                <a:gd name="T26" fmla="*/ 445 w 1297"/>
                <a:gd name="T27" fmla="*/ 500 h 1102"/>
                <a:gd name="T28" fmla="*/ 189 w 1297"/>
                <a:gd name="T29" fmla="*/ 786 h 1102"/>
                <a:gd name="T30" fmla="*/ 225 w 1297"/>
                <a:gd name="T31" fmla="*/ 935 h 1102"/>
                <a:gd name="T32" fmla="*/ 403 w 1297"/>
                <a:gd name="T33" fmla="*/ 907 h 1102"/>
                <a:gd name="T34" fmla="*/ 835 w 1297"/>
                <a:gd name="T35" fmla="*/ 550 h 1102"/>
                <a:gd name="T36" fmla="*/ 937 w 1297"/>
                <a:gd name="T37" fmla="*/ 559 h 1102"/>
                <a:gd name="T38" fmla="*/ 928 w 1297"/>
                <a:gd name="T39" fmla="*/ 661 h 1102"/>
                <a:gd name="T40" fmla="*/ 495 w 1297"/>
                <a:gd name="T41" fmla="*/ 1018 h 1102"/>
                <a:gd name="T42" fmla="*/ 285 w 1297"/>
                <a:gd name="T43" fmla="*/ 1102 h 1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297" h="1102">
                  <a:moveTo>
                    <a:pt x="285" y="1102"/>
                  </a:moveTo>
                  <a:cubicBezTo>
                    <a:pt x="228" y="1102"/>
                    <a:pt x="175" y="1084"/>
                    <a:pt x="131" y="1046"/>
                  </a:cubicBezTo>
                  <a:cubicBezTo>
                    <a:pt x="55" y="982"/>
                    <a:pt x="0" y="854"/>
                    <a:pt x="57" y="726"/>
                  </a:cubicBezTo>
                  <a:cubicBezTo>
                    <a:pt x="90" y="652"/>
                    <a:pt x="267" y="471"/>
                    <a:pt x="355" y="385"/>
                  </a:cubicBezTo>
                  <a:cubicBezTo>
                    <a:pt x="634" y="117"/>
                    <a:pt x="711" y="116"/>
                    <a:pt x="740" y="116"/>
                  </a:cubicBezTo>
                  <a:cubicBezTo>
                    <a:pt x="837" y="115"/>
                    <a:pt x="1015" y="92"/>
                    <a:pt x="1082" y="83"/>
                  </a:cubicBezTo>
                  <a:lnTo>
                    <a:pt x="1098" y="81"/>
                  </a:lnTo>
                  <a:cubicBezTo>
                    <a:pt x="1111" y="79"/>
                    <a:pt x="1142" y="56"/>
                    <a:pt x="1162" y="33"/>
                  </a:cubicBezTo>
                  <a:cubicBezTo>
                    <a:pt x="1188" y="3"/>
                    <a:pt x="1234" y="0"/>
                    <a:pt x="1264" y="26"/>
                  </a:cubicBezTo>
                  <a:cubicBezTo>
                    <a:pt x="1294" y="53"/>
                    <a:pt x="1297" y="98"/>
                    <a:pt x="1271" y="128"/>
                  </a:cubicBezTo>
                  <a:cubicBezTo>
                    <a:pt x="1259" y="143"/>
                    <a:pt x="1193" y="215"/>
                    <a:pt x="1117" y="225"/>
                  </a:cubicBezTo>
                  <a:lnTo>
                    <a:pt x="1101" y="227"/>
                  </a:lnTo>
                  <a:cubicBezTo>
                    <a:pt x="1025" y="237"/>
                    <a:pt x="850" y="260"/>
                    <a:pt x="744" y="261"/>
                  </a:cubicBezTo>
                  <a:cubicBezTo>
                    <a:pt x="715" y="268"/>
                    <a:pt x="613" y="337"/>
                    <a:pt x="445" y="500"/>
                  </a:cubicBezTo>
                  <a:cubicBezTo>
                    <a:pt x="300" y="641"/>
                    <a:pt x="202" y="758"/>
                    <a:pt x="189" y="786"/>
                  </a:cubicBezTo>
                  <a:cubicBezTo>
                    <a:pt x="159" y="854"/>
                    <a:pt x="199" y="914"/>
                    <a:pt x="225" y="935"/>
                  </a:cubicBezTo>
                  <a:cubicBezTo>
                    <a:pt x="292" y="993"/>
                    <a:pt x="385" y="921"/>
                    <a:pt x="403" y="907"/>
                  </a:cubicBezTo>
                  <a:cubicBezTo>
                    <a:pt x="466" y="855"/>
                    <a:pt x="763" y="610"/>
                    <a:pt x="835" y="550"/>
                  </a:cubicBezTo>
                  <a:cubicBezTo>
                    <a:pt x="866" y="524"/>
                    <a:pt x="912" y="528"/>
                    <a:pt x="937" y="559"/>
                  </a:cubicBezTo>
                  <a:cubicBezTo>
                    <a:pt x="963" y="590"/>
                    <a:pt x="959" y="636"/>
                    <a:pt x="928" y="661"/>
                  </a:cubicBezTo>
                  <a:cubicBezTo>
                    <a:pt x="855" y="721"/>
                    <a:pt x="558" y="966"/>
                    <a:pt x="495" y="1018"/>
                  </a:cubicBezTo>
                  <a:cubicBezTo>
                    <a:pt x="428" y="1074"/>
                    <a:pt x="354" y="1102"/>
                    <a:pt x="285" y="110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lt"/>
                <a:cs typeface="Arial"/>
                <a:sym typeface="+mn-lt"/>
              </a:endParaRPr>
            </a:p>
          </p:txBody>
        </p:sp>
        <p:sp>
          <p:nvSpPr>
            <p:cNvPr id="35" name="Freeform 66">
              <a:extLst>
                <a:ext uri="{FF2B5EF4-FFF2-40B4-BE49-F238E27FC236}">
                  <a16:creationId xmlns:a16="http://schemas.microsoft.com/office/drawing/2014/main" id="{D96B6CAB-9D2B-D201-636B-06E4F13B905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7388" y="2163763"/>
              <a:ext cx="58738" cy="87313"/>
            </a:xfrm>
            <a:custGeom>
              <a:avLst/>
              <a:gdLst>
                <a:gd name="T0" fmla="*/ 81 w 461"/>
                <a:gd name="T1" fmla="*/ 680 h 680"/>
                <a:gd name="T2" fmla="*/ 26 w 461"/>
                <a:gd name="T3" fmla="*/ 656 h 680"/>
                <a:gd name="T4" fmla="*/ 33 w 461"/>
                <a:gd name="T5" fmla="*/ 553 h 680"/>
                <a:gd name="T6" fmla="*/ 221 w 461"/>
                <a:gd name="T7" fmla="*/ 368 h 680"/>
                <a:gd name="T8" fmla="*/ 284 w 461"/>
                <a:gd name="T9" fmla="*/ 167 h 680"/>
                <a:gd name="T10" fmla="*/ 312 w 461"/>
                <a:gd name="T11" fmla="*/ 53 h 680"/>
                <a:gd name="T12" fmla="*/ 407 w 461"/>
                <a:gd name="T13" fmla="*/ 15 h 680"/>
                <a:gd name="T14" fmla="*/ 445 w 461"/>
                <a:gd name="T15" fmla="*/ 111 h 680"/>
                <a:gd name="T16" fmla="*/ 426 w 461"/>
                <a:gd name="T17" fmla="*/ 193 h 680"/>
                <a:gd name="T18" fmla="*/ 337 w 461"/>
                <a:gd name="T19" fmla="*/ 454 h 680"/>
                <a:gd name="T20" fmla="*/ 128 w 461"/>
                <a:gd name="T21" fmla="*/ 662 h 680"/>
                <a:gd name="T22" fmla="*/ 81 w 461"/>
                <a:gd name="T23" fmla="*/ 680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1" h="680">
                  <a:moveTo>
                    <a:pt x="81" y="680"/>
                  </a:moveTo>
                  <a:cubicBezTo>
                    <a:pt x="61" y="680"/>
                    <a:pt x="41" y="672"/>
                    <a:pt x="26" y="656"/>
                  </a:cubicBezTo>
                  <a:cubicBezTo>
                    <a:pt x="0" y="625"/>
                    <a:pt x="3" y="580"/>
                    <a:pt x="33" y="553"/>
                  </a:cubicBezTo>
                  <a:cubicBezTo>
                    <a:pt x="73" y="519"/>
                    <a:pt x="184" y="418"/>
                    <a:pt x="221" y="368"/>
                  </a:cubicBezTo>
                  <a:cubicBezTo>
                    <a:pt x="255" y="321"/>
                    <a:pt x="271" y="236"/>
                    <a:pt x="284" y="167"/>
                  </a:cubicBezTo>
                  <a:cubicBezTo>
                    <a:pt x="292" y="122"/>
                    <a:pt x="299" y="83"/>
                    <a:pt x="312" y="53"/>
                  </a:cubicBezTo>
                  <a:cubicBezTo>
                    <a:pt x="328" y="17"/>
                    <a:pt x="370" y="0"/>
                    <a:pt x="407" y="15"/>
                  </a:cubicBezTo>
                  <a:cubicBezTo>
                    <a:pt x="443" y="31"/>
                    <a:pt x="461" y="74"/>
                    <a:pt x="445" y="111"/>
                  </a:cubicBezTo>
                  <a:cubicBezTo>
                    <a:pt x="439" y="125"/>
                    <a:pt x="432" y="161"/>
                    <a:pt x="426" y="193"/>
                  </a:cubicBezTo>
                  <a:cubicBezTo>
                    <a:pt x="411" y="277"/>
                    <a:pt x="392" y="381"/>
                    <a:pt x="337" y="454"/>
                  </a:cubicBezTo>
                  <a:cubicBezTo>
                    <a:pt x="284" y="526"/>
                    <a:pt x="144" y="649"/>
                    <a:pt x="128" y="662"/>
                  </a:cubicBezTo>
                  <a:cubicBezTo>
                    <a:pt x="115" y="674"/>
                    <a:pt x="98" y="680"/>
                    <a:pt x="81" y="68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lt"/>
                <a:cs typeface="Arial"/>
                <a:sym typeface="+mn-lt"/>
              </a:endParaRPr>
            </a:p>
          </p:txBody>
        </p:sp>
        <p:sp>
          <p:nvSpPr>
            <p:cNvPr id="36" name="Freeform 67">
              <a:extLst>
                <a:ext uri="{FF2B5EF4-FFF2-40B4-BE49-F238E27FC236}">
                  <a16:creationId xmlns:a16="http://schemas.microsoft.com/office/drawing/2014/main" id="{762603C0-95FC-D1D5-E9D8-4FD3AA29351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5625" y="2135188"/>
              <a:ext cx="155575" cy="257175"/>
            </a:xfrm>
            <a:custGeom>
              <a:avLst/>
              <a:gdLst>
                <a:gd name="T0" fmla="*/ 341 w 1223"/>
                <a:gd name="T1" fmla="*/ 2007 h 2007"/>
                <a:gd name="T2" fmla="*/ 123 w 1223"/>
                <a:gd name="T3" fmla="*/ 1938 h 2007"/>
                <a:gd name="T4" fmla="*/ 97 w 1223"/>
                <a:gd name="T5" fmla="*/ 1923 h 2007"/>
                <a:gd name="T6" fmla="*/ 37 w 1223"/>
                <a:gd name="T7" fmla="*/ 1885 h 2007"/>
                <a:gd name="T8" fmla="*/ 26 w 1223"/>
                <a:gd name="T9" fmla="*/ 1783 h 2007"/>
                <a:gd name="T10" fmla="*/ 127 w 1223"/>
                <a:gd name="T11" fmla="*/ 1771 h 2007"/>
                <a:gd name="T12" fmla="*/ 170 w 1223"/>
                <a:gd name="T13" fmla="*/ 1798 h 2007"/>
                <a:gd name="T14" fmla="*/ 210 w 1223"/>
                <a:gd name="T15" fmla="*/ 1823 h 2007"/>
                <a:gd name="T16" fmla="*/ 438 w 1223"/>
                <a:gd name="T17" fmla="*/ 1837 h 2007"/>
                <a:gd name="T18" fmla="*/ 463 w 1223"/>
                <a:gd name="T19" fmla="*/ 1735 h 2007"/>
                <a:gd name="T20" fmla="*/ 482 w 1223"/>
                <a:gd name="T21" fmla="*/ 1663 h 2007"/>
                <a:gd name="T22" fmla="*/ 556 w 1223"/>
                <a:gd name="T23" fmla="*/ 1646 h 2007"/>
                <a:gd name="T24" fmla="*/ 696 w 1223"/>
                <a:gd name="T25" fmla="*/ 1645 h 2007"/>
                <a:gd name="T26" fmla="*/ 731 w 1223"/>
                <a:gd name="T27" fmla="*/ 1532 h 2007"/>
                <a:gd name="T28" fmla="*/ 734 w 1223"/>
                <a:gd name="T29" fmla="*/ 1451 h 2007"/>
                <a:gd name="T30" fmla="*/ 810 w 1223"/>
                <a:gd name="T31" fmla="*/ 1424 h 2007"/>
                <a:gd name="T32" fmla="*/ 938 w 1223"/>
                <a:gd name="T33" fmla="*/ 1394 h 2007"/>
                <a:gd name="T34" fmla="*/ 943 w 1223"/>
                <a:gd name="T35" fmla="*/ 1389 h 2007"/>
                <a:gd name="T36" fmla="*/ 952 w 1223"/>
                <a:gd name="T37" fmla="*/ 1262 h 2007"/>
                <a:gd name="T38" fmla="*/ 952 w 1223"/>
                <a:gd name="T39" fmla="*/ 1262 h 2007"/>
                <a:gd name="T40" fmla="*/ 962 w 1223"/>
                <a:gd name="T41" fmla="*/ 1160 h 2007"/>
                <a:gd name="T42" fmla="*/ 1028 w 1223"/>
                <a:gd name="T43" fmla="*/ 1147 h 2007"/>
                <a:gd name="T44" fmla="*/ 1050 w 1223"/>
                <a:gd name="T45" fmla="*/ 1125 h 2007"/>
                <a:gd name="T46" fmla="*/ 1074 w 1223"/>
                <a:gd name="T47" fmla="*/ 1055 h 2007"/>
                <a:gd name="T48" fmla="*/ 1001 w 1223"/>
                <a:gd name="T49" fmla="*/ 879 h 2007"/>
                <a:gd name="T50" fmla="*/ 111 w 1223"/>
                <a:gd name="T51" fmla="*/ 138 h 2007"/>
                <a:gd name="T52" fmla="*/ 100 w 1223"/>
                <a:gd name="T53" fmla="*/ 37 h 2007"/>
                <a:gd name="T54" fmla="*/ 202 w 1223"/>
                <a:gd name="T55" fmla="*/ 25 h 2007"/>
                <a:gd name="T56" fmla="*/ 1111 w 1223"/>
                <a:gd name="T57" fmla="*/ 785 h 2007"/>
                <a:gd name="T58" fmla="*/ 1219 w 1223"/>
                <a:gd name="T59" fmla="*/ 1045 h 2007"/>
                <a:gd name="T60" fmla="*/ 1175 w 1223"/>
                <a:gd name="T61" fmla="*/ 1199 h 2007"/>
                <a:gd name="T62" fmla="*/ 1111 w 1223"/>
                <a:gd name="T63" fmla="*/ 1265 h 2007"/>
                <a:gd name="T64" fmla="*/ 1042 w 1223"/>
                <a:gd name="T65" fmla="*/ 1496 h 2007"/>
                <a:gd name="T66" fmla="*/ 1038 w 1223"/>
                <a:gd name="T67" fmla="*/ 1499 h 2007"/>
                <a:gd name="T68" fmla="*/ 882 w 1223"/>
                <a:gd name="T69" fmla="*/ 1574 h 2007"/>
                <a:gd name="T70" fmla="*/ 795 w 1223"/>
                <a:gd name="T71" fmla="*/ 1752 h 2007"/>
                <a:gd name="T72" fmla="*/ 612 w 1223"/>
                <a:gd name="T73" fmla="*/ 1809 h 2007"/>
                <a:gd name="T74" fmla="*/ 521 w 1223"/>
                <a:gd name="T75" fmla="*/ 1956 h 2007"/>
                <a:gd name="T76" fmla="*/ 341 w 1223"/>
                <a:gd name="T77" fmla="*/ 2007 h 20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23" h="2007">
                  <a:moveTo>
                    <a:pt x="341" y="2007"/>
                  </a:moveTo>
                  <a:cubicBezTo>
                    <a:pt x="263" y="2007"/>
                    <a:pt x="183" y="1984"/>
                    <a:pt x="123" y="1938"/>
                  </a:cubicBezTo>
                  <a:cubicBezTo>
                    <a:pt x="120" y="1936"/>
                    <a:pt x="107" y="1928"/>
                    <a:pt x="97" y="1923"/>
                  </a:cubicBezTo>
                  <a:cubicBezTo>
                    <a:pt x="69" y="1907"/>
                    <a:pt x="50" y="1895"/>
                    <a:pt x="37" y="1885"/>
                  </a:cubicBezTo>
                  <a:cubicBezTo>
                    <a:pt x="6" y="1860"/>
                    <a:pt x="0" y="1814"/>
                    <a:pt x="26" y="1783"/>
                  </a:cubicBezTo>
                  <a:cubicBezTo>
                    <a:pt x="50" y="1751"/>
                    <a:pt x="96" y="1746"/>
                    <a:pt x="127" y="1771"/>
                  </a:cubicBezTo>
                  <a:cubicBezTo>
                    <a:pt x="134" y="1776"/>
                    <a:pt x="157" y="1790"/>
                    <a:pt x="170" y="1798"/>
                  </a:cubicBezTo>
                  <a:cubicBezTo>
                    <a:pt x="191" y="1810"/>
                    <a:pt x="202" y="1816"/>
                    <a:pt x="210" y="1823"/>
                  </a:cubicBezTo>
                  <a:cubicBezTo>
                    <a:pt x="271" y="1868"/>
                    <a:pt x="382" y="1875"/>
                    <a:pt x="438" y="1837"/>
                  </a:cubicBezTo>
                  <a:cubicBezTo>
                    <a:pt x="458" y="1823"/>
                    <a:pt x="481" y="1798"/>
                    <a:pt x="463" y="1735"/>
                  </a:cubicBezTo>
                  <a:cubicBezTo>
                    <a:pt x="455" y="1709"/>
                    <a:pt x="463" y="1681"/>
                    <a:pt x="482" y="1663"/>
                  </a:cubicBezTo>
                  <a:cubicBezTo>
                    <a:pt x="502" y="1644"/>
                    <a:pt x="530" y="1638"/>
                    <a:pt x="556" y="1646"/>
                  </a:cubicBezTo>
                  <a:cubicBezTo>
                    <a:pt x="643" y="1676"/>
                    <a:pt x="670" y="1670"/>
                    <a:pt x="696" y="1645"/>
                  </a:cubicBezTo>
                  <a:cubicBezTo>
                    <a:pt x="728" y="1616"/>
                    <a:pt x="750" y="1563"/>
                    <a:pt x="731" y="1532"/>
                  </a:cubicBezTo>
                  <a:cubicBezTo>
                    <a:pt x="715" y="1507"/>
                    <a:pt x="716" y="1475"/>
                    <a:pt x="734" y="1451"/>
                  </a:cubicBezTo>
                  <a:cubicBezTo>
                    <a:pt x="751" y="1427"/>
                    <a:pt x="781" y="1417"/>
                    <a:pt x="810" y="1424"/>
                  </a:cubicBezTo>
                  <a:cubicBezTo>
                    <a:pt x="887" y="1443"/>
                    <a:pt x="915" y="1416"/>
                    <a:pt x="938" y="1394"/>
                  </a:cubicBezTo>
                  <a:lnTo>
                    <a:pt x="943" y="1389"/>
                  </a:lnTo>
                  <a:cubicBezTo>
                    <a:pt x="975" y="1360"/>
                    <a:pt x="986" y="1305"/>
                    <a:pt x="952" y="1262"/>
                  </a:cubicBezTo>
                  <a:lnTo>
                    <a:pt x="952" y="1262"/>
                  </a:lnTo>
                  <a:cubicBezTo>
                    <a:pt x="927" y="1231"/>
                    <a:pt x="932" y="1185"/>
                    <a:pt x="962" y="1160"/>
                  </a:cubicBezTo>
                  <a:cubicBezTo>
                    <a:pt x="982" y="1145"/>
                    <a:pt x="1006" y="1140"/>
                    <a:pt x="1028" y="1147"/>
                  </a:cubicBezTo>
                  <a:cubicBezTo>
                    <a:pt x="1036" y="1140"/>
                    <a:pt x="1046" y="1131"/>
                    <a:pt x="1050" y="1125"/>
                  </a:cubicBezTo>
                  <a:cubicBezTo>
                    <a:pt x="1068" y="1095"/>
                    <a:pt x="1076" y="1072"/>
                    <a:pt x="1074" y="1055"/>
                  </a:cubicBezTo>
                  <a:cubicBezTo>
                    <a:pt x="1071" y="999"/>
                    <a:pt x="1039" y="924"/>
                    <a:pt x="1001" y="879"/>
                  </a:cubicBezTo>
                  <a:cubicBezTo>
                    <a:pt x="952" y="821"/>
                    <a:pt x="429" y="394"/>
                    <a:pt x="111" y="138"/>
                  </a:cubicBezTo>
                  <a:cubicBezTo>
                    <a:pt x="80" y="114"/>
                    <a:pt x="75" y="68"/>
                    <a:pt x="100" y="37"/>
                  </a:cubicBezTo>
                  <a:cubicBezTo>
                    <a:pt x="125" y="6"/>
                    <a:pt x="171" y="0"/>
                    <a:pt x="202" y="25"/>
                  </a:cubicBezTo>
                  <a:cubicBezTo>
                    <a:pt x="287" y="94"/>
                    <a:pt x="1037" y="698"/>
                    <a:pt x="1111" y="785"/>
                  </a:cubicBezTo>
                  <a:cubicBezTo>
                    <a:pt x="1170" y="854"/>
                    <a:pt x="1213" y="958"/>
                    <a:pt x="1219" y="1045"/>
                  </a:cubicBezTo>
                  <a:cubicBezTo>
                    <a:pt x="1223" y="1107"/>
                    <a:pt x="1196" y="1163"/>
                    <a:pt x="1175" y="1199"/>
                  </a:cubicBezTo>
                  <a:cubicBezTo>
                    <a:pt x="1167" y="1213"/>
                    <a:pt x="1143" y="1242"/>
                    <a:pt x="1111" y="1265"/>
                  </a:cubicBezTo>
                  <a:cubicBezTo>
                    <a:pt x="1130" y="1346"/>
                    <a:pt x="1106" y="1436"/>
                    <a:pt x="1042" y="1496"/>
                  </a:cubicBezTo>
                  <a:lnTo>
                    <a:pt x="1038" y="1499"/>
                  </a:lnTo>
                  <a:cubicBezTo>
                    <a:pt x="1016" y="1520"/>
                    <a:pt x="967" y="1566"/>
                    <a:pt x="882" y="1574"/>
                  </a:cubicBezTo>
                  <a:cubicBezTo>
                    <a:pt x="878" y="1642"/>
                    <a:pt x="842" y="1708"/>
                    <a:pt x="795" y="1752"/>
                  </a:cubicBezTo>
                  <a:cubicBezTo>
                    <a:pt x="737" y="1805"/>
                    <a:pt x="675" y="1817"/>
                    <a:pt x="612" y="1809"/>
                  </a:cubicBezTo>
                  <a:cubicBezTo>
                    <a:pt x="604" y="1869"/>
                    <a:pt x="573" y="1920"/>
                    <a:pt x="521" y="1956"/>
                  </a:cubicBezTo>
                  <a:cubicBezTo>
                    <a:pt x="471" y="1990"/>
                    <a:pt x="407" y="2007"/>
                    <a:pt x="341" y="200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lt"/>
                <a:cs typeface="Arial"/>
                <a:sym typeface="+mn-lt"/>
              </a:endParaRPr>
            </a:p>
          </p:txBody>
        </p:sp>
        <p:sp>
          <p:nvSpPr>
            <p:cNvPr id="37" name="Freeform 68">
              <a:extLst>
                <a:ext uri="{FF2B5EF4-FFF2-40B4-BE49-F238E27FC236}">
                  <a16:creationId xmlns:a16="http://schemas.microsoft.com/office/drawing/2014/main" id="{3DD67227-390F-3BF4-2111-B56C849EB90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05788" y="2322513"/>
              <a:ext cx="44450" cy="41275"/>
            </a:xfrm>
            <a:custGeom>
              <a:avLst/>
              <a:gdLst>
                <a:gd name="T0" fmla="*/ 258 w 351"/>
                <a:gd name="T1" fmla="*/ 324 h 324"/>
                <a:gd name="T2" fmla="*/ 35 w 351"/>
                <a:gd name="T3" fmla="*/ 137 h 324"/>
                <a:gd name="T4" fmla="*/ 26 w 351"/>
                <a:gd name="T5" fmla="*/ 35 h 324"/>
                <a:gd name="T6" fmla="*/ 128 w 351"/>
                <a:gd name="T7" fmla="*/ 26 h 324"/>
                <a:gd name="T8" fmla="*/ 351 w 351"/>
                <a:gd name="T9" fmla="*/ 213 h 324"/>
                <a:gd name="T10" fmla="*/ 258 w 351"/>
                <a:gd name="T11" fmla="*/ 324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1" h="324">
                  <a:moveTo>
                    <a:pt x="258" y="324"/>
                  </a:moveTo>
                  <a:lnTo>
                    <a:pt x="35" y="137"/>
                  </a:lnTo>
                  <a:cubicBezTo>
                    <a:pt x="4" y="111"/>
                    <a:pt x="0" y="66"/>
                    <a:pt x="26" y="35"/>
                  </a:cubicBezTo>
                  <a:cubicBezTo>
                    <a:pt x="52" y="4"/>
                    <a:pt x="97" y="0"/>
                    <a:pt x="128" y="26"/>
                  </a:cubicBezTo>
                  <a:lnTo>
                    <a:pt x="351" y="213"/>
                  </a:lnTo>
                  <a:lnTo>
                    <a:pt x="258" y="3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lt"/>
                <a:cs typeface="Arial"/>
                <a:sym typeface="+mn-lt"/>
              </a:endParaRPr>
            </a:p>
          </p:txBody>
        </p:sp>
        <p:sp>
          <p:nvSpPr>
            <p:cNvPr id="38" name="Freeform 69">
              <a:extLst>
                <a:ext uri="{FF2B5EF4-FFF2-40B4-BE49-F238E27FC236}">
                  <a16:creationId xmlns:a16="http://schemas.microsoft.com/office/drawing/2014/main" id="{7DE6119C-60CF-B855-A02E-4DE56C9C7F1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9913" y="2306638"/>
              <a:ext cx="22225" cy="22225"/>
            </a:xfrm>
            <a:custGeom>
              <a:avLst/>
              <a:gdLst>
                <a:gd name="T0" fmla="*/ 95 w 177"/>
                <a:gd name="T1" fmla="*/ 171 h 171"/>
                <a:gd name="T2" fmla="*/ 49 w 177"/>
                <a:gd name="T3" fmla="*/ 154 h 171"/>
                <a:gd name="T4" fmla="*/ 47 w 177"/>
                <a:gd name="T5" fmla="*/ 152 h 171"/>
                <a:gd name="T6" fmla="*/ 18 w 177"/>
                <a:gd name="T7" fmla="*/ 126 h 171"/>
                <a:gd name="T8" fmla="*/ 32 w 177"/>
                <a:gd name="T9" fmla="*/ 32 h 171"/>
                <a:gd name="T10" fmla="*/ 142 w 177"/>
                <a:gd name="T11" fmla="*/ 43 h 171"/>
                <a:gd name="T12" fmla="*/ 151 w 177"/>
                <a:gd name="T13" fmla="*/ 145 h 171"/>
                <a:gd name="T14" fmla="*/ 95 w 177"/>
                <a:gd name="T15" fmla="*/ 17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171">
                  <a:moveTo>
                    <a:pt x="95" y="171"/>
                  </a:moveTo>
                  <a:cubicBezTo>
                    <a:pt x="79" y="171"/>
                    <a:pt x="63" y="165"/>
                    <a:pt x="49" y="154"/>
                  </a:cubicBezTo>
                  <a:cubicBezTo>
                    <a:pt x="48" y="153"/>
                    <a:pt x="48" y="153"/>
                    <a:pt x="47" y="152"/>
                  </a:cubicBezTo>
                  <a:cubicBezTo>
                    <a:pt x="36" y="146"/>
                    <a:pt x="26" y="137"/>
                    <a:pt x="18" y="126"/>
                  </a:cubicBezTo>
                  <a:cubicBezTo>
                    <a:pt x="0" y="96"/>
                    <a:pt x="5" y="56"/>
                    <a:pt x="32" y="32"/>
                  </a:cubicBezTo>
                  <a:cubicBezTo>
                    <a:pt x="54" y="14"/>
                    <a:pt x="91" y="0"/>
                    <a:pt x="142" y="43"/>
                  </a:cubicBezTo>
                  <a:cubicBezTo>
                    <a:pt x="173" y="69"/>
                    <a:pt x="177" y="114"/>
                    <a:pt x="151" y="145"/>
                  </a:cubicBezTo>
                  <a:cubicBezTo>
                    <a:pt x="137" y="162"/>
                    <a:pt x="116" y="171"/>
                    <a:pt x="95" y="17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lt"/>
                <a:cs typeface="Arial"/>
                <a:sym typeface="+mn-lt"/>
              </a:endParaRPr>
            </a:p>
          </p:txBody>
        </p:sp>
        <p:sp>
          <p:nvSpPr>
            <p:cNvPr id="39" name="Freeform 70">
              <a:extLst>
                <a:ext uri="{FF2B5EF4-FFF2-40B4-BE49-F238E27FC236}">
                  <a16:creationId xmlns:a16="http://schemas.microsoft.com/office/drawing/2014/main" id="{52EE58A0-1A50-73B0-ABC4-DF0DFDECD9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2775" y="2289175"/>
              <a:ext cx="52388" cy="46038"/>
            </a:xfrm>
            <a:custGeom>
              <a:avLst/>
              <a:gdLst>
                <a:gd name="T0" fmla="*/ 312 w 404"/>
                <a:gd name="T1" fmla="*/ 363 h 363"/>
                <a:gd name="T2" fmla="*/ 35 w 404"/>
                <a:gd name="T3" fmla="*/ 137 h 363"/>
                <a:gd name="T4" fmla="*/ 25 w 404"/>
                <a:gd name="T5" fmla="*/ 35 h 363"/>
                <a:gd name="T6" fmla="*/ 127 w 404"/>
                <a:gd name="T7" fmla="*/ 25 h 363"/>
                <a:gd name="T8" fmla="*/ 404 w 404"/>
                <a:gd name="T9" fmla="*/ 251 h 363"/>
                <a:gd name="T10" fmla="*/ 312 w 404"/>
                <a:gd name="T11" fmla="*/ 363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4" h="363">
                  <a:moveTo>
                    <a:pt x="312" y="363"/>
                  </a:moveTo>
                  <a:lnTo>
                    <a:pt x="35" y="137"/>
                  </a:lnTo>
                  <a:cubicBezTo>
                    <a:pt x="4" y="112"/>
                    <a:pt x="0" y="67"/>
                    <a:pt x="25" y="35"/>
                  </a:cubicBezTo>
                  <a:cubicBezTo>
                    <a:pt x="50" y="5"/>
                    <a:pt x="96" y="0"/>
                    <a:pt x="127" y="25"/>
                  </a:cubicBezTo>
                  <a:lnTo>
                    <a:pt x="404" y="251"/>
                  </a:lnTo>
                  <a:lnTo>
                    <a:pt x="312" y="363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lt"/>
                <a:cs typeface="Arial"/>
                <a:sym typeface="+mn-lt"/>
              </a:endParaRPr>
            </a:p>
          </p:txBody>
        </p:sp>
        <p:sp>
          <p:nvSpPr>
            <p:cNvPr id="40" name="Freeform 71">
              <a:extLst>
                <a:ext uri="{FF2B5EF4-FFF2-40B4-BE49-F238E27FC236}">
                  <a16:creationId xmlns:a16="http://schemas.microsoft.com/office/drawing/2014/main" id="{85947F24-D340-910F-CC10-324E8093D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6900" y="2278063"/>
              <a:ext cx="22225" cy="19050"/>
            </a:xfrm>
            <a:custGeom>
              <a:avLst/>
              <a:gdLst>
                <a:gd name="T0" fmla="*/ 91 w 173"/>
                <a:gd name="T1" fmla="*/ 153 h 153"/>
                <a:gd name="T2" fmla="*/ 46 w 173"/>
                <a:gd name="T3" fmla="*/ 137 h 153"/>
                <a:gd name="T4" fmla="*/ 39 w 173"/>
                <a:gd name="T5" fmla="*/ 131 h 153"/>
                <a:gd name="T6" fmla="*/ 39 w 173"/>
                <a:gd name="T7" fmla="*/ 131 h 153"/>
                <a:gd name="T8" fmla="*/ 36 w 173"/>
                <a:gd name="T9" fmla="*/ 129 h 153"/>
                <a:gd name="T10" fmla="*/ 36 w 173"/>
                <a:gd name="T11" fmla="*/ 129 h 153"/>
                <a:gd name="T12" fmla="*/ 14 w 173"/>
                <a:gd name="T13" fmla="*/ 48 h 153"/>
                <a:gd name="T14" fmla="*/ 82 w 173"/>
                <a:gd name="T15" fmla="*/ 0 h 153"/>
                <a:gd name="T16" fmla="*/ 127 w 173"/>
                <a:gd name="T17" fmla="*/ 17 h 153"/>
                <a:gd name="T18" fmla="*/ 128 w 173"/>
                <a:gd name="T19" fmla="*/ 16 h 153"/>
                <a:gd name="T20" fmla="*/ 137 w 173"/>
                <a:gd name="T21" fmla="*/ 25 h 153"/>
                <a:gd name="T22" fmla="*/ 137 w 173"/>
                <a:gd name="T23" fmla="*/ 25 h 153"/>
                <a:gd name="T24" fmla="*/ 148 w 173"/>
                <a:gd name="T25" fmla="*/ 127 h 153"/>
                <a:gd name="T26" fmla="*/ 91 w 173"/>
                <a:gd name="T27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3" h="153">
                  <a:moveTo>
                    <a:pt x="91" y="153"/>
                  </a:moveTo>
                  <a:cubicBezTo>
                    <a:pt x="76" y="153"/>
                    <a:pt x="59" y="148"/>
                    <a:pt x="46" y="137"/>
                  </a:cubicBezTo>
                  <a:lnTo>
                    <a:pt x="39" y="131"/>
                  </a:lnTo>
                  <a:lnTo>
                    <a:pt x="39" y="131"/>
                  </a:lnTo>
                  <a:lnTo>
                    <a:pt x="36" y="129"/>
                  </a:lnTo>
                  <a:lnTo>
                    <a:pt x="36" y="129"/>
                  </a:lnTo>
                  <a:cubicBezTo>
                    <a:pt x="0" y="97"/>
                    <a:pt x="10" y="59"/>
                    <a:pt x="14" y="48"/>
                  </a:cubicBezTo>
                  <a:cubicBezTo>
                    <a:pt x="24" y="19"/>
                    <a:pt x="51" y="0"/>
                    <a:pt x="82" y="0"/>
                  </a:cubicBezTo>
                  <a:cubicBezTo>
                    <a:pt x="102" y="0"/>
                    <a:pt x="115" y="7"/>
                    <a:pt x="127" y="17"/>
                  </a:cubicBezTo>
                  <a:lnTo>
                    <a:pt x="128" y="16"/>
                  </a:lnTo>
                  <a:lnTo>
                    <a:pt x="137" y="25"/>
                  </a:lnTo>
                  <a:lnTo>
                    <a:pt x="137" y="25"/>
                  </a:lnTo>
                  <a:cubicBezTo>
                    <a:pt x="168" y="50"/>
                    <a:pt x="173" y="95"/>
                    <a:pt x="148" y="127"/>
                  </a:cubicBezTo>
                  <a:cubicBezTo>
                    <a:pt x="133" y="144"/>
                    <a:pt x="113" y="153"/>
                    <a:pt x="91" y="15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lt"/>
                <a:cs typeface="Arial"/>
                <a:sym typeface="+mn-lt"/>
              </a:endParaRPr>
            </a:p>
          </p:txBody>
        </p:sp>
        <p:sp>
          <p:nvSpPr>
            <p:cNvPr id="41" name="Freeform 72">
              <a:extLst>
                <a:ext uri="{FF2B5EF4-FFF2-40B4-BE49-F238E27FC236}">
                  <a16:creationId xmlns:a16="http://schemas.microsoft.com/office/drawing/2014/main" id="{E5401650-C75B-9089-1748-96FF3A12171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1825" y="2249488"/>
              <a:ext cx="65088" cy="52388"/>
            </a:xfrm>
            <a:custGeom>
              <a:avLst/>
              <a:gdLst>
                <a:gd name="T0" fmla="*/ 418 w 500"/>
                <a:gd name="T1" fmla="*/ 420 h 420"/>
                <a:gd name="T2" fmla="*/ 373 w 500"/>
                <a:gd name="T3" fmla="*/ 405 h 420"/>
                <a:gd name="T4" fmla="*/ 37 w 500"/>
                <a:gd name="T5" fmla="*/ 138 h 420"/>
                <a:gd name="T6" fmla="*/ 25 w 500"/>
                <a:gd name="T7" fmla="*/ 36 h 420"/>
                <a:gd name="T8" fmla="*/ 127 w 500"/>
                <a:gd name="T9" fmla="*/ 24 h 420"/>
                <a:gd name="T10" fmla="*/ 463 w 500"/>
                <a:gd name="T11" fmla="*/ 291 h 420"/>
                <a:gd name="T12" fmla="*/ 475 w 500"/>
                <a:gd name="T13" fmla="*/ 393 h 420"/>
                <a:gd name="T14" fmla="*/ 418 w 500"/>
                <a:gd name="T15" fmla="*/ 42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0" h="420">
                  <a:moveTo>
                    <a:pt x="418" y="420"/>
                  </a:moveTo>
                  <a:cubicBezTo>
                    <a:pt x="403" y="420"/>
                    <a:pt x="387" y="415"/>
                    <a:pt x="373" y="405"/>
                  </a:cubicBezTo>
                  <a:lnTo>
                    <a:pt x="37" y="138"/>
                  </a:lnTo>
                  <a:cubicBezTo>
                    <a:pt x="6" y="113"/>
                    <a:pt x="0" y="68"/>
                    <a:pt x="25" y="36"/>
                  </a:cubicBezTo>
                  <a:cubicBezTo>
                    <a:pt x="50" y="5"/>
                    <a:pt x="96" y="0"/>
                    <a:pt x="127" y="24"/>
                  </a:cubicBezTo>
                  <a:lnTo>
                    <a:pt x="463" y="291"/>
                  </a:lnTo>
                  <a:cubicBezTo>
                    <a:pt x="495" y="316"/>
                    <a:pt x="500" y="362"/>
                    <a:pt x="475" y="393"/>
                  </a:cubicBezTo>
                  <a:cubicBezTo>
                    <a:pt x="461" y="411"/>
                    <a:pt x="440" y="420"/>
                    <a:pt x="418" y="42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lt"/>
                <a:cs typeface="Arial"/>
                <a:sym typeface="+mn-lt"/>
              </a:endParaRPr>
            </a:p>
          </p:txBody>
        </p:sp>
        <p:sp>
          <p:nvSpPr>
            <p:cNvPr id="42" name="Freeform 73">
              <a:extLst>
                <a:ext uri="{FF2B5EF4-FFF2-40B4-BE49-F238E27FC236}">
                  <a16:creationId xmlns:a16="http://schemas.microsoft.com/office/drawing/2014/main" id="{F1BB7E44-6BF8-5EFD-732F-B74D4A297BE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56550" y="2033588"/>
              <a:ext cx="165100" cy="188913"/>
            </a:xfrm>
            <a:custGeom>
              <a:avLst/>
              <a:gdLst>
                <a:gd name="T0" fmla="*/ 408 w 1289"/>
                <a:gd name="T1" fmla="*/ 1480 h 1480"/>
                <a:gd name="T2" fmla="*/ 369 w 1289"/>
                <a:gd name="T3" fmla="*/ 1469 h 1480"/>
                <a:gd name="T4" fmla="*/ 43 w 1289"/>
                <a:gd name="T5" fmla="*/ 1260 h 1480"/>
                <a:gd name="T6" fmla="*/ 21 w 1289"/>
                <a:gd name="T7" fmla="*/ 1160 h 1480"/>
                <a:gd name="T8" fmla="*/ 121 w 1289"/>
                <a:gd name="T9" fmla="*/ 1138 h 1480"/>
                <a:gd name="T10" fmla="*/ 391 w 1289"/>
                <a:gd name="T11" fmla="*/ 1311 h 1480"/>
                <a:gd name="T12" fmla="*/ 1108 w 1289"/>
                <a:gd name="T13" fmla="*/ 380 h 1480"/>
                <a:gd name="T14" fmla="*/ 814 w 1289"/>
                <a:gd name="T15" fmla="*/ 137 h 1480"/>
                <a:gd name="T16" fmla="*/ 805 w 1289"/>
                <a:gd name="T17" fmla="*/ 35 h 1480"/>
                <a:gd name="T18" fmla="*/ 907 w 1289"/>
                <a:gd name="T19" fmla="*/ 26 h 1480"/>
                <a:gd name="T20" fmla="*/ 1254 w 1289"/>
                <a:gd name="T21" fmla="*/ 313 h 1480"/>
                <a:gd name="T22" fmla="*/ 1265 w 1289"/>
                <a:gd name="T23" fmla="*/ 413 h 1480"/>
                <a:gd name="T24" fmla="*/ 466 w 1289"/>
                <a:gd name="T25" fmla="*/ 1452 h 1480"/>
                <a:gd name="T26" fmla="*/ 408 w 1289"/>
                <a:gd name="T27" fmla="*/ 1480 h 1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89" h="1480">
                  <a:moveTo>
                    <a:pt x="408" y="1480"/>
                  </a:moveTo>
                  <a:cubicBezTo>
                    <a:pt x="395" y="1480"/>
                    <a:pt x="381" y="1477"/>
                    <a:pt x="369" y="1469"/>
                  </a:cubicBezTo>
                  <a:lnTo>
                    <a:pt x="43" y="1260"/>
                  </a:lnTo>
                  <a:cubicBezTo>
                    <a:pt x="9" y="1239"/>
                    <a:pt x="0" y="1194"/>
                    <a:pt x="21" y="1160"/>
                  </a:cubicBezTo>
                  <a:cubicBezTo>
                    <a:pt x="43" y="1127"/>
                    <a:pt x="87" y="1117"/>
                    <a:pt x="121" y="1138"/>
                  </a:cubicBezTo>
                  <a:lnTo>
                    <a:pt x="391" y="1311"/>
                  </a:lnTo>
                  <a:lnTo>
                    <a:pt x="1108" y="380"/>
                  </a:lnTo>
                  <a:lnTo>
                    <a:pt x="814" y="137"/>
                  </a:lnTo>
                  <a:cubicBezTo>
                    <a:pt x="784" y="112"/>
                    <a:pt x="779" y="66"/>
                    <a:pt x="805" y="35"/>
                  </a:cubicBezTo>
                  <a:cubicBezTo>
                    <a:pt x="830" y="5"/>
                    <a:pt x="876" y="0"/>
                    <a:pt x="907" y="26"/>
                  </a:cubicBezTo>
                  <a:lnTo>
                    <a:pt x="1254" y="313"/>
                  </a:lnTo>
                  <a:cubicBezTo>
                    <a:pt x="1284" y="338"/>
                    <a:pt x="1289" y="382"/>
                    <a:pt x="1265" y="413"/>
                  </a:cubicBezTo>
                  <a:lnTo>
                    <a:pt x="466" y="1452"/>
                  </a:lnTo>
                  <a:cubicBezTo>
                    <a:pt x="451" y="1471"/>
                    <a:pt x="430" y="1480"/>
                    <a:pt x="408" y="148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lt"/>
                <a:cs typeface="Arial"/>
                <a:sym typeface="+mn-lt"/>
              </a:endParaRPr>
            </a:p>
          </p:txBody>
        </p:sp>
        <p:sp>
          <p:nvSpPr>
            <p:cNvPr id="43" name="Freeform 74">
              <a:extLst>
                <a:ext uri="{FF2B5EF4-FFF2-40B4-BE49-F238E27FC236}">
                  <a16:creationId xmlns:a16="http://schemas.microsoft.com/office/drawing/2014/main" id="{46E5F436-5497-61F5-0EB9-FE4B64945819}"/>
                </a:ext>
              </a:extLst>
            </p:cNvPr>
            <p:cNvSpPr>
              <a:spLocks/>
            </p:cNvSpPr>
            <p:nvPr/>
          </p:nvSpPr>
          <p:spPr bwMode="auto">
            <a:xfrm>
              <a:off x="8089900" y="2090738"/>
              <a:ext cx="63500" cy="30163"/>
            </a:xfrm>
            <a:custGeom>
              <a:avLst/>
              <a:gdLst>
                <a:gd name="T0" fmla="*/ 420 w 502"/>
                <a:gd name="T1" fmla="*/ 235 h 235"/>
                <a:gd name="T2" fmla="*/ 375 w 502"/>
                <a:gd name="T3" fmla="*/ 218 h 235"/>
                <a:gd name="T4" fmla="*/ 70 w 502"/>
                <a:gd name="T5" fmla="*/ 148 h 235"/>
                <a:gd name="T6" fmla="*/ 4 w 502"/>
                <a:gd name="T7" fmla="*/ 70 h 235"/>
                <a:gd name="T8" fmla="*/ 82 w 502"/>
                <a:gd name="T9" fmla="*/ 4 h 235"/>
                <a:gd name="T10" fmla="*/ 466 w 502"/>
                <a:gd name="T11" fmla="*/ 106 h 235"/>
                <a:gd name="T12" fmla="*/ 477 w 502"/>
                <a:gd name="T13" fmla="*/ 207 h 235"/>
                <a:gd name="T14" fmla="*/ 420 w 502"/>
                <a:gd name="T15" fmla="*/ 23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2" h="235">
                  <a:moveTo>
                    <a:pt x="420" y="235"/>
                  </a:moveTo>
                  <a:cubicBezTo>
                    <a:pt x="404" y="235"/>
                    <a:pt x="388" y="229"/>
                    <a:pt x="375" y="218"/>
                  </a:cubicBezTo>
                  <a:cubicBezTo>
                    <a:pt x="336" y="188"/>
                    <a:pt x="187" y="158"/>
                    <a:pt x="70" y="148"/>
                  </a:cubicBezTo>
                  <a:cubicBezTo>
                    <a:pt x="30" y="145"/>
                    <a:pt x="0" y="110"/>
                    <a:pt x="4" y="70"/>
                  </a:cubicBezTo>
                  <a:cubicBezTo>
                    <a:pt x="7" y="30"/>
                    <a:pt x="42" y="0"/>
                    <a:pt x="82" y="4"/>
                  </a:cubicBezTo>
                  <a:cubicBezTo>
                    <a:pt x="130" y="8"/>
                    <a:pt x="374" y="31"/>
                    <a:pt x="466" y="106"/>
                  </a:cubicBezTo>
                  <a:cubicBezTo>
                    <a:pt x="497" y="131"/>
                    <a:pt x="502" y="176"/>
                    <a:pt x="477" y="207"/>
                  </a:cubicBezTo>
                  <a:cubicBezTo>
                    <a:pt x="462" y="225"/>
                    <a:pt x="442" y="235"/>
                    <a:pt x="420" y="23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lt"/>
                <a:cs typeface="Arial"/>
                <a:sym typeface="+mn-lt"/>
              </a:endParaRPr>
            </a:p>
          </p:txBody>
        </p:sp>
        <p:sp>
          <p:nvSpPr>
            <p:cNvPr id="44" name="Freeform 75">
              <a:extLst>
                <a:ext uri="{FF2B5EF4-FFF2-40B4-BE49-F238E27FC236}">
                  <a16:creationId xmlns:a16="http://schemas.microsoft.com/office/drawing/2014/main" id="{43F9407A-8C6E-EF6D-383B-3709597917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016875" y="2179638"/>
              <a:ext cx="28575" cy="42863"/>
            </a:xfrm>
            <a:custGeom>
              <a:avLst/>
              <a:gdLst>
                <a:gd name="T0" fmla="*/ 143 w 224"/>
                <a:gd name="T1" fmla="*/ 339 h 339"/>
                <a:gd name="T2" fmla="*/ 74 w 224"/>
                <a:gd name="T3" fmla="*/ 290 h 339"/>
                <a:gd name="T4" fmla="*/ 12 w 224"/>
                <a:gd name="T5" fmla="*/ 104 h 339"/>
                <a:gd name="T6" fmla="*/ 58 w 224"/>
                <a:gd name="T7" fmla="*/ 13 h 339"/>
                <a:gd name="T8" fmla="*/ 150 w 224"/>
                <a:gd name="T9" fmla="*/ 59 h 339"/>
                <a:gd name="T10" fmla="*/ 211 w 224"/>
                <a:gd name="T11" fmla="*/ 244 h 339"/>
                <a:gd name="T12" fmla="*/ 165 w 224"/>
                <a:gd name="T13" fmla="*/ 336 h 339"/>
                <a:gd name="T14" fmla="*/ 143 w 224"/>
                <a:gd name="T15" fmla="*/ 339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4" h="339">
                  <a:moveTo>
                    <a:pt x="143" y="339"/>
                  </a:moveTo>
                  <a:cubicBezTo>
                    <a:pt x="112" y="339"/>
                    <a:pt x="84" y="320"/>
                    <a:pt x="74" y="290"/>
                  </a:cubicBezTo>
                  <a:lnTo>
                    <a:pt x="12" y="104"/>
                  </a:lnTo>
                  <a:cubicBezTo>
                    <a:pt x="0" y="66"/>
                    <a:pt x="20" y="25"/>
                    <a:pt x="58" y="13"/>
                  </a:cubicBezTo>
                  <a:cubicBezTo>
                    <a:pt x="96" y="0"/>
                    <a:pt x="137" y="21"/>
                    <a:pt x="150" y="59"/>
                  </a:cubicBezTo>
                  <a:lnTo>
                    <a:pt x="211" y="244"/>
                  </a:lnTo>
                  <a:cubicBezTo>
                    <a:pt x="224" y="282"/>
                    <a:pt x="204" y="323"/>
                    <a:pt x="165" y="336"/>
                  </a:cubicBezTo>
                  <a:cubicBezTo>
                    <a:pt x="158" y="338"/>
                    <a:pt x="150" y="339"/>
                    <a:pt x="143" y="33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lt"/>
                <a:cs typeface="Arial"/>
                <a:sym typeface="+mn-lt"/>
              </a:endParaRPr>
            </a:p>
          </p:txBody>
        </p:sp>
        <p:sp>
          <p:nvSpPr>
            <p:cNvPr id="45" name="Freeform 76">
              <a:extLst>
                <a:ext uri="{FF2B5EF4-FFF2-40B4-BE49-F238E27FC236}">
                  <a16:creationId xmlns:a16="http://schemas.microsoft.com/office/drawing/2014/main" id="{2442B55E-B85F-CAB5-2C95-93E7E321C6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21650" y="2317750"/>
              <a:ext cx="69850" cy="69850"/>
            </a:xfrm>
            <a:custGeom>
              <a:avLst/>
              <a:gdLst>
                <a:gd name="T0" fmla="*/ 322 w 554"/>
                <a:gd name="T1" fmla="*/ 145 h 555"/>
                <a:gd name="T2" fmla="*/ 261 w 554"/>
                <a:gd name="T3" fmla="*/ 171 h 555"/>
                <a:gd name="T4" fmla="*/ 170 w 554"/>
                <a:gd name="T5" fmla="*/ 261 h 555"/>
                <a:gd name="T6" fmla="*/ 145 w 554"/>
                <a:gd name="T7" fmla="*/ 323 h 555"/>
                <a:gd name="T8" fmla="*/ 170 w 554"/>
                <a:gd name="T9" fmla="*/ 384 h 555"/>
                <a:gd name="T10" fmla="*/ 232 w 554"/>
                <a:gd name="T11" fmla="*/ 410 h 555"/>
                <a:gd name="T12" fmla="*/ 294 w 554"/>
                <a:gd name="T13" fmla="*/ 384 h 555"/>
                <a:gd name="T14" fmla="*/ 384 w 554"/>
                <a:gd name="T15" fmla="*/ 294 h 555"/>
                <a:gd name="T16" fmla="*/ 409 w 554"/>
                <a:gd name="T17" fmla="*/ 232 h 555"/>
                <a:gd name="T18" fmla="*/ 384 w 554"/>
                <a:gd name="T19" fmla="*/ 171 h 555"/>
                <a:gd name="T20" fmla="*/ 322 w 554"/>
                <a:gd name="T21" fmla="*/ 145 h 555"/>
                <a:gd name="T22" fmla="*/ 232 w 554"/>
                <a:gd name="T23" fmla="*/ 555 h 555"/>
                <a:gd name="T24" fmla="*/ 68 w 554"/>
                <a:gd name="T25" fmla="*/ 487 h 555"/>
                <a:gd name="T26" fmla="*/ 0 w 554"/>
                <a:gd name="T27" fmla="*/ 323 h 555"/>
                <a:gd name="T28" fmla="*/ 68 w 554"/>
                <a:gd name="T29" fmla="*/ 159 h 555"/>
                <a:gd name="T30" fmla="*/ 158 w 554"/>
                <a:gd name="T31" fmla="*/ 68 h 555"/>
                <a:gd name="T32" fmla="*/ 322 w 554"/>
                <a:gd name="T33" fmla="*/ 0 h 555"/>
                <a:gd name="T34" fmla="*/ 486 w 554"/>
                <a:gd name="T35" fmla="*/ 69 h 555"/>
                <a:gd name="T36" fmla="*/ 554 w 554"/>
                <a:gd name="T37" fmla="*/ 233 h 555"/>
                <a:gd name="T38" fmla="*/ 486 w 554"/>
                <a:gd name="T39" fmla="*/ 397 h 555"/>
                <a:gd name="T40" fmla="*/ 396 w 554"/>
                <a:gd name="T41" fmla="*/ 487 h 555"/>
                <a:gd name="T42" fmla="*/ 232 w 554"/>
                <a:gd name="T43" fmla="*/ 555 h 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54" h="555">
                  <a:moveTo>
                    <a:pt x="322" y="145"/>
                  </a:moveTo>
                  <a:cubicBezTo>
                    <a:pt x="299" y="145"/>
                    <a:pt x="277" y="155"/>
                    <a:pt x="261" y="171"/>
                  </a:cubicBezTo>
                  <a:lnTo>
                    <a:pt x="170" y="261"/>
                  </a:lnTo>
                  <a:cubicBezTo>
                    <a:pt x="154" y="278"/>
                    <a:pt x="145" y="300"/>
                    <a:pt x="145" y="323"/>
                  </a:cubicBezTo>
                  <a:cubicBezTo>
                    <a:pt x="145" y="346"/>
                    <a:pt x="154" y="368"/>
                    <a:pt x="170" y="384"/>
                  </a:cubicBezTo>
                  <a:cubicBezTo>
                    <a:pt x="187" y="401"/>
                    <a:pt x="209" y="410"/>
                    <a:pt x="232" y="410"/>
                  </a:cubicBezTo>
                  <a:cubicBezTo>
                    <a:pt x="255" y="410"/>
                    <a:pt x="277" y="401"/>
                    <a:pt x="294" y="384"/>
                  </a:cubicBezTo>
                  <a:lnTo>
                    <a:pt x="384" y="294"/>
                  </a:lnTo>
                  <a:cubicBezTo>
                    <a:pt x="400" y="278"/>
                    <a:pt x="409" y="256"/>
                    <a:pt x="409" y="232"/>
                  </a:cubicBezTo>
                  <a:cubicBezTo>
                    <a:pt x="409" y="209"/>
                    <a:pt x="400" y="187"/>
                    <a:pt x="384" y="171"/>
                  </a:cubicBezTo>
                  <a:cubicBezTo>
                    <a:pt x="367" y="155"/>
                    <a:pt x="345" y="145"/>
                    <a:pt x="322" y="145"/>
                  </a:cubicBezTo>
                  <a:close/>
                  <a:moveTo>
                    <a:pt x="232" y="555"/>
                  </a:moveTo>
                  <a:cubicBezTo>
                    <a:pt x="170" y="555"/>
                    <a:pt x="112" y="531"/>
                    <a:pt x="68" y="487"/>
                  </a:cubicBezTo>
                  <a:cubicBezTo>
                    <a:pt x="24" y="443"/>
                    <a:pt x="0" y="385"/>
                    <a:pt x="0" y="323"/>
                  </a:cubicBezTo>
                  <a:cubicBezTo>
                    <a:pt x="0" y="261"/>
                    <a:pt x="24" y="203"/>
                    <a:pt x="68" y="159"/>
                  </a:cubicBezTo>
                  <a:lnTo>
                    <a:pt x="158" y="68"/>
                  </a:lnTo>
                  <a:cubicBezTo>
                    <a:pt x="202" y="25"/>
                    <a:pt x="260" y="0"/>
                    <a:pt x="322" y="0"/>
                  </a:cubicBezTo>
                  <a:cubicBezTo>
                    <a:pt x="384" y="0"/>
                    <a:pt x="442" y="25"/>
                    <a:pt x="486" y="69"/>
                  </a:cubicBezTo>
                  <a:cubicBezTo>
                    <a:pt x="530" y="112"/>
                    <a:pt x="554" y="171"/>
                    <a:pt x="554" y="233"/>
                  </a:cubicBezTo>
                  <a:cubicBezTo>
                    <a:pt x="554" y="295"/>
                    <a:pt x="530" y="353"/>
                    <a:pt x="486" y="397"/>
                  </a:cubicBezTo>
                  <a:lnTo>
                    <a:pt x="396" y="487"/>
                  </a:lnTo>
                  <a:cubicBezTo>
                    <a:pt x="352" y="531"/>
                    <a:pt x="294" y="555"/>
                    <a:pt x="232" y="55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lt"/>
                <a:cs typeface="Arial"/>
                <a:sym typeface="+mn-lt"/>
              </a:endParaRPr>
            </a:p>
          </p:txBody>
        </p:sp>
        <p:sp>
          <p:nvSpPr>
            <p:cNvPr id="46" name="Freeform 77">
              <a:extLst>
                <a:ext uri="{FF2B5EF4-FFF2-40B4-BE49-F238E27FC236}">
                  <a16:creationId xmlns:a16="http://schemas.microsoft.com/office/drawing/2014/main" id="{64E7F1D1-7738-285E-C06F-1C8AEA8B99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85138" y="2282825"/>
              <a:ext cx="71438" cy="71438"/>
            </a:xfrm>
            <a:custGeom>
              <a:avLst/>
              <a:gdLst>
                <a:gd name="T0" fmla="*/ 322 w 554"/>
                <a:gd name="T1" fmla="*/ 144 h 554"/>
                <a:gd name="T2" fmla="*/ 260 w 554"/>
                <a:gd name="T3" fmla="*/ 170 h 554"/>
                <a:gd name="T4" fmla="*/ 170 w 554"/>
                <a:gd name="T5" fmla="*/ 260 h 554"/>
                <a:gd name="T6" fmla="*/ 145 w 554"/>
                <a:gd name="T7" fmla="*/ 322 h 554"/>
                <a:gd name="T8" fmla="*/ 170 w 554"/>
                <a:gd name="T9" fmla="*/ 383 h 554"/>
                <a:gd name="T10" fmla="*/ 232 w 554"/>
                <a:gd name="T11" fmla="*/ 409 h 554"/>
                <a:gd name="T12" fmla="*/ 293 w 554"/>
                <a:gd name="T13" fmla="*/ 383 h 554"/>
                <a:gd name="T14" fmla="*/ 383 w 554"/>
                <a:gd name="T15" fmla="*/ 293 h 554"/>
                <a:gd name="T16" fmla="*/ 409 w 554"/>
                <a:gd name="T17" fmla="*/ 232 h 554"/>
                <a:gd name="T18" fmla="*/ 384 w 554"/>
                <a:gd name="T19" fmla="*/ 170 h 554"/>
                <a:gd name="T20" fmla="*/ 322 w 554"/>
                <a:gd name="T21" fmla="*/ 144 h 554"/>
                <a:gd name="T22" fmla="*/ 232 w 554"/>
                <a:gd name="T23" fmla="*/ 554 h 554"/>
                <a:gd name="T24" fmla="*/ 68 w 554"/>
                <a:gd name="T25" fmla="*/ 486 h 554"/>
                <a:gd name="T26" fmla="*/ 0 w 554"/>
                <a:gd name="T27" fmla="*/ 322 h 554"/>
                <a:gd name="T28" fmla="*/ 68 w 554"/>
                <a:gd name="T29" fmla="*/ 158 h 554"/>
                <a:gd name="T30" fmla="*/ 158 w 554"/>
                <a:gd name="T31" fmla="*/ 68 h 554"/>
                <a:gd name="T32" fmla="*/ 322 w 554"/>
                <a:gd name="T33" fmla="*/ 0 h 554"/>
                <a:gd name="T34" fmla="*/ 486 w 554"/>
                <a:gd name="T35" fmla="*/ 68 h 554"/>
                <a:gd name="T36" fmla="*/ 554 w 554"/>
                <a:gd name="T37" fmla="*/ 232 h 554"/>
                <a:gd name="T38" fmla="*/ 486 w 554"/>
                <a:gd name="T39" fmla="*/ 396 h 554"/>
                <a:gd name="T40" fmla="*/ 396 w 554"/>
                <a:gd name="T41" fmla="*/ 486 h 554"/>
                <a:gd name="T42" fmla="*/ 232 w 554"/>
                <a:gd name="T43" fmla="*/ 554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54" h="554">
                  <a:moveTo>
                    <a:pt x="322" y="144"/>
                  </a:moveTo>
                  <a:cubicBezTo>
                    <a:pt x="299" y="144"/>
                    <a:pt x="277" y="153"/>
                    <a:pt x="260" y="170"/>
                  </a:cubicBezTo>
                  <a:lnTo>
                    <a:pt x="170" y="260"/>
                  </a:lnTo>
                  <a:cubicBezTo>
                    <a:pt x="154" y="277"/>
                    <a:pt x="145" y="299"/>
                    <a:pt x="145" y="322"/>
                  </a:cubicBezTo>
                  <a:cubicBezTo>
                    <a:pt x="145" y="345"/>
                    <a:pt x="154" y="367"/>
                    <a:pt x="170" y="383"/>
                  </a:cubicBezTo>
                  <a:cubicBezTo>
                    <a:pt x="187" y="400"/>
                    <a:pt x="208" y="409"/>
                    <a:pt x="232" y="409"/>
                  </a:cubicBezTo>
                  <a:cubicBezTo>
                    <a:pt x="255" y="409"/>
                    <a:pt x="277" y="400"/>
                    <a:pt x="293" y="383"/>
                  </a:cubicBezTo>
                  <a:lnTo>
                    <a:pt x="383" y="293"/>
                  </a:lnTo>
                  <a:cubicBezTo>
                    <a:pt x="400" y="277"/>
                    <a:pt x="409" y="255"/>
                    <a:pt x="409" y="232"/>
                  </a:cubicBezTo>
                  <a:cubicBezTo>
                    <a:pt x="409" y="208"/>
                    <a:pt x="400" y="187"/>
                    <a:pt x="384" y="170"/>
                  </a:cubicBezTo>
                  <a:cubicBezTo>
                    <a:pt x="367" y="153"/>
                    <a:pt x="345" y="144"/>
                    <a:pt x="322" y="144"/>
                  </a:cubicBezTo>
                  <a:close/>
                  <a:moveTo>
                    <a:pt x="232" y="554"/>
                  </a:moveTo>
                  <a:cubicBezTo>
                    <a:pt x="170" y="554"/>
                    <a:pt x="111" y="530"/>
                    <a:pt x="68" y="486"/>
                  </a:cubicBezTo>
                  <a:cubicBezTo>
                    <a:pt x="24" y="442"/>
                    <a:pt x="0" y="384"/>
                    <a:pt x="0" y="322"/>
                  </a:cubicBezTo>
                  <a:cubicBezTo>
                    <a:pt x="0" y="260"/>
                    <a:pt x="24" y="202"/>
                    <a:pt x="68" y="158"/>
                  </a:cubicBezTo>
                  <a:lnTo>
                    <a:pt x="158" y="68"/>
                  </a:lnTo>
                  <a:cubicBezTo>
                    <a:pt x="202" y="24"/>
                    <a:pt x="260" y="0"/>
                    <a:pt x="322" y="0"/>
                  </a:cubicBezTo>
                  <a:cubicBezTo>
                    <a:pt x="384" y="0"/>
                    <a:pt x="442" y="24"/>
                    <a:pt x="486" y="68"/>
                  </a:cubicBezTo>
                  <a:cubicBezTo>
                    <a:pt x="530" y="111"/>
                    <a:pt x="554" y="170"/>
                    <a:pt x="554" y="232"/>
                  </a:cubicBezTo>
                  <a:cubicBezTo>
                    <a:pt x="554" y="294"/>
                    <a:pt x="530" y="352"/>
                    <a:pt x="486" y="396"/>
                  </a:cubicBezTo>
                  <a:lnTo>
                    <a:pt x="396" y="486"/>
                  </a:lnTo>
                  <a:cubicBezTo>
                    <a:pt x="352" y="530"/>
                    <a:pt x="294" y="554"/>
                    <a:pt x="232" y="55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lt"/>
                <a:cs typeface="Arial"/>
                <a:sym typeface="+mn-lt"/>
              </a:endParaRPr>
            </a:p>
          </p:txBody>
        </p:sp>
        <p:sp>
          <p:nvSpPr>
            <p:cNvPr id="47" name="Freeform 78">
              <a:extLst>
                <a:ext uri="{FF2B5EF4-FFF2-40B4-BE49-F238E27FC236}">
                  <a16:creationId xmlns:a16="http://schemas.microsoft.com/office/drawing/2014/main" id="{4D0FE35E-828F-80D5-8BA3-3C8C366E11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54975" y="2252663"/>
              <a:ext cx="71438" cy="71438"/>
            </a:xfrm>
            <a:custGeom>
              <a:avLst/>
              <a:gdLst>
                <a:gd name="T0" fmla="*/ 323 w 555"/>
                <a:gd name="T1" fmla="*/ 145 h 554"/>
                <a:gd name="T2" fmla="*/ 261 w 555"/>
                <a:gd name="T3" fmla="*/ 170 h 554"/>
                <a:gd name="T4" fmla="*/ 171 w 555"/>
                <a:gd name="T5" fmla="*/ 261 h 554"/>
                <a:gd name="T6" fmla="*/ 145 w 555"/>
                <a:gd name="T7" fmla="*/ 322 h 554"/>
                <a:gd name="T8" fmla="*/ 171 w 555"/>
                <a:gd name="T9" fmla="*/ 384 h 554"/>
                <a:gd name="T10" fmla="*/ 232 w 555"/>
                <a:gd name="T11" fmla="*/ 409 h 554"/>
                <a:gd name="T12" fmla="*/ 294 w 555"/>
                <a:gd name="T13" fmla="*/ 384 h 554"/>
                <a:gd name="T14" fmla="*/ 384 w 555"/>
                <a:gd name="T15" fmla="*/ 293 h 554"/>
                <a:gd name="T16" fmla="*/ 410 w 555"/>
                <a:gd name="T17" fmla="*/ 232 h 554"/>
                <a:gd name="T18" fmla="*/ 384 w 555"/>
                <a:gd name="T19" fmla="*/ 170 h 554"/>
                <a:gd name="T20" fmla="*/ 323 w 555"/>
                <a:gd name="T21" fmla="*/ 145 h 554"/>
                <a:gd name="T22" fmla="*/ 232 w 555"/>
                <a:gd name="T23" fmla="*/ 554 h 554"/>
                <a:gd name="T24" fmla="*/ 68 w 555"/>
                <a:gd name="T25" fmla="*/ 486 h 554"/>
                <a:gd name="T26" fmla="*/ 0 w 555"/>
                <a:gd name="T27" fmla="*/ 322 h 554"/>
                <a:gd name="T28" fmla="*/ 68 w 555"/>
                <a:gd name="T29" fmla="*/ 158 h 554"/>
                <a:gd name="T30" fmla="*/ 159 w 555"/>
                <a:gd name="T31" fmla="*/ 68 h 554"/>
                <a:gd name="T32" fmla="*/ 323 w 555"/>
                <a:gd name="T33" fmla="*/ 0 h 554"/>
                <a:gd name="T34" fmla="*/ 487 w 555"/>
                <a:gd name="T35" fmla="*/ 68 h 554"/>
                <a:gd name="T36" fmla="*/ 554 w 555"/>
                <a:gd name="T37" fmla="*/ 232 h 554"/>
                <a:gd name="T38" fmla="*/ 487 w 555"/>
                <a:gd name="T39" fmla="*/ 396 h 554"/>
                <a:gd name="T40" fmla="*/ 396 w 555"/>
                <a:gd name="T41" fmla="*/ 486 h 554"/>
                <a:gd name="T42" fmla="*/ 232 w 555"/>
                <a:gd name="T43" fmla="*/ 554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55" h="554">
                  <a:moveTo>
                    <a:pt x="323" y="145"/>
                  </a:moveTo>
                  <a:cubicBezTo>
                    <a:pt x="299" y="145"/>
                    <a:pt x="278" y="154"/>
                    <a:pt x="261" y="170"/>
                  </a:cubicBezTo>
                  <a:lnTo>
                    <a:pt x="171" y="261"/>
                  </a:lnTo>
                  <a:cubicBezTo>
                    <a:pt x="154" y="277"/>
                    <a:pt x="145" y="299"/>
                    <a:pt x="145" y="322"/>
                  </a:cubicBezTo>
                  <a:cubicBezTo>
                    <a:pt x="145" y="345"/>
                    <a:pt x="154" y="367"/>
                    <a:pt x="171" y="384"/>
                  </a:cubicBezTo>
                  <a:cubicBezTo>
                    <a:pt x="187" y="400"/>
                    <a:pt x="209" y="409"/>
                    <a:pt x="232" y="409"/>
                  </a:cubicBezTo>
                  <a:cubicBezTo>
                    <a:pt x="255" y="409"/>
                    <a:pt x="277" y="400"/>
                    <a:pt x="294" y="384"/>
                  </a:cubicBezTo>
                  <a:lnTo>
                    <a:pt x="384" y="293"/>
                  </a:lnTo>
                  <a:cubicBezTo>
                    <a:pt x="401" y="277"/>
                    <a:pt x="410" y="255"/>
                    <a:pt x="410" y="232"/>
                  </a:cubicBezTo>
                  <a:cubicBezTo>
                    <a:pt x="410" y="208"/>
                    <a:pt x="401" y="187"/>
                    <a:pt x="384" y="170"/>
                  </a:cubicBezTo>
                  <a:cubicBezTo>
                    <a:pt x="368" y="154"/>
                    <a:pt x="346" y="145"/>
                    <a:pt x="323" y="145"/>
                  </a:cubicBezTo>
                  <a:close/>
                  <a:moveTo>
                    <a:pt x="232" y="554"/>
                  </a:moveTo>
                  <a:cubicBezTo>
                    <a:pt x="170" y="554"/>
                    <a:pt x="112" y="530"/>
                    <a:pt x="68" y="486"/>
                  </a:cubicBezTo>
                  <a:cubicBezTo>
                    <a:pt x="24" y="442"/>
                    <a:pt x="0" y="384"/>
                    <a:pt x="0" y="322"/>
                  </a:cubicBezTo>
                  <a:cubicBezTo>
                    <a:pt x="0" y="260"/>
                    <a:pt x="24" y="202"/>
                    <a:pt x="68" y="158"/>
                  </a:cubicBezTo>
                  <a:lnTo>
                    <a:pt x="159" y="68"/>
                  </a:lnTo>
                  <a:cubicBezTo>
                    <a:pt x="202" y="24"/>
                    <a:pt x="261" y="0"/>
                    <a:pt x="323" y="0"/>
                  </a:cubicBezTo>
                  <a:cubicBezTo>
                    <a:pt x="385" y="0"/>
                    <a:pt x="443" y="24"/>
                    <a:pt x="487" y="68"/>
                  </a:cubicBezTo>
                  <a:cubicBezTo>
                    <a:pt x="530" y="112"/>
                    <a:pt x="555" y="170"/>
                    <a:pt x="554" y="232"/>
                  </a:cubicBezTo>
                  <a:cubicBezTo>
                    <a:pt x="554" y="294"/>
                    <a:pt x="530" y="352"/>
                    <a:pt x="487" y="396"/>
                  </a:cubicBezTo>
                  <a:lnTo>
                    <a:pt x="396" y="486"/>
                  </a:lnTo>
                  <a:cubicBezTo>
                    <a:pt x="352" y="530"/>
                    <a:pt x="294" y="554"/>
                    <a:pt x="232" y="55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lt"/>
                <a:cs typeface="Arial"/>
                <a:sym typeface="+mn-lt"/>
              </a:endParaRPr>
            </a:p>
          </p:txBody>
        </p:sp>
        <p:sp>
          <p:nvSpPr>
            <p:cNvPr id="48" name="Freeform 79">
              <a:extLst>
                <a:ext uri="{FF2B5EF4-FFF2-40B4-BE49-F238E27FC236}">
                  <a16:creationId xmlns:a16="http://schemas.microsoft.com/office/drawing/2014/main" id="{1BEFBF5B-1513-6AEA-19BC-45F1AB0A6E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23225" y="2219325"/>
              <a:ext cx="69850" cy="69850"/>
            </a:xfrm>
            <a:custGeom>
              <a:avLst/>
              <a:gdLst>
                <a:gd name="T0" fmla="*/ 322 w 554"/>
                <a:gd name="T1" fmla="*/ 145 h 554"/>
                <a:gd name="T2" fmla="*/ 260 w 554"/>
                <a:gd name="T3" fmla="*/ 170 h 554"/>
                <a:gd name="T4" fmla="*/ 170 w 554"/>
                <a:gd name="T5" fmla="*/ 260 h 554"/>
                <a:gd name="T6" fmla="*/ 145 w 554"/>
                <a:gd name="T7" fmla="*/ 322 h 554"/>
                <a:gd name="T8" fmla="*/ 170 w 554"/>
                <a:gd name="T9" fmla="*/ 384 h 554"/>
                <a:gd name="T10" fmla="*/ 232 w 554"/>
                <a:gd name="T11" fmla="*/ 409 h 554"/>
                <a:gd name="T12" fmla="*/ 293 w 554"/>
                <a:gd name="T13" fmla="*/ 384 h 554"/>
                <a:gd name="T14" fmla="*/ 383 w 554"/>
                <a:gd name="T15" fmla="*/ 293 h 554"/>
                <a:gd name="T16" fmla="*/ 409 w 554"/>
                <a:gd name="T17" fmla="*/ 232 h 554"/>
                <a:gd name="T18" fmla="*/ 383 w 554"/>
                <a:gd name="T19" fmla="*/ 170 h 554"/>
                <a:gd name="T20" fmla="*/ 322 w 554"/>
                <a:gd name="T21" fmla="*/ 145 h 554"/>
                <a:gd name="T22" fmla="*/ 232 w 554"/>
                <a:gd name="T23" fmla="*/ 554 h 554"/>
                <a:gd name="T24" fmla="*/ 67 w 554"/>
                <a:gd name="T25" fmla="*/ 486 h 554"/>
                <a:gd name="T26" fmla="*/ 0 w 554"/>
                <a:gd name="T27" fmla="*/ 322 h 554"/>
                <a:gd name="T28" fmla="*/ 67 w 554"/>
                <a:gd name="T29" fmla="*/ 158 h 554"/>
                <a:gd name="T30" fmla="*/ 158 w 554"/>
                <a:gd name="T31" fmla="*/ 68 h 554"/>
                <a:gd name="T32" fmla="*/ 322 w 554"/>
                <a:gd name="T33" fmla="*/ 0 h 554"/>
                <a:gd name="T34" fmla="*/ 486 w 554"/>
                <a:gd name="T35" fmla="*/ 68 h 554"/>
                <a:gd name="T36" fmla="*/ 554 w 554"/>
                <a:gd name="T37" fmla="*/ 232 h 554"/>
                <a:gd name="T38" fmla="*/ 486 w 554"/>
                <a:gd name="T39" fmla="*/ 396 h 554"/>
                <a:gd name="T40" fmla="*/ 395 w 554"/>
                <a:gd name="T41" fmla="*/ 486 h 554"/>
                <a:gd name="T42" fmla="*/ 232 w 554"/>
                <a:gd name="T43" fmla="*/ 554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54" h="554">
                  <a:moveTo>
                    <a:pt x="322" y="145"/>
                  </a:moveTo>
                  <a:cubicBezTo>
                    <a:pt x="299" y="145"/>
                    <a:pt x="277" y="154"/>
                    <a:pt x="260" y="170"/>
                  </a:cubicBezTo>
                  <a:lnTo>
                    <a:pt x="170" y="260"/>
                  </a:lnTo>
                  <a:cubicBezTo>
                    <a:pt x="154" y="277"/>
                    <a:pt x="145" y="299"/>
                    <a:pt x="145" y="322"/>
                  </a:cubicBezTo>
                  <a:cubicBezTo>
                    <a:pt x="145" y="345"/>
                    <a:pt x="153" y="367"/>
                    <a:pt x="170" y="384"/>
                  </a:cubicBezTo>
                  <a:cubicBezTo>
                    <a:pt x="186" y="400"/>
                    <a:pt x="208" y="409"/>
                    <a:pt x="232" y="409"/>
                  </a:cubicBezTo>
                  <a:cubicBezTo>
                    <a:pt x="255" y="409"/>
                    <a:pt x="277" y="400"/>
                    <a:pt x="293" y="384"/>
                  </a:cubicBezTo>
                  <a:lnTo>
                    <a:pt x="383" y="293"/>
                  </a:lnTo>
                  <a:cubicBezTo>
                    <a:pt x="400" y="277"/>
                    <a:pt x="409" y="255"/>
                    <a:pt x="409" y="232"/>
                  </a:cubicBezTo>
                  <a:cubicBezTo>
                    <a:pt x="409" y="209"/>
                    <a:pt x="400" y="187"/>
                    <a:pt x="383" y="170"/>
                  </a:cubicBezTo>
                  <a:cubicBezTo>
                    <a:pt x="367" y="154"/>
                    <a:pt x="345" y="145"/>
                    <a:pt x="322" y="145"/>
                  </a:cubicBezTo>
                  <a:close/>
                  <a:moveTo>
                    <a:pt x="232" y="554"/>
                  </a:moveTo>
                  <a:cubicBezTo>
                    <a:pt x="170" y="554"/>
                    <a:pt x="111" y="530"/>
                    <a:pt x="67" y="486"/>
                  </a:cubicBezTo>
                  <a:cubicBezTo>
                    <a:pt x="24" y="442"/>
                    <a:pt x="0" y="384"/>
                    <a:pt x="0" y="322"/>
                  </a:cubicBezTo>
                  <a:cubicBezTo>
                    <a:pt x="0" y="260"/>
                    <a:pt x="24" y="202"/>
                    <a:pt x="67" y="158"/>
                  </a:cubicBezTo>
                  <a:lnTo>
                    <a:pt x="158" y="68"/>
                  </a:lnTo>
                  <a:cubicBezTo>
                    <a:pt x="202" y="24"/>
                    <a:pt x="260" y="0"/>
                    <a:pt x="322" y="0"/>
                  </a:cubicBezTo>
                  <a:cubicBezTo>
                    <a:pt x="384" y="0"/>
                    <a:pt x="442" y="24"/>
                    <a:pt x="486" y="68"/>
                  </a:cubicBezTo>
                  <a:cubicBezTo>
                    <a:pt x="530" y="112"/>
                    <a:pt x="554" y="170"/>
                    <a:pt x="554" y="232"/>
                  </a:cubicBezTo>
                  <a:cubicBezTo>
                    <a:pt x="554" y="294"/>
                    <a:pt x="530" y="352"/>
                    <a:pt x="486" y="396"/>
                  </a:cubicBezTo>
                  <a:lnTo>
                    <a:pt x="395" y="486"/>
                  </a:lnTo>
                  <a:cubicBezTo>
                    <a:pt x="352" y="530"/>
                    <a:pt x="294" y="554"/>
                    <a:pt x="232" y="55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lt"/>
                <a:cs typeface="Arial"/>
                <a:sym typeface="+mn-lt"/>
              </a:endParaRPr>
            </a:p>
          </p:txBody>
        </p:sp>
      </p:grpSp>
      <p:sp>
        <p:nvSpPr>
          <p:cNvPr id="51" name="Slide Number Placeholder 3">
            <a:extLst>
              <a:ext uri="{FF2B5EF4-FFF2-40B4-BE49-F238E27FC236}">
                <a16:creationId xmlns:a16="http://schemas.microsoft.com/office/drawing/2014/main" id="{6330AE14-7898-DDE1-5D9F-5902082F8440}"/>
              </a:ext>
            </a:extLst>
          </p:cNvPr>
          <p:cNvSpPr txBox="1">
            <a:spLocks/>
          </p:cNvSpPr>
          <p:nvPr/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81A3FED6-A479-4C51-AC77-2E6E772484F6}" type="slidenum">
              <a:rPr lang="en-GB" altLang="fr-FR" smtClean="0"/>
              <a:pPr/>
              <a:t>15</a:t>
            </a:fld>
            <a:endParaRPr lang="en-GB" altLang="fr-FR"/>
          </a:p>
        </p:txBody>
      </p:sp>
    </p:spTree>
    <p:extLst>
      <p:ext uri="{BB962C8B-B14F-4D97-AF65-F5344CB8AC3E}">
        <p14:creationId xmlns:p14="http://schemas.microsoft.com/office/powerpoint/2010/main" val="62842058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40EED8-85EF-77C0-9977-481D697006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156392-4BAC-6987-BD46-A1A8ED40BC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ESC state of play</a:t>
            </a:r>
            <a:endParaRPr lang="es-MX"/>
          </a:p>
        </p:txBody>
      </p:sp>
      <p:sp>
        <p:nvSpPr>
          <p:cNvPr id="51" name="Slide Number Placeholder 3">
            <a:extLst>
              <a:ext uri="{FF2B5EF4-FFF2-40B4-BE49-F238E27FC236}">
                <a16:creationId xmlns:a16="http://schemas.microsoft.com/office/drawing/2014/main" id="{3C39838C-684A-BF62-7286-8F8DF701FFDD}"/>
              </a:ext>
            </a:extLst>
          </p:cNvPr>
          <p:cNvSpPr txBox="1">
            <a:spLocks/>
          </p:cNvSpPr>
          <p:nvPr/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81A3FED6-A479-4C51-AC77-2E6E772484F6}" type="slidenum">
              <a:rPr lang="en-GB" altLang="fr-FR" smtClean="0"/>
              <a:pPr/>
              <a:t>16</a:t>
            </a:fld>
            <a:endParaRPr lang="en-GB" altLang="fr-FR"/>
          </a:p>
        </p:txBody>
      </p:sp>
      <p:sp>
        <p:nvSpPr>
          <p:cNvPr id="3" name="Elipse 54">
            <a:extLst>
              <a:ext uri="{FF2B5EF4-FFF2-40B4-BE49-F238E27FC236}">
                <a16:creationId xmlns:a16="http://schemas.microsoft.com/office/drawing/2014/main" id="{07438E5E-68C4-235A-E32D-31F3D65EE4CE}"/>
              </a:ext>
            </a:extLst>
          </p:cNvPr>
          <p:cNvSpPr/>
          <p:nvPr/>
        </p:nvSpPr>
        <p:spPr>
          <a:xfrm>
            <a:off x="701225" y="3450529"/>
            <a:ext cx="741600" cy="740655"/>
          </a:xfrm>
          <a:prstGeom prst="ellipse">
            <a:avLst/>
          </a:prstGeom>
          <a:solidFill>
            <a:srgbClr val="871664"/>
          </a:solidFill>
          <a:ln w="12700" cap="flat" cmpd="sng" algn="ctr">
            <a:solidFill>
              <a:srgbClr val="871664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>
              <a:defRPr/>
            </a:pPr>
            <a:endParaRPr lang="en-GB" sz="18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Elipse 26">
            <a:extLst>
              <a:ext uri="{FF2B5EF4-FFF2-40B4-BE49-F238E27FC236}">
                <a16:creationId xmlns:a16="http://schemas.microsoft.com/office/drawing/2014/main" id="{B10D1376-95D6-B1FB-A30F-8AF19BDE00F2}"/>
              </a:ext>
            </a:extLst>
          </p:cNvPr>
          <p:cNvSpPr/>
          <p:nvPr/>
        </p:nvSpPr>
        <p:spPr>
          <a:xfrm>
            <a:off x="691929" y="2100245"/>
            <a:ext cx="741600" cy="740655"/>
          </a:xfrm>
          <a:prstGeom prst="ellipse">
            <a:avLst/>
          </a:prstGeom>
          <a:solidFill>
            <a:srgbClr val="6785C1"/>
          </a:solidFill>
          <a:ln w="12700" cap="flat" cmpd="sng" algn="ctr">
            <a:solidFill>
              <a:srgbClr val="6785C1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>
              <a:defRPr/>
            </a:pPr>
            <a:endParaRPr lang="en-GB" sz="18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uadroTexto 10">
            <a:extLst>
              <a:ext uri="{FF2B5EF4-FFF2-40B4-BE49-F238E27FC236}">
                <a16:creationId xmlns:a16="http://schemas.microsoft.com/office/drawing/2014/main" id="{D21BCEB1-5B61-8313-4798-0CFB77C6CEE9}"/>
              </a:ext>
            </a:extLst>
          </p:cNvPr>
          <p:cNvSpPr txBox="1"/>
          <p:nvPr/>
        </p:nvSpPr>
        <p:spPr>
          <a:xfrm>
            <a:off x="1432240" y="1816305"/>
            <a:ext cx="31324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defRPr/>
            </a:pPr>
            <a:r>
              <a:rPr lang="en-GB" sz="3200" b="1" dirty="0">
                <a:solidFill>
                  <a:srgbClr val="6785C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0M</a:t>
            </a:r>
          </a:p>
          <a:p>
            <a:pPr defTabSz="914354">
              <a:defRPr/>
            </a:pPr>
            <a:endParaRPr lang="en-GB" sz="3200" b="1" dirty="0">
              <a:solidFill>
                <a:srgbClr val="6785C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12">
            <a:extLst>
              <a:ext uri="{FF2B5EF4-FFF2-40B4-BE49-F238E27FC236}">
                <a16:creationId xmlns:a16="http://schemas.microsoft.com/office/drawing/2014/main" id="{CB8D0786-0917-A9E4-398D-BAD22E660A5F}"/>
              </a:ext>
            </a:extLst>
          </p:cNvPr>
          <p:cNvSpPr txBox="1"/>
          <p:nvPr/>
        </p:nvSpPr>
        <p:spPr>
          <a:xfrm>
            <a:off x="1444085" y="2474930"/>
            <a:ext cx="21752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defRPr/>
            </a:pPr>
            <a:r>
              <a:rPr lang="en-GB" sz="1600" b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ESCs issued</a:t>
            </a:r>
          </a:p>
        </p:txBody>
      </p:sp>
      <p:cxnSp>
        <p:nvCxnSpPr>
          <p:cNvPr id="49" name="Conector recto 2">
            <a:extLst>
              <a:ext uri="{FF2B5EF4-FFF2-40B4-BE49-F238E27FC236}">
                <a16:creationId xmlns:a16="http://schemas.microsoft.com/office/drawing/2014/main" id="{E442689B-555E-85C7-4296-8B37D0F7D511}"/>
              </a:ext>
            </a:extLst>
          </p:cNvPr>
          <p:cNvCxnSpPr>
            <a:cxnSpLocks/>
          </p:cNvCxnSpPr>
          <p:nvPr/>
        </p:nvCxnSpPr>
        <p:spPr>
          <a:xfrm flipV="1">
            <a:off x="1432236" y="2484966"/>
            <a:ext cx="2121712" cy="3708"/>
          </a:xfrm>
          <a:prstGeom prst="line">
            <a:avLst/>
          </a:prstGeom>
          <a:noFill/>
          <a:ln w="28575" cap="flat" cmpd="sng" algn="ctr">
            <a:solidFill>
              <a:srgbClr val="6785C1"/>
            </a:solidFill>
            <a:prstDash val="solid"/>
            <a:miter lim="800000"/>
          </a:ln>
          <a:effectLst/>
        </p:spPr>
      </p:cxnSp>
      <p:sp>
        <p:nvSpPr>
          <p:cNvPr id="50" name="CuadroTexto 84">
            <a:extLst>
              <a:ext uri="{FF2B5EF4-FFF2-40B4-BE49-F238E27FC236}">
                <a16:creationId xmlns:a16="http://schemas.microsoft.com/office/drawing/2014/main" id="{48FA36AE-E9C3-F813-4717-384BAA82D00C}"/>
              </a:ext>
            </a:extLst>
          </p:cNvPr>
          <p:cNvSpPr txBox="1"/>
          <p:nvPr/>
        </p:nvSpPr>
        <p:spPr>
          <a:xfrm>
            <a:off x="4597409" y="3240892"/>
            <a:ext cx="18703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defRPr/>
            </a:pPr>
            <a:r>
              <a:rPr lang="en-GB" sz="3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71</a:t>
            </a:r>
          </a:p>
        </p:txBody>
      </p:sp>
      <p:sp>
        <p:nvSpPr>
          <p:cNvPr id="52" name="CuadroTexto 85">
            <a:extLst>
              <a:ext uri="{FF2B5EF4-FFF2-40B4-BE49-F238E27FC236}">
                <a16:creationId xmlns:a16="http://schemas.microsoft.com/office/drawing/2014/main" id="{3E9D18E9-AA1F-3C19-01E8-323CBC1E0A69}"/>
              </a:ext>
            </a:extLst>
          </p:cNvPr>
          <p:cNvSpPr txBox="1"/>
          <p:nvPr/>
        </p:nvSpPr>
        <p:spPr>
          <a:xfrm>
            <a:off x="4597407" y="3870025"/>
            <a:ext cx="254305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defRPr/>
            </a:pPr>
            <a:r>
              <a:rPr lang="en-GB" sz="1600" b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ganisations that have issued ESCs</a:t>
            </a:r>
          </a:p>
        </p:txBody>
      </p:sp>
      <p:cxnSp>
        <p:nvCxnSpPr>
          <p:cNvPr id="53" name="Conector recto 86">
            <a:extLst>
              <a:ext uri="{FF2B5EF4-FFF2-40B4-BE49-F238E27FC236}">
                <a16:creationId xmlns:a16="http://schemas.microsoft.com/office/drawing/2014/main" id="{C547A5E5-5646-A650-64B6-605221559933}"/>
              </a:ext>
            </a:extLst>
          </p:cNvPr>
          <p:cNvCxnSpPr>
            <a:cxnSpLocks/>
          </p:cNvCxnSpPr>
          <p:nvPr/>
        </p:nvCxnSpPr>
        <p:spPr>
          <a:xfrm>
            <a:off x="4618341" y="3834104"/>
            <a:ext cx="2121712" cy="0"/>
          </a:xfrm>
          <a:prstGeom prst="line">
            <a:avLst/>
          </a:prstGeom>
          <a:noFill/>
          <a:ln w="28575" cap="flat" cmpd="sng" algn="ctr">
            <a:solidFill>
              <a:srgbClr val="0070C0"/>
            </a:solidFill>
            <a:prstDash val="solid"/>
            <a:miter lim="800000"/>
          </a:ln>
          <a:effectLst/>
        </p:spPr>
      </p:cxnSp>
      <p:sp>
        <p:nvSpPr>
          <p:cNvPr id="54" name="Elipse 87">
            <a:extLst>
              <a:ext uri="{FF2B5EF4-FFF2-40B4-BE49-F238E27FC236}">
                <a16:creationId xmlns:a16="http://schemas.microsoft.com/office/drawing/2014/main" id="{59DC8F45-DE95-72FD-B52F-C3480684787F}"/>
              </a:ext>
            </a:extLst>
          </p:cNvPr>
          <p:cNvSpPr/>
          <p:nvPr/>
        </p:nvSpPr>
        <p:spPr>
          <a:xfrm>
            <a:off x="3882259" y="3475891"/>
            <a:ext cx="741600" cy="740655"/>
          </a:xfrm>
          <a:prstGeom prst="ellipse">
            <a:avLst/>
          </a:prstGeom>
          <a:solidFill>
            <a:srgbClr val="0070C0"/>
          </a:solidFill>
          <a:ln w="12700" cap="flat" cmpd="sng" algn="ctr">
            <a:solidFill>
              <a:srgbClr val="0070C0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>
              <a:defRPr/>
            </a:pPr>
            <a:endParaRPr lang="en-GB" sz="18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CuadroTexto 225">
            <a:extLst>
              <a:ext uri="{FF2B5EF4-FFF2-40B4-BE49-F238E27FC236}">
                <a16:creationId xmlns:a16="http://schemas.microsoft.com/office/drawing/2014/main" id="{677550E3-6E01-82FC-BAA1-A259FBA306E8}"/>
              </a:ext>
            </a:extLst>
          </p:cNvPr>
          <p:cNvSpPr txBox="1"/>
          <p:nvPr/>
        </p:nvSpPr>
        <p:spPr>
          <a:xfrm>
            <a:off x="4701579" y="1816305"/>
            <a:ext cx="193143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defRPr/>
            </a:pPr>
            <a:r>
              <a:rPr lang="en-GB" sz="3200" b="1">
                <a:solidFill>
                  <a:srgbClr val="6785C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9M</a:t>
            </a:r>
          </a:p>
        </p:txBody>
      </p:sp>
      <p:sp>
        <p:nvSpPr>
          <p:cNvPr id="56" name="CuadroTexto 226">
            <a:extLst>
              <a:ext uri="{FF2B5EF4-FFF2-40B4-BE49-F238E27FC236}">
                <a16:creationId xmlns:a16="http://schemas.microsoft.com/office/drawing/2014/main" id="{6C58C845-52CE-9C24-ED85-62867A4CEDCA}"/>
              </a:ext>
            </a:extLst>
          </p:cNvPr>
          <p:cNvSpPr txBox="1"/>
          <p:nvPr/>
        </p:nvSpPr>
        <p:spPr>
          <a:xfrm>
            <a:off x="4672867" y="2456181"/>
            <a:ext cx="21752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defRPr/>
            </a:pPr>
            <a:r>
              <a:rPr lang="en-GB" sz="1600" b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ve ESCs</a:t>
            </a:r>
          </a:p>
        </p:txBody>
      </p:sp>
      <p:sp>
        <p:nvSpPr>
          <p:cNvPr id="57" name="Elipse 26">
            <a:extLst>
              <a:ext uri="{FF2B5EF4-FFF2-40B4-BE49-F238E27FC236}">
                <a16:creationId xmlns:a16="http://schemas.microsoft.com/office/drawing/2014/main" id="{EFC66871-D8B6-9B0F-99B0-C1EF20198A84}"/>
              </a:ext>
            </a:extLst>
          </p:cNvPr>
          <p:cNvSpPr/>
          <p:nvPr/>
        </p:nvSpPr>
        <p:spPr>
          <a:xfrm>
            <a:off x="3942060" y="2093049"/>
            <a:ext cx="741600" cy="740655"/>
          </a:xfrm>
          <a:prstGeom prst="ellipse">
            <a:avLst/>
          </a:prstGeom>
          <a:solidFill>
            <a:srgbClr val="6785C1"/>
          </a:solidFill>
          <a:ln w="12700" cap="flat" cmpd="sng" algn="ctr">
            <a:solidFill>
              <a:srgbClr val="6785C1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>
              <a:defRPr/>
            </a:pPr>
            <a:endParaRPr lang="en-GB" sz="18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8" name="Conector recto 2">
            <a:extLst>
              <a:ext uri="{FF2B5EF4-FFF2-40B4-BE49-F238E27FC236}">
                <a16:creationId xmlns:a16="http://schemas.microsoft.com/office/drawing/2014/main" id="{F8F499CC-24A1-C6A4-CA76-98583CF26A20}"/>
              </a:ext>
            </a:extLst>
          </p:cNvPr>
          <p:cNvCxnSpPr>
            <a:cxnSpLocks/>
          </p:cNvCxnSpPr>
          <p:nvPr/>
        </p:nvCxnSpPr>
        <p:spPr>
          <a:xfrm flipV="1">
            <a:off x="4699172" y="2465251"/>
            <a:ext cx="2121712" cy="3708"/>
          </a:xfrm>
          <a:prstGeom prst="line">
            <a:avLst/>
          </a:prstGeom>
          <a:noFill/>
          <a:ln w="28575" cap="flat" cmpd="sng" algn="ctr">
            <a:solidFill>
              <a:srgbClr val="6785C1"/>
            </a:solidFill>
            <a:prstDash val="solid"/>
            <a:miter lim="800000"/>
          </a:ln>
          <a:effectLst/>
        </p:spPr>
      </p:cxnSp>
      <p:pic>
        <p:nvPicPr>
          <p:cNvPr id="59" name="Graphic 58" descr="Schoolhouse outline">
            <a:extLst>
              <a:ext uri="{FF2B5EF4-FFF2-40B4-BE49-F238E27FC236}">
                <a16:creationId xmlns:a16="http://schemas.microsoft.com/office/drawing/2014/main" id="{58E3417B-499E-996E-0E3F-ED04A46E6C5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87717" y="3417507"/>
            <a:ext cx="740656" cy="740656"/>
          </a:xfrm>
          <a:prstGeom prst="rect">
            <a:avLst/>
          </a:prstGeom>
        </p:spPr>
      </p:pic>
      <p:pic>
        <p:nvPicPr>
          <p:cNvPr id="60" name="Graphic 59" descr="Credit card outline">
            <a:extLst>
              <a:ext uri="{FF2B5EF4-FFF2-40B4-BE49-F238E27FC236}">
                <a16:creationId xmlns:a16="http://schemas.microsoft.com/office/drawing/2014/main" id="{F0E0BCB2-BA06-58DF-3C80-F65EFBE403F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56839" y="2184481"/>
            <a:ext cx="584775" cy="584775"/>
          </a:xfrm>
          <a:prstGeom prst="rect">
            <a:avLst/>
          </a:prstGeom>
        </p:spPr>
      </p:pic>
      <p:grpSp>
        <p:nvGrpSpPr>
          <p:cNvPr id="61" name="Europe_Cities">
            <a:extLst>
              <a:ext uri="{FF2B5EF4-FFF2-40B4-BE49-F238E27FC236}">
                <a16:creationId xmlns:a16="http://schemas.microsoft.com/office/drawing/2014/main" id="{F83D22D6-F8E6-CC01-F433-040A6FDF8363}"/>
              </a:ext>
            </a:extLst>
          </p:cNvPr>
          <p:cNvGrpSpPr>
            <a:grpSpLocks noChangeAspect="1"/>
          </p:cNvGrpSpPr>
          <p:nvPr/>
        </p:nvGrpSpPr>
        <p:grpSpPr>
          <a:xfrm>
            <a:off x="6028685" y="-25161"/>
            <a:ext cx="6631144" cy="5188140"/>
            <a:chOff x="1815576" y="1024305"/>
            <a:chExt cx="7136976" cy="5583898"/>
          </a:xfrm>
          <a:solidFill>
            <a:srgbClr val="FFFFFF">
              <a:lumMod val="85000"/>
            </a:srgbClr>
          </a:solidFill>
        </p:grpSpPr>
        <p:grpSp>
          <p:nvGrpSpPr>
            <p:cNvPr id="62" name="Map">
              <a:extLst>
                <a:ext uri="{FF2B5EF4-FFF2-40B4-BE49-F238E27FC236}">
                  <a16:creationId xmlns:a16="http://schemas.microsoft.com/office/drawing/2014/main" id="{107FB871-909B-2475-761E-537D6E88E760}"/>
                </a:ext>
              </a:extLst>
            </p:cNvPr>
            <p:cNvGrpSpPr/>
            <p:nvPr/>
          </p:nvGrpSpPr>
          <p:grpSpPr>
            <a:xfrm>
              <a:off x="3198584" y="1024305"/>
              <a:ext cx="5753968" cy="5583898"/>
              <a:chOff x="3198584" y="1024305"/>
              <a:chExt cx="5753968" cy="5583898"/>
            </a:xfrm>
            <a:grpFill/>
          </p:grpSpPr>
          <p:grpSp>
            <p:nvGrpSpPr>
              <p:cNvPr id="95" name="Italy">
                <a:extLst>
                  <a:ext uri="{FF2B5EF4-FFF2-40B4-BE49-F238E27FC236}">
                    <a16:creationId xmlns:a16="http://schemas.microsoft.com/office/drawing/2014/main" id="{0946A0F9-A84E-A260-5B33-917B28AE8299}"/>
                  </a:ext>
                </a:extLst>
              </p:cNvPr>
              <p:cNvGrpSpPr/>
              <p:nvPr/>
            </p:nvGrpSpPr>
            <p:grpSpPr>
              <a:xfrm>
                <a:off x="4796621" y="5056960"/>
                <a:ext cx="1086163" cy="1439194"/>
                <a:chOff x="4796621" y="5056960"/>
                <a:chExt cx="1086163" cy="1439194"/>
              </a:xfrm>
              <a:grpFill/>
            </p:grpSpPr>
            <p:sp>
              <p:nvSpPr>
                <p:cNvPr id="145" name="Italy" descr="{&quot;Key&quot;:&quot;italy&quot;,&quot;Name&quot;:&quot;Italy&quot;,&quot;Value&quot;:1.0,&quot;Formula&quot;:&quot;&quot;,&quot;Text&quot;:&quot;&quot;,&quot;OfficeApplication&quot;:1,&quot;HasValue&quot;:true}">
                  <a:extLst>
                    <a:ext uri="{FF2B5EF4-FFF2-40B4-BE49-F238E27FC236}">
                      <a16:creationId xmlns:a16="http://schemas.microsoft.com/office/drawing/2014/main" id="{D126EE57-7331-CAAD-994F-B71706A4A0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74385" y="6330046"/>
                  <a:ext cx="258391" cy="166108"/>
                </a:xfrm>
                <a:custGeom>
                  <a:avLst/>
                  <a:gdLst>
                    <a:gd name="T0" fmla="*/ 108 w 112"/>
                    <a:gd name="T1" fmla="*/ 1 h 72"/>
                    <a:gd name="T2" fmla="*/ 101 w 112"/>
                    <a:gd name="T3" fmla="*/ 2 h 72"/>
                    <a:gd name="T4" fmla="*/ 96 w 112"/>
                    <a:gd name="T5" fmla="*/ 5 h 72"/>
                    <a:gd name="T6" fmla="*/ 84 w 112"/>
                    <a:gd name="T7" fmla="*/ 5 h 72"/>
                    <a:gd name="T8" fmla="*/ 79 w 112"/>
                    <a:gd name="T9" fmla="*/ 9 h 72"/>
                    <a:gd name="T10" fmla="*/ 73 w 112"/>
                    <a:gd name="T11" fmla="*/ 10 h 72"/>
                    <a:gd name="T12" fmla="*/ 52 w 112"/>
                    <a:gd name="T13" fmla="*/ 12 h 72"/>
                    <a:gd name="T14" fmla="*/ 48 w 112"/>
                    <a:gd name="T15" fmla="*/ 13 h 72"/>
                    <a:gd name="T16" fmla="*/ 44 w 112"/>
                    <a:gd name="T17" fmla="*/ 14 h 72"/>
                    <a:gd name="T18" fmla="*/ 40 w 112"/>
                    <a:gd name="T19" fmla="*/ 9 h 72"/>
                    <a:gd name="T20" fmla="*/ 27 w 112"/>
                    <a:gd name="T21" fmla="*/ 3 h 72"/>
                    <a:gd name="T22" fmla="*/ 16 w 112"/>
                    <a:gd name="T23" fmla="*/ 9 h 72"/>
                    <a:gd name="T24" fmla="*/ 12 w 112"/>
                    <a:gd name="T25" fmla="*/ 9 h 72"/>
                    <a:gd name="T26" fmla="*/ 6 w 112"/>
                    <a:gd name="T27" fmla="*/ 4 h 72"/>
                    <a:gd name="T28" fmla="*/ 3 w 112"/>
                    <a:gd name="T29" fmla="*/ 6 h 72"/>
                    <a:gd name="T30" fmla="*/ 2 w 112"/>
                    <a:gd name="T31" fmla="*/ 9 h 72"/>
                    <a:gd name="T32" fmla="*/ 1 w 112"/>
                    <a:gd name="T33" fmla="*/ 11 h 72"/>
                    <a:gd name="T34" fmla="*/ 0 w 112"/>
                    <a:gd name="T35" fmla="*/ 16 h 72"/>
                    <a:gd name="T36" fmla="*/ 1 w 112"/>
                    <a:gd name="T37" fmla="*/ 26 h 72"/>
                    <a:gd name="T38" fmla="*/ 5 w 112"/>
                    <a:gd name="T39" fmla="*/ 31 h 72"/>
                    <a:gd name="T40" fmla="*/ 16 w 112"/>
                    <a:gd name="T41" fmla="*/ 33 h 72"/>
                    <a:gd name="T42" fmla="*/ 24 w 112"/>
                    <a:gd name="T43" fmla="*/ 37 h 72"/>
                    <a:gd name="T44" fmla="*/ 33 w 112"/>
                    <a:gd name="T45" fmla="*/ 43 h 72"/>
                    <a:gd name="T46" fmla="*/ 40 w 112"/>
                    <a:gd name="T47" fmla="*/ 46 h 72"/>
                    <a:gd name="T48" fmla="*/ 45 w 112"/>
                    <a:gd name="T49" fmla="*/ 51 h 72"/>
                    <a:gd name="T50" fmla="*/ 50 w 112"/>
                    <a:gd name="T51" fmla="*/ 54 h 72"/>
                    <a:gd name="T52" fmla="*/ 56 w 112"/>
                    <a:gd name="T53" fmla="*/ 55 h 72"/>
                    <a:gd name="T54" fmla="*/ 65 w 112"/>
                    <a:gd name="T55" fmla="*/ 58 h 72"/>
                    <a:gd name="T56" fmla="*/ 71 w 112"/>
                    <a:gd name="T57" fmla="*/ 64 h 72"/>
                    <a:gd name="T58" fmla="*/ 78 w 112"/>
                    <a:gd name="T59" fmla="*/ 70 h 72"/>
                    <a:gd name="T60" fmla="*/ 85 w 112"/>
                    <a:gd name="T61" fmla="*/ 72 h 72"/>
                    <a:gd name="T62" fmla="*/ 95 w 112"/>
                    <a:gd name="T63" fmla="*/ 72 h 72"/>
                    <a:gd name="T64" fmla="*/ 96 w 112"/>
                    <a:gd name="T65" fmla="*/ 68 h 72"/>
                    <a:gd name="T66" fmla="*/ 101 w 112"/>
                    <a:gd name="T67" fmla="*/ 57 h 72"/>
                    <a:gd name="T68" fmla="*/ 97 w 112"/>
                    <a:gd name="T69" fmla="*/ 49 h 72"/>
                    <a:gd name="T70" fmla="*/ 96 w 112"/>
                    <a:gd name="T71" fmla="*/ 46 h 72"/>
                    <a:gd name="T72" fmla="*/ 94 w 112"/>
                    <a:gd name="T73" fmla="*/ 43 h 72"/>
                    <a:gd name="T74" fmla="*/ 94 w 112"/>
                    <a:gd name="T75" fmla="*/ 39 h 72"/>
                    <a:gd name="T76" fmla="*/ 101 w 112"/>
                    <a:gd name="T77" fmla="*/ 22 h 72"/>
                    <a:gd name="T78" fmla="*/ 110 w 112"/>
                    <a:gd name="T79" fmla="*/ 8 h 72"/>
                    <a:gd name="T80" fmla="*/ 112 w 112"/>
                    <a:gd name="T81" fmla="*/ 0 h 72"/>
                    <a:gd name="T82" fmla="*/ 110 w 112"/>
                    <a:gd name="T83" fmla="*/ 0 h 72"/>
                    <a:gd name="T84" fmla="*/ 108 w 112"/>
                    <a:gd name="T85" fmla="*/ 1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12" h="72">
                      <a:moveTo>
                        <a:pt x="108" y="1"/>
                      </a:moveTo>
                      <a:lnTo>
                        <a:pt x="101" y="2"/>
                      </a:lnTo>
                      <a:lnTo>
                        <a:pt x="96" y="5"/>
                      </a:lnTo>
                      <a:lnTo>
                        <a:pt x="84" y="5"/>
                      </a:lnTo>
                      <a:lnTo>
                        <a:pt x="79" y="9"/>
                      </a:lnTo>
                      <a:lnTo>
                        <a:pt x="73" y="10"/>
                      </a:lnTo>
                      <a:lnTo>
                        <a:pt x="52" y="12"/>
                      </a:lnTo>
                      <a:lnTo>
                        <a:pt x="48" y="13"/>
                      </a:lnTo>
                      <a:lnTo>
                        <a:pt x="44" y="14"/>
                      </a:lnTo>
                      <a:lnTo>
                        <a:pt x="40" y="9"/>
                      </a:lnTo>
                      <a:lnTo>
                        <a:pt x="27" y="3"/>
                      </a:lnTo>
                      <a:lnTo>
                        <a:pt x="16" y="9"/>
                      </a:lnTo>
                      <a:lnTo>
                        <a:pt x="12" y="9"/>
                      </a:lnTo>
                      <a:lnTo>
                        <a:pt x="6" y="4"/>
                      </a:lnTo>
                      <a:lnTo>
                        <a:pt x="3" y="6"/>
                      </a:lnTo>
                      <a:lnTo>
                        <a:pt x="2" y="9"/>
                      </a:lnTo>
                      <a:lnTo>
                        <a:pt x="1" y="11"/>
                      </a:lnTo>
                      <a:lnTo>
                        <a:pt x="0" y="16"/>
                      </a:lnTo>
                      <a:lnTo>
                        <a:pt x="1" y="26"/>
                      </a:lnTo>
                      <a:lnTo>
                        <a:pt x="5" y="31"/>
                      </a:lnTo>
                      <a:lnTo>
                        <a:pt x="16" y="33"/>
                      </a:lnTo>
                      <a:lnTo>
                        <a:pt x="24" y="37"/>
                      </a:lnTo>
                      <a:lnTo>
                        <a:pt x="33" y="43"/>
                      </a:lnTo>
                      <a:lnTo>
                        <a:pt x="40" y="46"/>
                      </a:lnTo>
                      <a:lnTo>
                        <a:pt x="45" y="51"/>
                      </a:lnTo>
                      <a:lnTo>
                        <a:pt x="50" y="54"/>
                      </a:lnTo>
                      <a:lnTo>
                        <a:pt x="56" y="55"/>
                      </a:lnTo>
                      <a:lnTo>
                        <a:pt x="65" y="58"/>
                      </a:lnTo>
                      <a:lnTo>
                        <a:pt x="71" y="64"/>
                      </a:lnTo>
                      <a:lnTo>
                        <a:pt x="78" y="70"/>
                      </a:lnTo>
                      <a:lnTo>
                        <a:pt x="85" y="72"/>
                      </a:lnTo>
                      <a:lnTo>
                        <a:pt x="95" y="72"/>
                      </a:lnTo>
                      <a:lnTo>
                        <a:pt x="96" y="68"/>
                      </a:lnTo>
                      <a:lnTo>
                        <a:pt x="101" y="57"/>
                      </a:lnTo>
                      <a:lnTo>
                        <a:pt x="97" y="49"/>
                      </a:lnTo>
                      <a:lnTo>
                        <a:pt x="96" y="46"/>
                      </a:lnTo>
                      <a:lnTo>
                        <a:pt x="94" y="43"/>
                      </a:lnTo>
                      <a:lnTo>
                        <a:pt x="94" y="39"/>
                      </a:lnTo>
                      <a:lnTo>
                        <a:pt x="101" y="22"/>
                      </a:lnTo>
                      <a:lnTo>
                        <a:pt x="110" y="8"/>
                      </a:lnTo>
                      <a:lnTo>
                        <a:pt x="112" y="0"/>
                      </a:lnTo>
                      <a:lnTo>
                        <a:pt x="110" y="0"/>
                      </a:lnTo>
                      <a:lnTo>
                        <a:pt x="108" y="1"/>
                      </a:lnTo>
                      <a:close/>
                    </a:path>
                  </a:pathLst>
                </a:custGeom>
                <a:solidFill>
                  <a:srgbClr val="405F9E"/>
                </a:solidFill>
                <a:ln w="635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609585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219170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828754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438339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3047924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657509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4267093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876678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914354">
                    <a:defRPr/>
                  </a:pPr>
                  <a:endParaRPr lang="en-GB" sz="800">
                    <a:solidFill>
                      <a:srgbClr val="404040"/>
                    </a:solidFill>
                  </a:endParaRPr>
                </a:p>
              </p:txBody>
            </p:sp>
            <p:sp>
              <p:nvSpPr>
                <p:cNvPr id="146" name="Italy" descr="{&quot;Key&quot;:&quot;italy&quot;,&quot;Name&quot;:&quot;Italy&quot;,&quot;Value&quot;:1.0,&quot;Formula&quot;:&quot;&quot;,&quot;Text&quot;:&quot;&quot;,&quot;OfficeApplication&quot;:1,&quot;HasValue&quot;:true}">
                  <a:extLst>
                    <a:ext uri="{FF2B5EF4-FFF2-40B4-BE49-F238E27FC236}">
                      <a16:creationId xmlns:a16="http://schemas.microsoft.com/office/drawing/2014/main" id="{446993A8-4E5E-6226-9F01-8665B8C5286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52119" y="5814605"/>
                  <a:ext cx="126889" cy="265313"/>
                </a:xfrm>
                <a:custGeom>
                  <a:avLst/>
                  <a:gdLst>
                    <a:gd name="T0" fmla="*/ 52 w 55"/>
                    <a:gd name="T1" fmla="*/ 29 h 115"/>
                    <a:gd name="T2" fmla="*/ 49 w 55"/>
                    <a:gd name="T3" fmla="*/ 16 h 115"/>
                    <a:gd name="T4" fmla="*/ 46 w 55"/>
                    <a:gd name="T5" fmla="*/ 8 h 115"/>
                    <a:gd name="T6" fmla="*/ 43 w 55"/>
                    <a:gd name="T7" fmla="*/ 6 h 115"/>
                    <a:gd name="T8" fmla="*/ 40 w 55"/>
                    <a:gd name="T9" fmla="*/ 4 h 115"/>
                    <a:gd name="T10" fmla="*/ 34 w 55"/>
                    <a:gd name="T11" fmla="*/ 0 h 115"/>
                    <a:gd name="T12" fmla="*/ 29 w 55"/>
                    <a:gd name="T13" fmla="*/ 7 h 115"/>
                    <a:gd name="T14" fmla="*/ 26 w 55"/>
                    <a:gd name="T15" fmla="*/ 8 h 115"/>
                    <a:gd name="T16" fmla="*/ 12 w 55"/>
                    <a:gd name="T17" fmla="*/ 21 h 115"/>
                    <a:gd name="T18" fmla="*/ 6 w 55"/>
                    <a:gd name="T19" fmla="*/ 22 h 115"/>
                    <a:gd name="T20" fmla="*/ 0 w 55"/>
                    <a:gd name="T21" fmla="*/ 17 h 115"/>
                    <a:gd name="T22" fmla="*/ 0 w 55"/>
                    <a:gd name="T23" fmla="*/ 18 h 115"/>
                    <a:gd name="T24" fmla="*/ 0 w 55"/>
                    <a:gd name="T25" fmla="*/ 32 h 115"/>
                    <a:gd name="T26" fmla="*/ 2 w 55"/>
                    <a:gd name="T27" fmla="*/ 35 h 115"/>
                    <a:gd name="T28" fmla="*/ 4 w 55"/>
                    <a:gd name="T29" fmla="*/ 35 h 115"/>
                    <a:gd name="T30" fmla="*/ 6 w 55"/>
                    <a:gd name="T31" fmla="*/ 37 h 115"/>
                    <a:gd name="T32" fmla="*/ 7 w 55"/>
                    <a:gd name="T33" fmla="*/ 42 h 115"/>
                    <a:gd name="T34" fmla="*/ 10 w 55"/>
                    <a:gd name="T35" fmla="*/ 46 h 115"/>
                    <a:gd name="T36" fmla="*/ 10 w 55"/>
                    <a:gd name="T37" fmla="*/ 54 h 115"/>
                    <a:gd name="T38" fmla="*/ 9 w 55"/>
                    <a:gd name="T39" fmla="*/ 58 h 115"/>
                    <a:gd name="T40" fmla="*/ 10 w 55"/>
                    <a:gd name="T41" fmla="*/ 65 h 115"/>
                    <a:gd name="T42" fmla="*/ 12 w 55"/>
                    <a:gd name="T43" fmla="*/ 67 h 115"/>
                    <a:gd name="T44" fmla="*/ 11 w 55"/>
                    <a:gd name="T45" fmla="*/ 71 h 115"/>
                    <a:gd name="T46" fmla="*/ 9 w 55"/>
                    <a:gd name="T47" fmla="*/ 73 h 115"/>
                    <a:gd name="T48" fmla="*/ 6 w 55"/>
                    <a:gd name="T49" fmla="*/ 87 h 115"/>
                    <a:gd name="T50" fmla="*/ 9 w 55"/>
                    <a:gd name="T51" fmla="*/ 92 h 115"/>
                    <a:gd name="T52" fmla="*/ 9 w 55"/>
                    <a:gd name="T53" fmla="*/ 96 h 115"/>
                    <a:gd name="T54" fmla="*/ 10 w 55"/>
                    <a:gd name="T55" fmla="*/ 101 h 115"/>
                    <a:gd name="T56" fmla="*/ 17 w 55"/>
                    <a:gd name="T57" fmla="*/ 112 h 115"/>
                    <a:gd name="T58" fmla="*/ 21 w 55"/>
                    <a:gd name="T59" fmla="*/ 115 h 115"/>
                    <a:gd name="T60" fmla="*/ 26 w 55"/>
                    <a:gd name="T61" fmla="*/ 113 h 115"/>
                    <a:gd name="T62" fmla="*/ 30 w 55"/>
                    <a:gd name="T63" fmla="*/ 110 h 115"/>
                    <a:gd name="T64" fmla="*/ 34 w 55"/>
                    <a:gd name="T65" fmla="*/ 103 h 115"/>
                    <a:gd name="T66" fmla="*/ 37 w 55"/>
                    <a:gd name="T67" fmla="*/ 100 h 115"/>
                    <a:gd name="T68" fmla="*/ 46 w 55"/>
                    <a:gd name="T69" fmla="*/ 102 h 115"/>
                    <a:gd name="T70" fmla="*/ 50 w 55"/>
                    <a:gd name="T71" fmla="*/ 99 h 115"/>
                    <a:gd name="T72" fmla="*/ 50 w 55"/>
                    <a:gd name="T73" fmla="*/ 96 h 115"/>
                    <a:gd name="T74" fmla="*/ 52 w 55"/>
                    <a:gd name="T75" fmla="*/ 91 h 115"/>
                    <a:gd name="T76" fmla="*/ 52 w 55"/>
                    <a:gd name="T77" fmla="*/ 74 h 115"/>
                    <a:gd name="T78" fmla="*/ 52 w 55"/>
                    <a:gd name="T79" fmla="*/ 53 h 115"/>
                    <a:gd name="T80" fmla="*/ 55 w 55"/>
                    <a:gd name="T81" fmla="*/ 42 h 115"/>
                    <a:gd name="T82" fmla="*/ 52 w 55"/>
                    <a:gd name="T83" fmla="*/ 29 h 1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55" h="115">
                      <a:moveTo>
                        <a:pt x="52" y="29"/>
                      </a:moveTo>
                      <a:lnTo>
                        <a:pt x="49" y="16"/>
                      </a:lnTo>
                      <a:lnTo>
                        <a:pt x="46" y="8"/>
                      </a:lnTo>
                      <a:lnTo>
                        <a:pt x="43" y="6"/>
                      </a:lnTo>
                      <a:lnTo>
                        <a:pt x="40" y="4"/>
                      </a:lnTo>
                      <a:lnTo>
                        <a:pt x="34" y="0"/>
                      </a:lnTo>
                      <a:lnTo>
                        <a:pt x="29" y="7"/>
                      </a:lnTo>
                      <a:lnTo>
                        <a:pt x="26" y="8"/>
                      </a:lnTo>
                      <a:lnTo>
                        <a:pt x="12" y="21"/>
                      </a:lnTo>
                      <a:lnTo>
                        <a:pt x="6" y="22"/>
                      </a:lnTo>
                      <a:lnTo>
                        <a:pt x="0" y="17"/>
                      </a:lnTo>
                      <a:lnTo>
                        <a:pt x="0" y="18"/>
                      </a:lnTo>
                      <a:lnTo>
                        <a:pt x="0" y="32"/>
                      </a:lnTo>
                      <a:lnTo>
                        <a:pt x="2" y="35"/>
                      </a:lnTo>
                      <a:lnTo>
                        <a:pt x="4" y="35"/>
                      </a:lnTo>
                      <a:lnTo>
                        <a:pt x="6" y="37"/>
                      </a:lnTo>
                      <a:lnTo>
                        <a:pt x="7" y="42"/>
                      </a:lnTo>
                      <a:lnTo>
                        <a:pt x="10" y="46"/>
                      </a:lnTo>
                      <a:lnTo>
                        <a:pt x="10" y="54"/>
                      </a:lnTo>
                      <a:lnTo>
                        <a:pt x="9" y="58"/>
                      </a:lnTo>
                      <a:lnTo>
                        <a:pt x="10" y="65"/>
                      </a:lnTo>
                      <a:lnTo>
                        <a:pt x="12" y="67"/>
                      </a:lnTo>
                      <a:lnTo>
                        <a:pt x="11" y="71"/>
                      </a:lnTo>
                      <a:lnTo>
                        <a:pt x="9" y="73"/>
                      </a:lnTo>
                      <a:lnTo>
                        <a:pt x="6" y="87"/>
                      </a:lnTo>
                      <a:lnTo>
                        <a:pt x="9" y="92"/>
                      </a:lnTo>
                      <a:lnTo>
                        <a:pt x="9" y="96"/>
                      </a:lnTo>
                      <a:lnTo>
                        <a:pt x="10" y="101"/>
                      </a:lnTo>
                      <a:lnTo>
                        <a:pt x="17" y="112"/>
                      </a:lnTo>
                      <a:lnTo>
                        <a:pt x="21" y="115"/>
                      </a:lnTo>
                      <a:lnTo>
                        <a:pt x="26" y="113"/>
                      </a:lnTo>
                      <a:lnTo>
                        <a:pt x="30" y="110"/>
                      </a:lnTo>
                      <a:lnTo>
                        <a:pt x="34" y="103"/>
                      </a:lnTo>
                      <a:lnTo>
                        <a:pt x="37" y="100"/>
                      </a:lnTo>
                      <a:lnTo>
                        <a:pt x="46" y="102"/>
                      </a:lnTo>
                      <a:lnTo>
                        <a:pt x="50" y="99"/>
                      </a:lnTo>
                      <a:lnTo>
                        <a:pt x="50" y="96"/>
                      </a:lnTo>
                      <a:lnTo>
                        <a:pt x="52" y="91"/>
                      </a:lnTo>
                      <a:lnTo>
                        <a:pt x="52" y="74"/>
                      </a:lnTo>
                      <a:lnTo>
                        <a:pt x="52" y="53"/>
                      </a:lnTo>
                      <a:lnTo>
                        <a:pt x="55" y="42"/>
                      </a:lnTo>
                      <a:lnTo>
                        <a:pt x="52" y="29"/>
                      </a:lnTo>
                      <a:close/>
                    </a:path>
                  </a:pathLst>
                </a:custGeom>
                <a:solidFill>
                  <a:srgbClr val="405F9E"/>
                </a:solidFill>
                <a:ln w="635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609585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219170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828754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438339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3047924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657509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4267093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876678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914354">
                    <a:defRPr/>
                  </a:pPr>
                  <a:endParaRPr lang="en-GB" sz="800">
                    <a:solidFill>
                      <a:srgbClr val="404040"/>
                    </a:solidFill>
                  </a:endParaRPr>
                </a:p>
              </p:txBody>
            </p:sp>
            <p:sp>
              <p:nvSpPr>
                <p:cNvPr id="147" name="Italy" descr="{&quot;Key&quot;:&quot;italy&quot;,&quot;Name&quot;:&quot;Italy&quot;,&quot;Value&quot;:1.0,&quot;Formula&quot;:&quot;&quot;,&quot;Text&quot;:&quot;&quot;,&quot;OfficeApplication&quot;:1,&quot;HasValue&quot;:true}">
                  <a:extLst>
                    <a:ext uri="{FF2B5EF4-FFF2-40B4-BE49-F238E27FC236}">
                      <a16:creationId xmlns:a16="http://schemas.microsoft.com/office/drawing/2014/main" id="{D604329F-FAC3-BB18-FFCC-333F1745BD5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96621" y="5056960"/>
                  <a:ext cx="1086163" cy="1256192"/>
                </a:xfrm>
                <a:custGeom>
                  <a:avLst/>
                  <a:gdLst>
                    <a:gd name="T0" fmla="*/ 385 w 428"/>
                    <a:gd name="T1" fmla="*/ 310 h 450"/>
                    <a:gd name="T2" fmla="*/ 342 w 428"/>
                    <a:gd name="T3" fmla="*/ 286 h 450"/>
                    <a:gd name="T4" fmla="*/ 334 w 428"/>
                    <a:gd name="T5" fmla="*/ 278 h 450"/>
                    <a:gd name="T6" fmla="*/ 339 w 428"/>
                    <a:gd name="T7" fmla="*/ 259 h 450"/>
                    <a:gd name="T8" fmla="*/ 330 w 428"/>
                    <a:gd name="T9" fmla="*/ 261 h 450"/>
                    <a:gd name="T10" fmla="*/ 301 w 428"/>
                    <a:gd name="T11" fmla="*/ 257 h 450"/>
                    <a:gd name="T12" fmla="*/ 286 w 428"/>
                    <a:gd name="T13" fmla="*/ 247 h 450"/>
                    <a:gd name="T14" fmla="*/ 260 w 428"/>
                    <a:gd name="T15" fmla="*/ 207 h 450"/>
                    <a:gd name="T16" fmla="*/ 246 w 428"/>
                    <a:gd name="T17" fmla="*/ 176 h 450"/>
                    <a:gd name="T18" fmla="*/ 227 w 428"/>
                    <a:gd name="T19" fmla="*/ 163 h 450"/>
                    <a:gd name="T20" fmla="*/ 203 w 428"/>
                    <a:gd name="T21" fmla="*/ 139 h 450"/>
                    <a:gd name="T22" fmla="*/ 208 w 428"/>
                    <a:gd name="T23" fmla="*/ 109 h 450"/>
                    <a:gd name="T24" fmla="*/ 202 w 428"/>
                    <a:gd name="T25" fmla="*/ 88 h 450"/>
                    <a:gd name="T26" fmla="*/ 215 w 428"/>
                    <a:gd name="T27" fmla="*/ 82 h 450"/>
                    <a:gd name="T28" fmla="*/ 253 w 428"/>
                    <a:gd name="T29" fmla="*/ 70 h 450"/>
                    <a:gd name="T30" fmla="*/ 256 w 428"/>
                    <a:gd name="T31" fmla="*/ 81 h 450"/>
                    <a:gd name="T32" fmla="*/ 260 w 428"/>
                    <a:gd name="T33" fmla="*/ 72 h 450"/>
                    <a:gd name="T34" fmla="*/ 249 w 428"/>
                    <a:gd name="T35" fmla="*/ 65 h 450"/>
                    <a:gd name="T36" fmla="*/ 249 w 428"/>
                    <a:gd name="T37" fmla="*/ 45 h 450"/>
                    <a:gd name="T38" fmla="*/ 246 w 428"/>
                    <a:gd name="T39" fmla="*/ 36 h 450"/>
                    <a:gd name="T40" fmla="*/ 217 w 428"/>
                    <a:gd name="T41" fmla="*/ 24 h 450"/>
                    <a:gd name="T42" fmla="*/ 197 w 428"/>
                    <a:gd name="T43" fmla="*/ 9 h 450"/>
                    <a:gd name="T44" fmla="*/ 191 w 428"/>
                    <a:gd name="T45" fmla="*/ 0 h 450"/>
                    <a:gd name="T46" fmla="*/ 156 w 428"/>
                    <a:gd name="T47" fmla="*/ 10 h 450"/>
                    <a:gd name="T48" fmla="*/ 132 w 428"/>
                    <a:gd name="T49" fmla="*/ 19 h 450"/>
                    <a:gd name="T50" fmla="*/ 121 w 428"/>
                    <a:gd name="T51" fmla="*/ 30 h 450"/>
                    <a:gd name="T52" fmla="*/ 110 w 428"/>
                    <a:gd name="T53" fmla="*/ 38 h 450"/>
                    <a:gd name="T54" fmla="*/ 91 w 428"/>
                    <a:gd name="T55" fmla="*/ 38 h 450"/>
                    <a:gd name="T56" fmla="*/ 77 w 428"/>
                    <a:gd name="T57" fmla="*/ 58 h 450"/>
                    <a:gd name="T58" fmla="*/ 54 w 428"/>
                    <a:gd name="T59" fmla="*/ 38 h 450"/>
                    <a:gd name="T60" fmla="*/ 40 w 428"/>
                    <a:gd name="T61" fmla="*/ 59 h 450"/>
                    <a:gd name="T62" fmla="*/ 3 w 428"/>
                    <a:gd name="T63" fmla="*/ 64 h 450"/>
                    <a:gd name="T64" fmla="*/ 12 w 428"/>
                    <a:gd name="T65" fmla="*/ 93 h 450"/>
                    <a:gd name="T66" fmla="*/ 0 w 428"/>
                    <a:gd name="T67" fmla="*/ 112 h 450"/>
                    <a:gd name="T68" fmla="*/ 6 w 428"/>
                    <a:gd name="T69" fmla="*/ 128 h 450"/>
                    <a:gd name="T70" fmla="*/ 29 w 428"/>
                    <a:gd name="T71" fmla="*/ 150 h 450"/>
                    <a:gd name="T72" fmla="*/ 31 w 428"/>
                    <a:gd name="T73" fmla="*/ 168 h 450"/>
                    <a:gd name="T74" fmla="*/ 54 w 428"/>
                    <a:gd name="T75" fmla="*/ 158 h 450"/>
                    <a:gd name="T76" fmla="*/ 76 w 428"/>
                    <a:gd name="T77" fmla="*/ 138 h 450"/>
                    <a:gd name="T78" fmla="*/ 126 w 428"/>
                    <a:gd name="T79" fmla="*/ 160 h 450"/>
                    <a:gd name="T80" fmla="*/ 140 w 428"/>
                    <a:gd name="T81" fmla="*/ 202 h 450"/>
                    <a:gd name="T82" fmla="*/ 162 w 428"/>
                    <a:gd name="T83" fmla="*/ 238 h 450"/>
                    <a:gd name="T84" fmla="*/ 188 w 428"/>
                    <a:gd name="T85" fmla="*/ 254 h 450"/>
                    <a:gd name="T86" fmla="*/ 230 w 428"/>
                    <a:gd name="T87" fmla="*/ 294 h 450"/>
                    <a:gd name="T88" fmla="*/ 265 w 428"/>
                    <a:gd name="T89" fmla="*/ 306 h 450"/>
                    <a:gd name="T90" fmla="*/ 279 w 428"/>
                    <a:gd name="T91" fmla="*/ 324 h 450"/>
                    <a:gd name="T92" fmla="*/ 301 w 428"/>
                    <a:gd name="T93" fmla="*/ 334 h 450"/>
                    <a:gd name="T94" fmla="*/ 314 w 428"/>
                    <a:gd name="T95" fmla="*/ 349 h 450"/>
                    <a:gd name="T96" fmla="*/ 328 w 428"/>
                    <a:gd name="T97" fmla="*/ 356 h 450"/>
                    <a:gd name="T98" fmla="*/ 341 w 428"/>
                    <a:gd name="T99" fmla="*/ 394 h 450"/>
                    <a:gd name="T100" fmla="*/ 335 w 428"/>
                    <a:gd name="T101" fmla="*/ 424 h 450"/>
                    <a:gd name="T102" fmla="*/ 329 w 428"/>
                    <a:gd name="T103" fmla="*/ 450 h 450"/>
                    <a:gd name="T104" fmla="*/ 339 w 428"/>
                    <a:gd name="T105" fmla="*/ 450 h 450"/>
                    <a:gd name="T106" fmla="*/ 353 w 428"/>
                    <a:gd name="T107" fmla="*/ 431 h 450"/>
                    <a:gd name="T108" fmla="*/ 361 w 428"/>
                    <a:gd name="T109" fmla="*/ 408 h 450"/>
                    <a:gd name="T110" fmla="*/ 377 w 428"/>
                    <a:gd name="T111" fmla="*/ 399 h 450"/>
                    <a:gd name="T112" fmla="*/ 374 w 428"/>
                    <a:gd name="T113" fmla="*/ 377 h 450"/>
                    <a:gd name="T114" fmla="*/ 358 w 428"/>
                    <a:gd name="T115" fmla="*/ 358 h 450"/>
                    <a:gd name="T116" fmla="*/ 381 w 428"/>
                    <a:gd name="T117" fmla="*/ 329 h 450"/>
                    <a:gd name="T118" fmla="*/ 410 w 428"/>
                    <a:gd name="T119" fmla="*/ 348 h 450"/>
                    <a:gd name="T120" fmla="*/ 428 w 428"/>
                    <a:gd name="T121" fmla="*/ 348 h 4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428" h="450">
                      <a:moveTo>
                        <a:pt x="422" y="337"/>
                      </a:moveTo>
                      <a:lnTo>
                        <a:pt x="416" y="331"/>
                      </a:lnTo>
                      <a:lnTo>
                        <a:pt x="408" y="319"/>
                      </a:lnTo>
                      <a:lnTo>
                        <a:pt x="385" y="310"/>
                      </a:lnTo>
                      <a:lnTo>
                        <a:pt x="380" y="303"/>
                      </a:lnTo>
                      <a:lnTo>
                        <a:pt x="372" y="299"/>
                      </a:lnTo>
                      <a:lnTo>
                        <a:pt x="348" y="289"/>
                      </a:lnTo>
                      <a:lnTo>
                        <a:pt x="342" y="286"/>
                      </a:lnTo>
                      <a:lnTo>
                        <a:pt x="339" y="285"/>
                      </a:lnTo>
                      <a:lnTo>
                        <a:pt x="336" y="285"/>
                      </a:lnTo>
                      <a:lnTo>
                        <a:pt x="334" y="282"/>
                      </a:lnTo>
                      <a:lnTo>
                        <a:pt x="334" y="278"/>
                      </a:lnTo>
                      <a:lnTo>
                        <a:pt x="338" y="274"/>
                      </a:lnTo>
                      <a:lnTo>
                        <a:pt x="342" y="271"/>
                      </a:lnTo>
                      <a:lnTo>
                        <a:pt x="343" y="264"/>
                      </a:lnTo>
                      <a:lnTo>
                        <a:pt x="339" y="259"/>
                      </a:lnTo>
                      <a:lnTo>
                        <a:pt x="332" y="260"/>
                      </a:lnTo>
                      <a:lnTo>
                        <a:pt x="329" y="261"/>
                      </a:lnTo>
                      <a:lnTo>
                        <a:pt x="335" y="260"/>
                      </a:lnTo>
                      <a:lnTo>
                        <a:pt x="330" y="261"/>
                      </a:lnTo>
                      <a:lnTo>
                        <a:pt x="329" y="261"/>
                      </a:lnTo>
                      <a:lnTo>
                        <a:pt x="309" y="261"/>
                      </a:lnTo>
                      <a:lnTo>
                        <a:pt x="309" y="266"/>
                      </a:lnTo>
                      <a:lnTo>
                        <a:pt x="301" y="257"/>
                      </a:lnTo>
                      <a:lnTo>
                        <a:pt x="294" y="253"/>
                      </a:lnTo>
                      <a:lnTo>
                        <a:pt x="291" y="252"/>
                      </a:lnTo>
                      <a:lnTo>
                        <a:pt x="289" y="247"/>
                      </a:lnTo>
                      <a:lnTo>
                        <a:pt x="286" y="247"/>
                      </a:lnTo>
                      <a:lnTo>
                        <a:pt x="272" y="233"/>
                      </a:lnTo>
                      <a:lnTo>
                        <a:pt x="269" y="228"/>
                      </a:lnTo>
                      <a:lnTo>
                        <a:pt x="264" y="219"/>
                      </a:lnTo>
                      <a:lnTo>
                        <a:pt x="260" y="207"/>
                      </a:lnTo>
                      <a:lnTo>
                        <a:pt x="258" y="204"/>
                      </a:lnTo>
                      <a:lnTo>
                        <a:pt x="253" y="188"/>
                      </a:lnTo>
                      <a:lnTo>
                        <a:pt x="248" y="179"/>
                      </a:lnTo>
                      <a:lnTo>
                        <a:pt x="246" y="176"/>
                      </a:lnTo>
                      <a:lnTo>
                        <a:pt x="241" y="176"/>
                      </a:lnTo>
                      <a:lnTo>
                        <a:pt x="240" y="174"/>
                      </a:lnTo>
                      <a:lnTo>
                        <a:pt x="231" y="168"/>
                      </a:lnTo>
                      <a:lnTo>
                        <a:pt x="227" y="163"/>
                      </a:lnTo>
                      <a:lnTo>
                        <a:pt x="213" y="157"/>
                      </a:lnTo>
                      <a:lnTo>
                        <a:pt x="208" y="151"/>
                      </a:lnTo>
                      <a:lnTo>
                        <a:pt x="205" y="146"/>
                      </a:lnTo>
                      <a:lnTo>
                        <a:pt x="203" y="139"/>
                      </a:lnTo>
                      <a:lnTo>
                        <a:pt x="203" y="127"/>
                      </a:lnTo>
                      <a:lnTo>
                        <a:pt x="204" y="116"/>
                      </a:lnTo>
                      <a:lnTo>
                        <a:pt x="208" y="113"/>
                      </a:lnTo>
                      <a:lnTo>
                        <a:pt x="208" y="109"/>
                      </a:lnTo>
                      <a:lnTo>
                        <a:pt x="207" y="104"/>
                      </a:lnTo>
                      <a:lnTo>
                        <a:pt x="202" y="103"/>
                      </a:lnTo>
                      <a:lnTo>
                        <a:pt x="201" y="92"/>
                      </a:lnTo>
                      <a:lnTo>
                        <a:pt x="202" y="88"/>
                      </a:lnTo>
                      <a:lnTo>
                        <a:pt x="208" y="82"/>
                      </a:lnTo>
                      <a:lnTo>
                        <a:pt x="212" y="82"/>
                      </a:lnTo>
                      <a:lnTo>
                        <a:pt x="212" y="83"/>
                      </a:lnTo>
                      <a:lnTo>
                        <a:pt x="215" y="82"/>
                      </a:lnTo>
                      <a:lnTo>
                        <a:pt x="237" y="71"/>
                      </a:lnTo>
                      <a:lnTo>
                        <a:pt x="244" y="72"/>
                      </a:lnTo>
                      <a:lnTo>
                        <a:pt x="249" y="69"/>
                      </a:lnTo>
                      <a:lnTo>
                        <a:pt x="253" y="70"/>
                      </a:lnTo>
                      <a:lnTo>
                        <a:pt x="255" y="75"/>
                      </a:lnTo>
                      <a:lnTo>
                        <a:pt x="252" y="79"/>
                      </a:lnTo>
                      <a:lnTo>
                        <a:pt x="252" y="80"/>
                      </a:lnTo>
                      <a:lnTo>
                        <a:pt x="256" y="81"/>
                      </a:lnTo>
                      <a:lnTo>
                        <a:pt x="259" y="80"/>
                      </a:lnTo>
                      <a:lnTo>
                        <a:pt x="261" y="78"/>
                      </a:lnTo>
                      <a:lnTo>
                        <a:pt x="262" y="76"/>
                      </a:lnTo>
                      <a:lnTo>
                        <a:pt x="260" y="72"/>
                      </a:lnTo>
                      <a:lnTo>
                        <a:pt x="258" y="71"/>
                      </a:lnTo>
                      <a:lnTo>
                        <a:pt x="257" y="68"/>
                      </a:lnTo>
                      <a:lnTo>
                        <a:pt x="251" y="66"/>
                      </a:lnTo>
                      <a:lnTo>
                        <a:pt x="249" y="65"/>
                      </a:lnTo>
                      <a:lnTo>
                        <a:pt x="249" y="59"/>
                      </a:lnTo>
                      <a:lnTo>
                        <a:pt x="246" y="55"/>
                      </a:lnTo>
                      <a:lnTo>
                        <a:pt x="247" y="49"/>
                      </a:lnTo>
                      <a:lnTo>
                        <a:pt x="249" y="45"/>
                      </a:lnTo>
                      <a:lnTo>
                        <a:pt x="245" y="46"/>
                      </a:lnTo>
                      <a:lnTo>
                        <a:pt x="244" y="45"/>
                      </a:lnTo>
                      <a:lnTo>
                        <a:pt x="244" y="42"/>
                      </a:lnTo>
                      <a:lnTo>
                        <a:pt x="246" y="36"/>
                      </a:lnTo>
                      <a:lnTo>
                        <a:pt x="252" y="30"/>
                      </a:lnTo>
                      <a:lnTo>
                        <a:pt x="247" y="30"/>
                      </a:lnTo>
                      <a:lnTo>
                        <a:pt x="238" y="26"/>
                      </a:lnTo>
                      <a:lnTo>
                        <a:pt x="217" y="24"/>
                      </a:lnTo>
                      <a:lnTo>
                        <a:pt x="211" y="20"/>
                      </a:lnTo>
                      <a:lnTo>
                        <a:pt x="208" y="19"/>
                      </a:lnTo>
                      <a:lnTo>
                        <a:pt x="200" y="14"/>
                      </a:lnTo>
                      <a:lnTo>
                        <a:pt x="197" y="9"/>
                      </a:lnTo>
                      <a:lnTo>
                        <a:pt x="196" y="4"/>
                      </a:lnTo>
                      <a:lnTo>
                        <a:pt x="196" y="1"/>
                      </a:lnTo>
                      <a:lnTo>
                        <a:pt x="195" y="0"/>
                      </a:lnTo>
                      <a:lnTo>
                        <a:pt x="191" y="0"/>
                      </a:lnTo>
                      <a:lnTo>
                        <a:pt x="188" y="2"/>
                      </a:lnTo>
                      <a:lnTo>
                        <a:pt x="181" y="3"/>
                      </a:lnTo>
                      <a:lnTo>
                        <a:pt x="169" y="4"/>
                      </a:lnTo>
                      <a:lnTo>
                        <a:pt x="156" y="10"/>
                      </a:lnTo>
                      <a:lnTo>
                        <a:pt x="145" y="13"/>
                      </a:lnTo>
                      <a:lnTo>
                        <a:pt x="143" y="13"/>
                      </a:lnTo>
                      <a:lnTo>
                        <a:pt x="134" y="11"/>
                      </a:lnTo>
                      <a:lnTo>
                        <a:pt x="132" y="19"/>
                      </a:lnTo>
                      <a:lnTo>
                        <a:pt x="133" y="23"/>
                      </a:lnTo>
                      <a:lnTo>
                        <a:pt x="129" y="24"/>
                      </a:lnTo>
                      <a:lnTo>
                        <a:pt x="123" y="25"/>
                      </a:lnTo>
                      <a:lnTo>
                        <a:pt x="121" y="30"/>
                      </a:lnTo>
                      <a:lnTo>
                        <a:pt x="122" y="34"/>
                      </a:lnTo>
                      <a:lnTo>
                        <a:pt x="124" y="38"/>
                      </a:lnTo>
                      <a:lnTo>
                        <a:pt x="123" y="41"/>
                      </a:lnTo>
                      <a:lnTo>
                        <a:pt x="110" y="38"/>
                      </a:lnTo>
                      <a:lnTo>
                        <a:pt x="102" y="37"/>
                      </a:lnTo>
                      <a:lnTo>
                        <a:pt x="98" y="34"/>
                      </a:lnTo>
                      <a:lnTo>
                        <a:pt x="92" y="32"/>
                      </a:lnTo>
                      <a:lnTo>
                        <a:pt x="91" y="38"/>
                      </a:lnTo>
                      <a:lnTo>
                        <a:pt x="84" y="52"/>
                      </a:lnTo>
                      <a:lnTo>
                        <a:pt x="82" y="58"/>
                      </a:lnTo>
                      <a:lnTo>
                        <a:pt x="81" y="61"/>
                      </a:lnTo>
                      <a:lnTo>
                        <a:pt x="77" y="58"/>
                      </a:lnTo>
                      <a:lnTo>
                        <a:pt x="72" y="53"/>
                      </a:lnTo>
                      <a:lnTo>
                        <a:pt x="65" y="47"/>
                      </a:lnTo>
                      <a:lnTo>
                        <a:pt x="61" y="35"/>
                      </a:lnTo>
                      <a:lnTo>
                        <a:pt x="54" y="38"/>
                      </a:lnTo>
                      <a:lnTo>
                        <a:pt x="49" y="44"/>
                      </a:lnTo>
                      <a:lnTo>
                        <a:pt x="49" y="49"/>
                      </a:lnTo>
                      <a:lnTo>
                        <a:pt x="47" y="53"/>
                      </a:lnTo>
                      <a:lnTo>
                        <a:pt x="40" y="59"/>
                      </a:lnTo>
                      <a:lnTo>
                        <a:pt x="32" y="58"/>
                      </a:lnTo>
                      <a:lnTo>
                        <a:pt x="15" y="63"/>
                      </a:lnTo>
                      <a:lnTo>
                        <a:pt x="10" y="63"/>
                      </a:lnTo>
                      <a:lnTo>
                        <a:pt x="3" y="64"/>
                      </a:lnTo>
                      <a:lnTo>
                        <a:pt x="2" y="67"/>
                      </a:lnTo>
                      <a:lnTo>
                        <a:pt x="3" y="70"/>
                      </a:lnTo>
                      <a:lnTo>
                        <a:pt x="11" y="88"/>
                      </a:lnTo>
                      <a:lnTo>
                        <a:pt x="12" y="93"/>
                      </a:lnTo>
                      <a:lnTo>
                        <a:pt x="4" y="99"/>
                      </a:lnTo>
                      <a:lnTo>
                        <a:pt x="1" y="103"/>
                      </a:lnTo>
                      <a:lnTo>
                        <a:pt x="0" y="109"/>
                      </a:lnTo>
                      <a:lnTo>
                        <a:pt x="0" y="112"/>
                      </a:lnTo>
                      <a:lnTo>
                        <a:pt x="2" y="114"/>
                      </a:lnTo>
                      <a:lnTo>
                        <a:pt x="8" y="116"/>
                      </a:lnTo>
                      <a:lnTo>
                        <a:pt x="8" y="122"/>
                      </a:lnTo>
                      <a:lnTo>
                        <a:pt x="6" y="128"/>
                      </a:lnTo>
                      <a:lnTo>
                        <a:pt x="6" y="135"/>
                      </a:lnTo>
                      <a:lnTo>
                        <a:pt x="9" y="142"/>
                      </a:lnTo>
                      <a:lnTo>
                        <a:pt x="13" y="148"/>
                      </a:lnTo>
                      <a:lnTo>
                        <a:pt x="29" y="150"/>
                      </a:lnTo>
                      <a:lnTo>
                        <a:pt x="32" y="156"/>
                      </a:lnTo>
                      <a:lnTo>
                        <a:pt x="32" y="161"/>
                      </a:lnTo>
                      <a:lnTo>
                        <a:pt x="29" y="165"/>
                      </a:lnTo>
                      <a:lnTo>
                        <a:pt x="31" y="168"/>
                      </a:lnTo>
                      <a:lnTo>
                        <a:pt x="36" y="168"/>
                      </a:lnTo>
                      <a:lnTo>
                        <a:pt x="42" y="168"/>
                      </a:lnTo>
                      <a:lnTo>
                        <a:pt x="53" y="162"/>
                      </a:lnTo>
                      <a:lnTo>
                        <a:pt x="54" y="158"/>
                      </a:lnTo>
                      <a:lnTo>
                        <a:pt x="59" y="149"/>
                      </a:lnTo>
                      <a:lnTo>
                        <a:pt x="62" y="148"/>
                      </a:lnTo>
                      <a:lnTo>
                        <a:pt x="65" y="144"/>
                      </a:lnTo>
                      <a:lnTo>
                        <a:pt x="76" y="138"/>
                      </a:lnTo>
                      <a:lnTo>
                        <a:pt x="81" y="138"/>
                      </a:lnTo>
                      <a:lnTo>
                        <a:pt x="88" y="139"/>
                      </a:lnTo>
                      <a:lnTo>
                        <a:pt x="115" y="156"/>
                      </a:lnTo>
                      <a:lnTo>
                        <a:pt x="126" y="160"/>
                      </a:lnTo>
                      <a:lnTo>
                        <a:pt x="128" y="163"/>
                      </a:lnTo>
                      <a:lnTo>
                        <a:pt x="129" y="171"/>
                      </a:lnTo>
                      <a:lnTo>
                        <a:pt x="138" y="194"/>
                      </a:lnTo>
                      <a:lnTo>
                        <a:pt x="140" y="202"/>
                      </a:lnTo>
                      <a:lnTo>
                        <a:pt x="139" y="207"/>
                      </a:lnTo>
                      <a:lnTo>
                        <a:pt x="154" y="220"/>
                      </a:lnTo>
                      <a:lnTo>
                        <a:pt x="159" y="228"/>
                      </a:lnTo>
                      <a:lnTo>
                        <a:pt x="162" y="238"/>
                      </a:lnTo>
                      <a:lnTo>
                        <a:pt x="168" y="237"/>
                      </a:lnTo>
                      <a:lnTo>
                        <a:pt x="172" y="237"/>
                      </a:lnTo>
                      <a:lnTo>
                        <a:pt x="178" y="241"/>
                      </a:lnTo>
                      <a:lnTo>
                        <a:pt x="188" y="254"/>
                      </a:lnTo>
                      <a:lnTo>
                        <a:pt x="194" y="255"/>
                      </a:lnTo>
                      <a:lnTo>
                        <a:pt x="206" y="272"/>
                      </a:lnTo>
                      <a:lnTo>
                        <a:pt x="214" y="280"/>
                      </a:lnTo>
                      <a:lnTo>
                        <a:pt x="230" y="294"/>
                      </a:lnTo>
                      <a:lnTo>
                        <a:pt x="234" y="293"/>
                      </a:lnTo>
                      <a:lnTo>
                        <a:pt x="252" y="294"/>
                      </a:lnTo>
                      <a:lnTo>
                        <a:pt x="256" y="295"/>
                      </a:lnTo>
                      <a:lnTo>
                        <a:pt x="265" y="306"/>
                      </a:lnTo>
                      <a:lnTo>
                        <a:pt x="269" y="312"/>
                      </a:lnTo>
                      <a:lnTo>
                        <a:pt x="279" y="317"/>
                      </a:lnTo>
                      <a:lnTo>
                        <a:pt x="280" y="319"/>
                      </a:lnTo>
                      <a:lnTo>
                        <a:pt x="279" y="324"/>
                      </a:lnTo>
                      <a:lnTo>
                        <a:pt x="292" y="322"/>
                      </a:lnTo>
                      <a:lnTo>
                        <a:pt x="295" y="323"/>
                      </a:lnTo>
                      <a:lnTo>
                        <a:pt x="298" y="326"/>
                      </a:lnTo>
                      <a:lnTo>
                        <a:pt x="301" y="334"/>
                      </a:lnTo>
                      <a:lnTo>
                        <a:pt x="300" y="339"/>
                      </a:lnTo>
                      <a:lnTo>
                        <a:pt x="303" y="344"/>
                      </a:lnTo>
                      <a:lnTo>
                        <a:pt x="311" y="346"/>
                      </a:lnTo>
                      <a:lnTo>
                        <a:pt x="314" y="349"/>
                      </a:lnTo>
                      <a:lnTo>
                        <a:pt x="317" y="355"/>
                      </a:lnTo>
                      <a:lnTo>
                        <a:pt x="320" y="348"/>
                      </a:lnTo>
                      <a:lnTo>
                        <a:pt x="324" y="348"/>
                      </a:lnTo>
                      <a:lnTo>
                        <a:pt x="328" y="356"/>
                      </a:lnTo>
                      <a:lnTo>
                        <a:pt x="328" y="360"/>
                      </a:lnTo>
                      <a:lnTo>
                        <a:pt x="331" y="369"/>
                      </a:lnTo>
                      <a:lnTo>
                        <a:pt x="338" y="382"/>
                      </a:lnTo>
                      <a:lnTo>
                        <a:pt x="341" y="394"/>
                      </a:lnTo>
                      <a:lnTo>
                        <a:pt x="347" y="409"/>
                      </a:lnTo>
                      <a:lnTo>
                        <a:pt x="337" y="413"/>
                      </a:lnTo>
                      <a:lnTo>
                        <a:pt x="331" y="416"/>
                      </a:lnTo>
                      <a:lnTo>
                        <a:pt x="335" y="424"/>
                      </a:lnTo>
                      <a:lnTo>
                        <a:pt x="330" y="431"/>
                      </a:lnTo>
                      <a:lnTo>
                        <a:pt x="327" y="437"/>
                      </a:lnTo>
                      <a:lnTo>
                        <a:pt x="327" y="445"/>
                      </a:lnTo>
                      <a:lnTo>
                        <a:pt x="329" y="450"/>
                      </a:lnTo>
                      <a:lnTo>
                        <a:pt x="330" y="449"/>
                      </a:lnTo>
                      <a:lnTo>
                        <a:pt x="329" y="450"/>
                      </a:lnTo>
                      <a:lnTo>
                        <a:pt x="335" y="450"/>
                      </a:lnTo>
                      <a:lnTo>
                        <a:pt x="339" y="450"/>
                      </a:lnTo>
                      <a:lnTo>
                        <a:pt x="341" y="448"/>
                      </a:lnTo>
                      <a:lnTo>
                        <a:pt x="347" y="437"/>
                      </a:lnTo>
                      <a:lnTo>
                        <a:pt x="349" y="434"/>
                      </a:lnTo>
                      <a:lnTo>
                        <a:pt x="353" y="431"/>
                      </a:lnTo>
                      <a:lnTo>
                        <a:pt x="358" y="429"/>
                      </a:lnTo>
                      <a:lnTo>
                        <a:pt x="359" y="425"/>
                      </a:lnTo>
                      <a:lnTo>
                        <a:pt x="360" y="410"/>
                      </a:lnTo>
                      <a:lnTo>
                        <a:pt x="361" y="408"/>
                      </a:lnTo>
                      <a:lnTo>
                        <a:pt x="366" y="405"/>
                      </a:lnTo>
                      <a:lnTo>
                        <a:pt x="373" y="402"/>
                      </a:lnTo>
                      <a:lnTo>
                        <a:pt x="376" y="402"/>
                      </a:lnTo>
                      <a:lnTo>
                        <a:pt x="377" y="399"/>
                      </a:lnTo>
                      <a:lnTo>
                        <a:pt x="377" y="390"/>
                      </a:lnTo>
                      <a:lnTo>
                        <a:pt x="377" y="387"/>
                      </a:lnTo>
                      <a:lnTo>
                        <a:pt x="376" y="380"/>
                      </a:lnTo>
                      <a:lnTo>
                        <a:pt x="374" y="377"/>
                      </a:lnTo>
                      <a:lnTo>
                        <a:pt x="368" y="372"/>
                      </a:lnTo>
                      <a:lnTo>
                        <a:pt x="364" y="369"/>
                      </a:lnTo>
                      <a:lnTo>
                        <a:pt x="357" y="366"/>
                      </a:lnTo>
                      <a:lnTo>
                        <a:pt x="358" y="358"/>
                      </a:lnTo>
                      <a:lnTo>
                        <a:pt x="361" y="346"/>
                      </a:lnTo>
                      <a:lnTo>
                        <a:pt x="366" y="337"/>
                      </a:lnTo>
                      <a:lnTo>
                        <a:pt x="374" y="330"/>
                      </a:lnTo>
                      <a:lnTo>
                        <a:pt x="381" y="329"/>
                      </a:lnTo>
                      <a:lnTo>
                        <a:pt x="392" y="336"/>
                      </a:lnTo>
                      <a:lnTo>
                        <a:pt x="402" y="339"/>
                      </a:lnTo>
                      <a:lnTo>
                        <a:pt x="408" y="343"/>
                      </a:lnTo>
                      <a:lnTo>
                        <a:pt x="410" y="348"/>
                      </a:lnTo>
                      <a:lnTo>
                        <a:pt x="416" y="356"/>
                      </a:lnTo>
                      <a:lnTo>
                        <a:pt x="422" y="360"/>
                      </a:lnTo>
                      <a:lnTo>
                        <a:pt x="422" y="358"/>
                      </a:lnTo>
                      <a:lnTo>
                        <a:pt x="428" y="348"/>
                      </a:lnTo>
                      <a:lnTo>
                        <a:pt x="426" y="344"/>
                      </a:lnTo>
                      <a:lnTo>
                        <a:pt x="422" y="337"/>
                      </a:lnTo>
                      <a:close/>
                    </a:path>
                  </a:pathLst>
                </a:custGeom>
                <a:solidFill>
                  <a:srgbClr val="405F9E"/>
                </a:solidFill>
                <a:ln w="635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609585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219170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828754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438339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3047924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657509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4267093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876678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914354">
                    <a:defRPr/>
                  </a:pPr>
                  <a:endParaRPr lang="en-GB" sz="800">
                    <a:solidFill>
                      <a:srgbClr val="404040"/>
                    </a:solidFill>
                  </a:endParaRPr>
                </a:p>
              </p:txBody>
            </p:sp>
          </p:grpSp>
          <p:sp>
            <p:nvSpPr>
              <p:cNvPr id="96" name="Sweden" descr="{&quot;Key&quot;:&quot;sweden&quot;,&quot;Name&quot;:&quot;Sweden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679A7F03-7586-24B1-2CF9-E33F060B8F7C}"/>
                  </a:ext>
                </a:extLst>
              </p:cNvPr>
              <p:cNvSpPr>
                <a:spLocks/>
              </p:cNvSpPr>
              <p:nvPr/>
            </p:nvSpPr>
            <p:spPr bwMode="auto">
              <a:xfrm rot="21300000">
                <a:off x="5124294" y="2084513"/>
                <a:ext cx="748482" cy="1712841"/>
              </a:xfrm>
              <a:custGeom>
                <a:avLst/>
                <a:gdLst>
                  <a:gd name="T0" fmla="*/ 456 w 475"/>
                  <a:gd name="T1" fmla="*/ 196 h 1087"/>
                  <a:gd name="T2" fmla="*/ 454 w 475"/>
                  <a:gd name="T3" fmla="*/ 123 h 1087"/>
                  <a:gd name="T4" fmla="*/ 351 w 475"/>
                  <a:gd name="T5" fmla="*/ 3 h 1087"/>
                  <a:gd name="T6" fmla="*/ 334 w 475"/>
                  <a:gd name="T7" fmla="*/ 18 h 1087"/>
                  <a:gd name="T8" fmla="*/ 326 w 475"/>
                  <a:gd name="T9" fmla="*/ 64 h 1087"/>
                  <a:gd name="T10" fmla="*/ 259 w 475"/>
                  <a:gd name="T11" fmla="*/ 78 h 1087"/>
                  <a:gd name="T12" fmla="*/ 223 w 475"/>
                  <a:gd name="T13" fmla="*/ 98 h 1087"/>
                  <a:gd name="T14" fmla="*/ 185 w 475"/>
                  <a:gd name="T15" fmla="*/ 166 h 1087"/>
                  <a:gd name="T16" fmla="*/ 161 w 475"/>
                  <a:gd name="T17" fmla="*/ 242 h 1087"/>
                  <a:gd name="T18" fmla="*/ 129 w 475"/>
                  <a:gd name="T19" fmla="*/ 295 h 1087"/>
                  <a:gd name="T20" fmla="*/ 108 w 475"/>
                  <a:gd name="T21" fmla="*/ 424 h 1087"/>
                  <a:gd name="T22" fmla="*/ 69 w 475"/>
                  <a:gd name="T23" fmla="*/ 462 h 1087"/>
                  <a:gd name="T24" fmla="*/ 45 w 475"/>
                  <a:gd name="T25" fmla="*/ 537 h 1087"/>
                  <a:gd name="T26" fmla="*/ 37 w 475"/>
                  <a:gd name="T27" fmla="*/ 587 h 1087"/>
                  <a:gd name="T28" fmla="*/ 58 w 475"/>
                  <a:gd name="T29" fmla="*/ 685 h 1087"/>
                  <a:gd name="T30" fmla="*/ 49 w 475"/>
                  <a:gd name="T31" fmla="*/ 756 h 1087"/>
                  <a:gd name="T32" fmla="*/ 22 w 475"/>
                  <a:gd name="T33" fmla="*/ 823 h 1087"/>
                  <a:gd name="T34" fmla="*/ 0 w 475"/>
                  <a:gd name="T35" fmla="*/ 846 h 1087"/>
                  <a:gd name="T36" fmla="*/ 9 w 475"/>
                  <a:gd name="T37" fmla="*/ 894 h 1087"/>
                  <a:gd name="T38" fmla="*/ 16 w 475"/>
                  <a:gd name="T39" fmla="*/ 898 h 1087"/>
                  <a:gd name="T40" fmla="*/ 26 w 475"/>
                  <a:gd name="T41" fmla="*/ 938 h 1087"/>
                  <a:gd name="T42" fmla="*/ 49 w 475"/>
                  <a:gd name="T43" fmla="*/ 992 h 1087"/>
                  <a:gd name="T44" fmla="*/ 55 w 475"/>
                  <a:gd name="T45" fmla="*/ 1020 h 1087"/>
                  <a:gd name="T46" fmla="*/ 68 w 475"/>
                  <a:gd name="T47" fmla="*/ 1070 h 1087"/>
                  <a:gd name="T48" fmla="*/ 91 w 475"/>
                  <a:gd name="T49" fmla="*/ 1082 h 1087"/>
                  <a:gd name="T50" fmla="*/ 119 w 475"/>
                  <a:gd name="T51" fmla="*/ 1042 h 1087"/>
                  <a:gd name="T52" fmla="*/ 167 w 475"/>
                  <a:gd name="T53" fmla="*/ 1036 h 1087"/>
                  <a:gd name="T54" fmla="*/ 193 w 475"/>
                  <a:gd name="T55" fmla="*/ 966 h 1087"/>
                  <a:gd name="T56" fmla="*/ 195 w 475"/>
                  <a:gd name="T57" fmla="*/ 922 h 1087"/>
                  <a:gd name="T58" fmla="*/ 203 w 475"/>
                  <a:gd name="T59" fmla="*/ 906 h 1087"/>
                  <a:gd name="T60" fmla="*/ 200 w 475"/>
                  <a:gd name="T61" fmla="*/ 882 h 1087"/>
                  <a:gd name="T62" fmla="*/ 207 w 475"/>
                  <a:gd name="T63" fmla="*/ 868 h 1087"/>
                  <a:gd name="T64" fmla="*/ 238 w 475"/>
                  <a:gd name="T65" fmla="*/ 841 h 1087"/>
                  <a:gd name="T66" fmla="*/ 267 w 475"/>
                  <a:gd name="T67" fmla="*/ 826 h 1087"/>
                  <a:gd name="T68" fmla="*/ 222 w 475"/>
                  <a:gd name="T69" fmla="*/ 820 h 1087"/>
                  <a:gd name="T70" fmla="*/ 200 w 475"/>
                  <a:gd name="T71" fmla="*/ 803 h 1087"/>
                  <a:gd name="T72" fmla="*/ 229 w 475"/>
                  <a:gd name="T73" fmla="*/ 808 h 1087"/>
                  <a:gd name="T74" fmla="*/ 275 w 475"/>
                  <a:gd name="T75" fmla="*/ 794 h 1087"/>
                  <a:gd name="T76" fmla="*/ 268 w 475"/>
                  <a:gd name="T77" fmla="*/ 751 h 1087"/>
                  <a:gd name="T78" fmla="*/ 231 w 475"/>
                  <a:gd name="T79" fmla="*/ 725 h 1087"/>
                  <a:gd name="T80" fmla="*/ 191 w 475"/>
                  <a:gd name="T81" fmla="*/ 763 h 1087"/>
                  <a:gd name="T82" fmla="*/ 226 w 475"/>
                  <a:gd name="T83" fmla="*/ 730 h 1087"/>
                  <a:gd name="T84" fmla="*/ 219 w 475"/>
                  <a:gd name="T85" fmla="*/ 672 h 1087"/>
                  <a:gd name="T86" fmla="*/ 226 w 475"/>
                  <a:gd name="T87" fmla="*/ 628 h 1087"/>
                  <a:gd name="T88" fmla="*/ 238 w 475"/>
                  <a:gd name="T89" fmla="*/ 586 h 1087"/>
                  <a:gd name="T90" fmla="*/ 244 w 475"/>
                  <a:gd name="T91" fmla="*/ 550 h 1087"/>
                  <a:gd name="T92" fmla="*/ 264 w 475"/>
                  <a:gd name="T93" fmla="*/ 548 h 1087"/>
                  <a:gd name="T94" fmla="*/ 278 w 475"/>
                  <a:gd name="T95" fmla="*/ 527 h 1087"/>
                  <a:gd name="T96" fmla="*/ 313 w 475"/>
                  <a:gd name="T97" fmla="*/ 503 h 1087"/>
                  <a:gd name="T98" fmla="*/ 347 w 475"/>
                  <a:gd name="T99" fmla="*/ 476 h 1087"/>
                  <a:gd name="T100" fmla="*/ 376 w 475"/>
                  <a:gd name="T101" fmla="*/ 428 h 1087"/>
                  <a:gd name="T102" fmla="*/ 370 w 475"/>
                  <a:gd name="T103" fmla="*/ 409 h 1087"/>
                  <a:gd name="T104" fmla="*/ 371 w 475"/>
                  <a:gd name="T105" fmla="*/ 385 h 1087"/>
                  <a:gd name="T106" fmla="*/ 385 w 475"/>
                  <a:gd name="T107" fmla="*/ 339 h 1087"/>
                  <a:gd name="T108" fmla="*/ 402 w 475"/>
                  <a:gd name="T109" fmla="*/ 328 h 1087"/>
                  <a:gd name="T110" fmla="*/ 408 w 475"/>
                  <a:gd name="T111" fmla="*/ 316 h 1087"/>
                  <a:gd name="T112" fmla="*/ 422 w 475"/>
                  <a:gd name="T113" fmla="*/ 309 h 1087"/>
                  <a:gd name="T114" fmla="*/ 460 w 475"/>
                  <a:gd name="T115" fmla="*/ 304 h 10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475" h="1087">
                    <a:moveTo>
                      <a:pt x="463" y="274"/>
                    </a:moveTo>
                    <a:lnTo>
                      <a:pt x="461" y="261"/>
                    </a:lnTo>
                    <a:lnTo>
                      <a:pt x="464" y="249"/>
                    </a:lnTo>
                    <a:lnTo>
                      <a:pt x="470" y="240"/>
                    </a:lnTo>
                    <a:lnTo>
                      <a:pt x="470" y="234"/>
                    </a:lnTo>
                    <a:lnTo>
                      <a:pt x="470" y="225"/>
                    </a:lnTo>
                    <a:lnTo>
                      <a:pt x="456" y="196"/>
                    </a:lnTo>
                    <a:lnTo>
                      <a:pt x="454" y="185"/>
                    </a:lnTo>
                    <a:lnTo>
                      <a:pt x="459" y="171"/>
                    </a:lnTo>
                    <a:lnTo>
                      <a:pt x="458" y="162"/>
                    </a:lnTo>
                    <a:lnTo>
                      <a:pt x="454" y="157"/>
                    </a:lnTo>
                    <a:lnTo>
                      <a:pt x="453" y="147"/>
                    </a:lnTo>
                    <a:lnTo>
                      <a:pt x="453" y="133"/>
                    </a:lnTo>
                    <a:lnTo>
                      <a:pt x="454" y="123"/>
                    </a:lnTo>
                    <a:lnTo>
                      <a:pt x="458" y="115"/>
                    </a:lnTo>
                    <a:lnTo>
                      <a:pt x="455" y="110"/>
                    </a:lnTo>
                    <a:lnTo>
                      <a:pt x="435" y="72"/>
                    </a:lnTo>
                    <a:lnTo>
                      <a:pt x="422" y="61"/>
                    </a:lnTo>
                    <a:lnTo>
                      <a:pt x="398" y="54"/>
                    </a:lnTo>
                    <a:lnTo>
                      <a:pt x="379" y="33"/>
                    </a:lnTo>
                    <a:lnTo>
                      <a:pt x="351" y="3"/>
                    </a:lnTo>
                    <a:lnTo>
                      <a:pt x="349" y="0"/>
                    </a:lnTo>
                    <a:lnTo>
                      <a:pt x="348" y="0"/>
                    </a:lnTo>
                    <a:lnTo>
                      <a:pt x="332" y="0"/>
                    </a:lnTo>
                    <a:lnTo>
                      <a:pt x="329" y="2"/>
                    </a:lnTo>
                    <a:lnTo>
                      <a:pt x="329" y="8"/>
                    </a:lnTo>
                    <a:lnTo>
                      <a:pt x="332" y="12"/>
                    </a:lnTo>
                    <a:lnTo>
                      <a:pt x="334" y="18"/>
                    </a:lnTo>
                    <a:lnTo>
                      <a:pt x="332" y="25"/>
                    </a:lnTo>
                    <a:lnTo>
                      <a:pt x="329" y="28"/>
                    </a:lnTo>
                    <a:lnTo>
                      <a:pt x="327" y="38"/>
                    </a:lnTo>
                    <a:lnTo>
                      <a:pt x="324" y="46"/>
                    </a:lnTo>
                    <a:lnTo>
                      <a:pt x="324" y="52"/>
                    </a:lnTo>
                    <a:lnTo>
                      <a:pt x="330" y="59"/>
                    </a:lnTo>
                    <a:lnTo>
                      <a:pt x="326" y="64"/>
                    </a:lnTo>
                    <a:lnTo>
                      <a:pt x="320" y="65"/>
                    </a:lnTo>
                    <a:lnTo>
                      <a:pt x="292" y="55"/>
                    </a:lnTo>
                    <a:lnTo>
                      <a:pt x="271" y="53"/>
                    </a:lnTo>
                    <a:lnTo>
                      <a:pt x="264" y="54"/>
                    </a:lnTo>
                    <a:lnTo>
                      <a:pt x="261" y="56"/>
                    </a:lnTo>
                    <a:lnTo>
                      <a:pt x="258" y="63"/>
                    </a:lnTo>
                    <a:lnTo>
                      <a:pt x="259" y="78"/>
                    </a:lnTo>
                    <a:lnTo>
                      <a:pt x="258" y="85"/>
                    </a:lnTo>
                    <a:lnTo>
                      <a:pt x="254" y="99"/>
                    </a:lnTo>
                    <a:lnTo>
                      <a:pt x="249" y="110"/>
                    </a:lnTo>
                    <a:lnTo>
                      <a:pt x="246" y="109"/>
                    </a:lnTo>
                    <a:lnTo>
                      <a:pt x="239" y="100"/>
                    </a:lnTo>
                    <a:lnTo>
                      <a:pt x="231" y="96"/>
                    </a:lnTo>
                    <a:lnTo>
                      <a:pt x="223" y="98"/>
                    </a:lnTo>
                    <a:lnTo>
                      <a:pt x="211" y="111"/>
                    </a:lnTo>
                    <a:lnTo>
                      <a:pt x="205" y="118"/>
                    </a:lnTo>
                    <a:lnTo>
                      <a:pt x="202" y="130"/>
                    </a:lnTo>
                    <a:lnTo>
                      <a:pt x="201" y="139"/>
                    </a:lnTo>
                    <a:lnTo>
                      <a:pt x="197" y="145"/>
                    </a:lnTo>
                    <a:lnTo>
                      <a:pt x="188" y="156"/>
                    </a:lnTo>
                    <a:lnTo>
                      <a:pt x="185" y="166"/>
                    </a:lnTo>
                    <a:lnTo>
                      <a:pt x="194" y="180"/>
                    </a:lnTo>
                    <a:lnTo>
                      <a:pt x="195" y="189"/>
                    </a:lnTo>
                    <a:lnTo>
                      <a:pt x="194" y="194"/>
                    </a:lnTo>
                    <a:lnTo>
                      <a:pt x="190" y="202"/>
                    </a:lnTo>
                    <a:lnTo>
                      <a:pt x="181" y="212"/>
                    </a:lnTo>
                    <a:lnTo>
                      <a:pt x="177" y="221"/>
                    </a:lnTo>
                    <a:lnTo>
                      <a:pt x="161" y="242"/>
                    </a:lnTo>
                    <a:lnTo>
                      <a:pt x="157" y="251"/>
                    </a:lnTo>
                    <a:lnTo>
                      <a:pt x="156" y="265"/>
                    </a:lnTo>
                    <a:lnTo>
                      <a:pt x="152" y="273"/>
                    </a:lnTo>
                    <a:lnTo>
                      <a:pt x="140" y="282"/>
                    </a:lnTo>
                    <a:lnTo>
                      <a:pt x="133" y="282"/>
                    </a:lnTo>
                    <a:lnTo>
                      <a:pt x="128" y="285"/>
                    </a:lnTo>
                    <a:lnTo>
                      <a:pt x="129" y="295"/>
                    </a:lnTo>
                    <a:lnTo>
                      <a:pt x="129" y="309"/>
                    </a:lnTo>
                    <a:lnTo>
                      <a:pt x="128" y="328"/>
                    </a:lnTo>
                    <a:lnTo>
                      <a:pt x="123" y="362"/>
                    </a:lnTo>
                    <a:lnTo>
                      <a:pt x="112" y="386"/>
                    </a:lnTo>
                    <a:lnTo>
                      <a:pt x="99" y="407"/>
                    </a:lnTo>
                    <a:lnTo>
                      <a:pt x="99" y="414"/>
                    </a:lnTo>
                    <a:lnTo>
                      <a:pt x="108" y="424"/>
                    </a:lnTo>
                    <a:lnTo>
                      <a:pt x="113" y="432"/>
                    </a:lnTo>
                    <a:lnTo>
                      <a:pt x="113" y="445"/>
                    </a:lnTo>
                    <a:lnTo>
                      <a:pt x="111" y="453"/>
                    </a:lnTo>
                    <a:lnTo>
                      <a:pt x="104" y="461"/>
                    </a:lnTo>
                    <a:lnTo>
                      <a:pt x="95" y="461"/>
                    </a:lnTo>
                    <a:lnTo>
                      <a:pt x="83" y="457"/>
                    </a:lnTo>
                    <a:lnTo>
                      <a:pt x="69" y="462"/>
                    </a:lnTo>
                    <a:lnTo>
                      <a:pt x="58" y="469"/>
                    </a:lnTo>
                    <a:lnTo>
                      <a:pt x="42" y="489"/>
                    </a:lnTo>
                    <a:lnTo>
                      <a:pt x="37" y="500"/>
                    </a:lnTo>
                    <a:lnTo>
                      <a:pt x="35" y="512"/>
                    </a:lnTo>
                    <a:lnTo>
                      <a:pt x="37" y="524"/>
                    </a:lnTo>
                    <a:lnTo>
                      <a:pt x="42" y="534"/>
                    </a:lnTo>
                    <a:lnTo>
                      <a:pt x="45" y="537"/>
                    </a:lnTo>
                    <a:lnTo>
                      <a:pt x="40" y="544"/>
                    </a:lnTo>
                    <a:lnTo>
                      <a:pt x="39" y="552"/>
                    </a:lnTo>
                    <a:lnTo>
                      <a:pt x="37" y="558"/>
                    </a:lnTo>
                    <a:lnTo>
                      <a:pt x="37" y="571"/>
                    </a:lnTo>
                    <a:lnTo>
                      <a:pt x="35" y="577"/>
                    </a:lnTo>
                    <a:lnTo>
                      <a:pt x="35" y="586"/>
                    </a:lnTo>
                    <a:lnTo>
                      <a:pt x="37" y="587"/>
                    </a:lnTo>
                    <a:lnTo>
                      <a:pt x="40" y="596"/>
                    </a:lnTo>
                    <a:lnTo>
                      <a:pt x="39" y="625"/>
                    </a:lnTo>
                    <a:lnTo>
                      <a:pt x="40" y="639"/>
                    </a:lnTo>
                    <a:lnTo>
                      <a:pt x="46" y="649"/>
                    </a:lnTo>
                    <a:lnTo>
                      <a:pt x="59" y="659"/>
                    </a:lnTo>
                    <a:lnTo>
                      <a:pt x="61" y="673"/>
                    </a:lnTo>
                    <a:lnTo>
                      <a:pt x="58" y="685"/>
                    </a:lnTo>
                    <a:lnTo>
                      <a:pt x="50" y="693"/>
                    </a:lnTo>
                    <a:lnTo>
                      <a:pt x="42" y="696"/>
                    </a:lnTo>
                    <a:lnTo>
                      <a:pt x="39" y="701"/>
                    </a:lnTo>
                    <a:lnTo>
                      <a:pt x="46" y="709"/>
                    </a:lnTo>
                    <a:lnTo>
                      <a:pt x="51" y="731"/>
                    </a:lnTo>
                    <a:lnTo>
                      <a:pt x="46" y="751"/>
                    </a:lnTo>
                    <a:lnTo>
                      <a:pt x="49" y="756"/>
                    </a:lnTo>
                    <a:lnTo>
                      <a:pt x="48" y="766"/>
                    </a:lnTo>
                    <a:lnTo>
                      <a:pt x="45" y="774"/>
                    </a:lnTo>
                    <a:lnTo>
                      <a:pt x="26" y="780"/>
                    </a:lnTo>
                    <a:lnTo>
                      <a:pt x="26" y="790"/>
                    </a:lnTo>
                    <a:lnTo>
                      <a:pt x="17" y="805"/>
                    </a:lnTo>
                    <a:lnTo>
                      <a:pt x="18" y="814"/>
                    </a:lnTo>
                    <a:lnTo>
                      <a:pt x="22" y="823"/>
                    </a:lnTo>
                    <a:lnTo>
                      <a:pt x="16" y="848"/>
                    </a:lnTo>
                    <a:lnTo>
                      <a:pt x="11" y="852"/>
                    </a:lnTo>
                    <a:lnTo>
                      <a:pt x="9" y="846"/>
                    </a:lnTo>
                    <a:lnTo>
                      <a:pt x="6" y="855"/>
                    </a:lnTo>
                    <a:lnTo>
                      <a:pt x="6" y="840"/>
                    </a:lnTo>
                    <a:lnTo>
                      <a:pt x="4" y="837"/>
                    </a:lnTo>
                    <a:lnTo>
                      <a:pt x="0" y="846"/>
                    </a:lnTo>
                    <a:lnTo>
                      <a:pt x="0" y="853"/>
                    </a:lnTo>
                    <a:lnTo>
                      <a:pt x="4" y="880"/>
                    </a:lnTo>
                    <a:lnTo>
                      <a:pt x="5" y="883"/>
                    </a:lnTo>
                    <a:lnTo>
                      <a:pt x="9" y="885"/>
                    </a:lnTo>
                    <a:lnTo>
                      <a:pt x="10" y="887"/>
                    </a:lnTo>
                    <a:lnTo>
                      <a:pt x="10" y="892"/>
                    </a:lnTo>
                    <a:lnTo>
                      <a:pt x="9" y="894"/>
                    </a:lnTo>
                    <a:lnTo>
                      <a:pt x="13" y="890"/>
                    </a:lnTo>
                    <a:lnTo>
                      <a:pt x="14" y="885"/>
                    </a:lnTo>
                    <a:lnTo>
                      <a:pt x="17" y="888"/>
                    </a:lnTo>
                    <a:lnTo>
                      <a:pt x="15" y="894"/>
                    </a:lnTo>
                    <a:lnTo>
                      <a:pt x="17" y="894"/>
                    </a:lnTo>
                    <a:lnTo>
                      <a:pt x="20" y="895"/>
                    </a:lnTo>
                    <a:lnTo>
                      <a:pt x="16" y="898"/>
                    </a:lnTo>
                    <a:lnTo>
                      <a:pt x="12" y="904"/>
                    </a:lnTo>
                    <a:lnTo>
                      <a:pt x="22" y="909"/>
                    </a:lnTo>
                    <a:lnTo>
                      <a:pt x="24" y="915"/>
                    </a:lnTo>
                    <a:lnTo>
                      <a:pt x="22" y="926"/>
                    </a:lnTo>
                    <a:lnTo>
                      <a:pt x="29" y="924"/>
                    </a:lnTo>
                    <a:lnTo>
                      <a:pt x="31" y="932"/>
                    </a:lnTo>
                    <a:lnTo>
                      <a:pt x="26" y="938"/>
                    </a:lnTo>
                    <a:lnTo>
                      <a:pt x="28" y="948"/>
                    </a:lnTo>
                    <a:lnTo>
                      <a:pt x="27" y="956"/>
                    </a:lnTo>
                    <a:lnTo>
                      <a:pt x="33" y="956"/>
                    </a:lnTo>
                    <a:lnTo>
                      <a:pt x="36" y="964"/>
                    </a:lnTo>
                    <a:lnTo>
                      <a:pt x="38" y="972"/>
                    </a:lnTo>
                    <a:lnTo>
                      <a:pt x="42" y="984"/>
                    </a:lnTo>
                    <a:lnTo>
                      <a:pt x="49" y="992"/>
                    </a:lnTo>
                    <a:lnTo>
                      <a:pt x="53" y="1000"/>
                    </a:lnTo>
                    <a:lnTo>
                      <a:pt x="60" y="1004"/>
                    </a:lnTo>
                    <a:lnTo>
                      <a:pt x="66" y="1010"/>
                    </a:lnTo>
                    <a:lnTo>
                      <a:pt x="66" y="1016"/>
                    </a:lnTo>
                    <a:lnTo>
                      <a:pt x="61" y="1018"/>
                    </a:lnTo>
                    <a:lnTo>
                      <a:pt x="56" y="1018"/>
                    </a:lnTo>
                    <a:lnTo>
                      <a:pt x="55" y="1020"/>
                    </a:lnTo>
                    <a:lnTo>
                      <a:pt x="60" y="1031"/>
                    </a:lnTo>
                    <a:lnTo>
                      <a:pt x="55" y="1030"/>
                    </a:lnTo>
                    <a:lnTo>
                      <a:pt x="50" y="1028"/>
                    </a:lnTo>
                    <a:lnTo>
                      <a:pt x="50" y="1032"/>
                    </a:lnTo>
                    <a:lnTo>
                      <a:pt x="60" y="1055"/>
                    </a:lnTo>
                    <a:lnTo>
                      <a:pt x="66" y="1063"/>
                    </a:lnTo>
                    <a:lnTo>
                      <a:pt x="68" y="1070"/>
                    </a:lnTo>
                    <a:lnTo>
                      <a:pt x="66" y="1073"/>
                    </a:lnTo>
                    <a:lnTo>
                      <a:pt x="66" y="1081"/>
                    </a:lnTo>
                    <a:lnTo>
                      <a:pt x="63" y="1082"/>
                    </a:lnTo>
                    <a:lnTo>
                      <a:pt x="62" y="1085"/>
                    </a:lnTo>
                    <a:lnTo>
                      <a:pt x="71" y="1084"/>
                    </a:lnTo>
                    <a:lnTo>
                      <a:pt x="79" y="1087"/>
                    </a:lnTo>
                    <a:lnTo>
                      <a:pt x="91" y="1082"/>
                    </a:lnTo>
                    <a:lnTo>
                      <a:pt x="102" y="1082"/>
                    </a:lnTo>
                    <a:lnTo>
                      <a:pt x="108" y="1085"/>
                    </a:lnTo>
                    <a:lnTo>
                      <a:pt x="112" y="1082"/>
                    </a:lnTo>
                    <a:lnTo>
                      <a:pt x="115" y="1073"/>
                    </a:lnTo>
                    <a:lnTo>
                      <a:pt x="113" y="1059"/>
                    </a:lnTo>
                    <a:lnTo>
                      <a:pt x="116" y="1050"/>
                    </a:lnTo>
                    <a:lnTo>
                      <a:pt x="119" y="1042"/>
                    </a:lnTo>
                    <a:lnTo>
                      <a:pt x="126" y="1044"/>
                    </a:lnTo>
                    <a:lnTo>
                      <a:pt x="129" y="1038"/>
                    </a:lnTo>
                    <a:lnTo>
                      <a:pt x="136" y="1033"/>
                    </a:lnTo>
                    <a:lnTo>
                      <a:pt x="146" y="1033"/>
                    </a:lnTo>
                    <a:lnTo>
                      <a:pt x="151" y="1036"/>
                    </a:lnTo>
                    <a:lnTo>
                      <a:pt x="159" y="1033"/>
                    </a:lnTo>
                    <a:lnTo>
                      <a:pt x="167" y="1036"/>
                    </a:lnTo>
                    <a:lnTo>
                      <a:pt x="174" y="1036"/>
                    </a:lnTo>
                    <a:lnTo>
                      <a:pt x="178" y="1024"/>
                    </a:lnTo>
                    <a:lnTo>
                      <a:pt x="183" y="1008"/>
                    </a:lnTo>
                    <a:lnTo>
                      <a:pt x="190" y="997"/>
                    </a:lnTo>
                    <a:lnTo>
                      <a:pt x="191" y="983"/>
                    </a:lnTo>
                    <a:lnTo>
                      <a:pt x="193" y="974"/>
                    </a:lnTo>
                    <a:lnTo>
                      <a:pt x="193" y="966"/>
                    </a:lnTo>
                    <a:lnTo>
                      <a:pt x="195" y="958"/>
                    </a:lnTo>
                    <a:lnTo>
                      <a:pt x="199" y="950"/>
                    </a:lnTo>
                    <a:lnTo>
                      <a:pt x="199" y="944"/>
                    </a:lnTo>
                    <a:lnTo>
                      <a:pt x="195" y="939"/>
                    </a:lnTo>
                    <a:lnTo>
                      <a:pt x="200" y="932"/>
                    </a:lnTo>
                    <a:lnTo>
                      <a:pt x="199" y="926"/>
                    </a:lnTo>
                    <a:lnTo>
                      <a:pt x="195" y="922"/>
                    </a:lnTo>
                    <a:lnTo>
                      <a:pt x="194" y="918"/>
                    </a:lnTo>
                    <a:lnTo>
                      <a:pt x="195" y="915"/>
                    </a:lnTo>
                    <a:lnTo>
                      <a:pt x="200" y="917"/>
                    </a:lnTo>
                    <a:lnTo>
                      <a:pt x="203" y="917"/>
                    </a:lnTo>
                    <a:lnTo>
                      <a:pt x="201" y="913"/>
                    </a:lnTo>
                    <a:lnTo>
                      <a:pt x="201" y="910"/>
                    </a:lnTo>
                    <a:lnTo>
                      <a:pt x="203" y="906"/>
                    </a:lnTo>
                    <a:lnTo>
                      <a:pt x="203" y="903"/>
                    </a:lnTo>
                    <a:lnTo>
                      <a:pt x="204" y="891"/>
                    </a:lnTo>
                    <a:lnTo>
                      <a:pt x="203" y="888"/>
                    </a:lnTo>
                    <a:lnTo>
                      <a:pt x="199" y="883"/>
                    </a:lnTo>
                    <a:lnTo>
                      <a:pt x="192" y="880"/>
                    </a:lnTo>
                    <a:lnTo>
                      <a:pt x="193" y="880"/>
                    </a:lnTo>
                    <a:lnTo>
                      <a:pt x="200" y="882"/>
                    </a:lnTo>
                    <a:lnTo>
                      <a:pt x="205" y="881"/>
                    </a:lnTo>
                    <a:lnTo>
                      <a:pt x="207" y="878"/>
                    </a:lnTo>
                    <a:lnTo>
                      <a:pt x="201" y="872"/>
                    </a:lnTo>
                    <a:lnTo>
                      <a:pt x="182" y="869"/>
                    </a:lnTo>
                    <a:lnTo>
                      <a:pt x="183" y="867"/>
                    </a:lnTo>
                    <a:lnTo>
                      <a:pt x="199" y="866"/>
                    </a:lnTo>
                    <a:lnTo>
                      <a:pt x="207" y="868"/>
                    </a:lnTo>
                    <a:lnTo>
                      <a:pt x="212" y="866"/>
                    </a:lnTo>
                    <a:lnTo>
                      <a:pt x="213" y="860"/>
                    </a:lnTo>
                    <a:lnTo>
                      <a:pt x="222" y="859"/>
                    </a:lnTo>
                    <a:lnTo>
                      <a:pt x="229" y="852"/>
                    </a:lnTo>
                    <a:lnTo>
                      <a:pt x="234" y="847"/>
                    </a:lnTo>
                    <a:lnTo>
                      <a:pt x="234" y="840"/>
                    </a:lnTo>
                    <a:lnTo>
                      <a:pt x="238" y="841"/>
                    </a:lnTo>
                    <a:lnTo>
                      <a:pt x="238" y="849"/>
                    </a:lnTo>
                    <a:lnTo>
                      <a:pt x="247" y="848"/>
                    </a:lnTo>
                    <a:lnTo>
                      <a:pt x="251" y="840"/>
                    </a:lnTo>
                    <a:lnTo>
                      <a:pt x="261" y="832"/>
                    </a:lnTo>
                    <a:lnTo>
                      <a:pt x="259" y="823"/>
                    </a:lnTo>
                    <a:lnTo>
                      <a:pt x="262" y="826"/>
                    </a:lnTo>
                    <a:lnTo>
                      <a:pt x="267" y="826"/>
                    </a:lnTo>
                    <a:lnTo>
                      <a:pt x="267" y="822"/>
                    </a:lnTo>
                    <a:lnTo>
                      <a:pt x="270" y="820"/>
                    </a:lnTo>
                    <a:lnTo>
                      <a:pt x="270" y="817"/>
                    </a:lnTo>
                    <a:lnTo>
                      <a:pt x="235" y="823"/>
                    </a:lnTo>
                    <a:lnTo>
                      <a:pt x="227" y="822"/>
                    </a:lnTo>
                    <a:lnTo>
                      <a:pt x="224" y="824"/>
                    </a:lnTo>
                    <a:lnTo>
                      <a:pt x="222" y="820"/>
                    </a:lnTo>
                    <a:lnTo>
                      <a:pt x="218" y="817"/>
                    </a:lnTo>
                    <a:lnTo>
                      <a:pt x="202" y="810"/>
                    </a:lnTo>
                    <a:lnTo>
                      <a:pt x="193" y="811"/>
                    </a:lnTo>
                    <a:lnTo>
                      <a:pt x="189" y="809"/>
                    </a:lnTo>
                    <a:lnTo>
                      <a:pt x="193" y="807"/>
                    </a:lnTo>
                    <a:lnTo>
                      <a:pt x="195" y="802"/>
                    </a:lnTo>
                    <a:lnTo>
                      <a:pt x="200" y="803"/>
                    </a:lnTo>
                    <a:lnTo>
                      <a:pt x="205" y="802"/>
                    </a:lnTo>
                    <a:lnTo>
                      <a:pt x="213" y="803"/>
                    </a:lnTo>
                    <a:lnTo>
                      <a:pt x="214" y="802"/>
                    </a:lnTo>
                    <a:lnTo>
                      <a:pt x="220" y="809"/>
                    </a:lnTo>
                    <a:lnTo>
                      <a:pt x="225" y="807"/>
                    </a:lnTo>
                    <a:lnTo>
                      <a:pt x="225" y="805"/>
                    </a:lnTo>
                    <a:lnTo>
                      <a:pt x="229" y="808"/>
                    </a:lnTo>
                    <a:lnTo>
                      <a:pt x="235" y="810"/>
                    </a:lnTo>
                    <a:lnTo>
                      <a:pt x="237" y="806"/>
                    </a:lnTo>
                    <a:lnTo>
                      <a:pt x="239" y="808"/>
                    </a:lnTo>
                    <a:lnTo>
                      <a:pt x="241" y="814"/>
                    </a:lnTo>
                    <a:lnTo>
                      <a:pt x="247" y="817"/>
                    </a:lnTo>
                    <a:lnTo>
                      <a:pt x="268" y="806"/>
                    </a:lnTo>
                    <a:lnTo>
                      <a:pt x="275" y="794"/>
                    </a:lnTo>
                    <a:lnTo>
                      <a:pt x="279" y="790"/>
                    </a:lnTo>
                    <a:lnTo>
                      <a:pt x="281" y="779"/>
                    </a:lnTo>
                    <a:lnTo>
                      <a:pt x="276" y="770"/>
                    </a:lnTo>
                    <a:lnTo>
                      <a:pt x="269" y="763"/>
                    </a:lnTo>
                    <a:lnTo>
                      <a:pt x="262" y="753"/>
                    </a:lnTo>
                    <a:lnTo>
                      <a:pt x="268" y="753"/>
                    </a:lnTo>
                    <a:lnTo>
                      <a:pt x="268" y="751"/>
                    </a:lnTo>
                    <a:lnTo>
                      <a:pt x="252" y="743"/>
                    </a:lnTo>
                    <a:lnTo>
                      <a:pt x="252" y="738"/>
                    </a:lnTo>
                    <a:lnTo>
                      <a:pt x="249" y="731"/>
                    </a:lnTo>
                    <a:lnTo>
                      <a:pt x="238" y="732"/>
                    </a:lnTo>
                    <a:lnTo>
                      <a:pt x="235" y="729"/>
                    </a:lnTo>
                    <a:lnTo>
                      <a:pt x="234" y="726"/>
                    </a:lnTo>
                    <a:lnTo>
                      <a:pt x="231" y="725"/>
                    </a:lnTo>
                    <a:lnTo>
                      <a:pt x="231" y="728"/>
                    </a:lnTo>
                    <a:lnTo>
                      <a:pt x="227" y="740"/>
                    </a:lnTo>
                    <a:lnTo>
                      <a:pt x="222" y="748"/>
                    </a:lnTo>
                    <a:lnTo>
                      <a:pt x="209" y="757"/>
                    </a:lnTo>
                    <a:lnTo>
                      <a:pt x="205" y="761"/>
                    </a:lnTo>
                    <a:lnTo>
                      <a:pt x="199" y="761"/>
                    </a:lnTo>
                    <a:lnTo>
                      <a:pt x="191" y="763"/>
                    </a:lnTo>
                    <a:lnTo>
                      <a:pt x="186" y="761"/>
                    </a:lnTo>
                    <a:lnTo>
                      <a:pt x="192" y="757"/>
                    </a:lnTo>
                    <a:lnTo>
                      <a:pt x="200" y="755"/>
                    </a:lnTo>
                    <a:lnTo>
                      <a:pt x="205" y="750"/>
                    </a:lnTo>
                    <a:lnTo>
                      <a:pt x="212" y="747"/>
                    </a:lnTo>
                    <a:lnTo>
                      <a:pt x="224" y="737"/>
                    </a:lnTo>
                    <a:lnTo>
                      <a:pt x="226" y="730"/>
                    </a:lnTo>
                    <a:lnTo>
                      <a:pt x="226" y="721"/>
                    </a:lnTo>
                    <a:lnTo>
                      <a:pt x="219" y="720"/>
                    </a:lnTo>
                    <a:lnTo>
                      <a:pt x="223" y="715"/>
                    </a:lnTo>
                    <a:lnTo>
                      <a:pt x="223" y="708"/>
                    </a:lnTo>
                    <a:lnTo>
                      <a:pt x="220" y="703"/>
                    </a:lnTo>
                    <a:lnTo>
                      <a:pt x="218" y="684"/>
                    </a:lnTo>
                    <a:lnTo>
                      <a:pt x="219" y="672"/>
                    </a:lnTo>
                    <a:lnTo>
                      <a:pt x="216" y="657"/>
                    </a:lnTo>
                    <a:lnTo>
                      <a:pt x="217" y="652"/>
                    </a:lnTo>
                    <a:lnTo>
                      <a:pt x="219" y="647"/>
                    </a:lnTo>
                    <a:lnTo>
                      <a:pt x="218" y="644"/>
                    </a:lnTo>
                    <a:lnTo>
                      <a:pt x="228" y="649"/>
                    </a:lnTo>
                    <a:lnTo>
                      <a:pt x="229" y="644"/>
                    </a:lnTo>
                    <a:lnTo>
                      <a:pt x="226" y="628"/>
                    </a:lnTo>
                    <a:lnTo>
                      <a:pt x="229" y="615"/>
                    </a:lnTo>
                    <a:lnTo>
                      <a:pt x="233" y="603"/>
                    </a:lnTo>
                    <a:lnTo>
                      <a:pt x="228" y="596"/>
                    </a:lnTo>
                    <a:lnTo>
                      <a:pt x="226" y="591"/>
                    </a:lnTo>
                    <a:lnTo>
                      <a:pt x="226" y="581"/>
                    </a:lnTo>
                    <a:lnTo>
                      <a:pt x="237" y="588"/>
                    </a:lnTo>
                    <a:lnTo>
                      <a:pt x="238" y="586"/>
                    </a:lnTo>
                    <a:lnTo>
                      <a:pt x="240" y="583"/>
                    </a:lnTo>
                    <a:lnTo>
                      <a:pt x="245" y="578"/>
                    </a:lnTo>
                    <a:lnTo>
                      <a:pt x="245" y="576"/>
                    </a:lnTo>
                    <a:lnTo>
                      <a:pt x="244" y="573"/>
                    </a:lnTo>
                    <a:lnTo>
                      <a:pt x="246" y="563"/>
                    </a:lnTo>
                    <a:lnTo>
                      <a:pt x="242" y="556"/>
                    </a:lnTo>
                    <a:lnTo>
                      <a:pt x="244" y="550"/>
                    </a:lnTo>
                    <a:lnTo>
                      <a:pt x="245" y="557"/>
                    </a:lnTo>
                    <a:lnTo>
                      <a:pt x="251" y="561"/>
                    </a:lnTo>
                    <a:lnTo>
                      <a:pt x="253" y="560"/>
                    </a:lnTo>
                    <a:lnTo>
                      <a:pt x="257" y="554"/>
                    </a:lnTo>
                    <a:lnTo>
                      <a:pt x="261" y="557"/>
                    </a:lnTo>
                    <a:lnTo>
                      <a:pt x="262" y="552"/>
                    </a:lnTo>
                    <a:lnTo>
                      <a:pt x="264" y="548"/>
                    </a:lnTo>
                    <a:lnTo>
                      <a:pt x="257" y="544"/>
                    </a:lnTo>
                    <a:lnTo>
                      <a:pt x="262" y="545"/>
                    </a:lnTo>
                    <a:lnTo>
                      <a:pt x="268" y="541"/>
                    </a:lnTo>
                    <a:lnTo>
                      <a:pt x="268" y="538"/>
                    </a:lnTo>
                    <a:lnTo>
                      <a:pt x="273" y="535"/>
                    </a:lnTo>
                    <a:lnTo>
                      <a:pt x="273" y="529"/>
                    </a:lnTo>
                    <a:lnTo>
                      <a:pt x="278" y="527"/>
                    </a:lnTo>
                    <a:lnTo>
                      <a:pt x="278" y="520"/>
                    </a:lnTo>
                    <a:lnTo>
                      <a:pt x="282" y="519"/>
                    </a:lnTo>
                    <a:lnTo>
                      <a:pt x="289" y="520"/>
                    </a:lnTo>
                    <a:lnTo>
                      <a:pt x="296" y="513"/>
                    </a:lnTo>
                    <a:lnTo>
                      <a:pt x="300" y="507"/>
                    </a:lnTo>
                    <a:lnTo>
                      <a:pt x="308" y="499"/>
                    </a:lnTo>
                    <a:lnTo>
                      <a:pt x="313" y="503"/>
                    </a:lnTo>
                    <a:lnTo>
                      <a:pt x="320" y="498"/>
                    </a:lnTo>
                    <a:lnTo>
                      <a:pt x="321" y="492"/>
                    </a:lnTo>
                    <a:lnTo>
                      <a:pt x="327" y="488"/>
                    </a:lnTo>
                    <a:lnTo>
                      <a:pt x="332" y="489"/>
                    </a:lnTo>
                    <a:lnTo>
                      <a:pt x="335" y="487"/>
                    </a:lnTo>
                    <a:lnTo>
                      <a:pt x="342" y="481"/>
                    </a:lnTo>
                    <a:lnTo>
                      <a:pt x="347" y="476"/>
                    </a:lnTo>
                    <a:lnTo>
                      <a:pt x="351" y="474"/>
                    </a:lnTo>
                    <a:lnTo>
                      <a:pt x="355" y="463"/>
                    </a:lnTo>
                    <a:lnTo>
                      <a:pt x="358" y="457"/>
                    </a:lnTo>
                    <a:lnTo>
                      <a:pt x="365" y="449"/>
                    </a:lnTo>
                    <a:lnTo>
                      <a:pt x="369" y="440"/>
                    </a:lnTo>
                    <a:lnTo>
                      <a:pt x="374" y="431"/>
                    </a:lnTo>
                    <a:lnTo>
                      <a:pt x="376" y="428"/>
                    </a:lnTo>
                    <a:lnTo>
                      <a:pt x="377" y="431"/>
                    </a:lnTo>
                    <a:lnTo>
                      <a:pt x="376" y="438"/>
                    </a:lnTo>
                    <a:lnTo>
                      <a:pt x="383" y="429"/>
                    </a:lnTo>
                    <a:lnTo>
                      <a:pt x="384" y="427"/>
                    </a:lnTo>
                    <a:lnTo>
                      <a:pt x="380" y="422"/>
                    </a:lnTo>
                    <a:lnTo>
                      <a:pt x="380" y="419"/>
                    </a:lnTo>
                    <a:lnTo>
                      <a:pt x="370" y="409"/>
                    </a:lnTo>
                    <a:lnTo>
                      <a:pt x="369" y="405"/>
                    </a:lnTo>
                    <a:lnTo>
                      <a:pt x="371" y="404"/>
                    </a:lnTo>
                    <a:lnTo>
                      <a:pt x="370" y="399"/>
                    </a:lnTo>
                    <a:lnTo>
                      <a:pt x="366" y="395"/>
                    </a:lnTo>
                    <a:lnTo>
                      <a:pt x="366" y="393"/>
                    </a:lnTo>
                    <a:lnTo>
                      <a:pt x="370" y="389"/>
                    </a:lnTo>
                    <a:lnTo>
                      <a:pt x="371" y="385"/>
                    </a:lnTo>
                    <a:lnTo>
                      <a:pt x="376" y="383"/>
                    </a:lnTo>
                    <a:lnTo>
                      <a:pt x="383" y="366"/>
                    </a:lnTo>
                    <a:lnTo>
                      <a:pt x="384" y="362"/>
                    </a:lnTo>
                    <a:lnTo>
                      <a:pt x="377" y="350"/>
                    </a:lnTo>
                    <a:lnTo>
                      <a:pt x="377" y="349"/>
                    </a:lnTo>
                    <a:lnTo>
                      <a:pt x="385" y="345"/>
                    </a:lnTo>
                    <a:lnTo>
                      <a:pt x="385" y="339"/>
                    </a:lnTo>
                    <a:lnTo>
                      <a:pt x="388" y="338"/>
                    </a:lnTo>
                    <a:lnTo>
                      <a:pt x="394" y="341"/>
                    </a:lnTo>
                    <a:lnTo>
                      <a:pt x="396" y="340"/>
                    </a:lnTo>
                    <a:lnTo>
                      <a:pt x="397" y="336"/>
                    </a:lnTo>
                    <a:lnTo>
                      <a:pt x="395" y="332"/>
                    </a:lnTo>
                    <a:lnTo>
                      <a:pt x="400" y="331"/>
                    </a:lnTo>
                    <a:lnTo>
                      <a:pt x="402" y="328"/>
                    </a:lnTo>
                    <a:lnTo>
                      <a:pt x="395" y="318"/>
                    </a:lnTo>
                    <a:lnTo>
                      <a:pt x="395" y="315"/>
                    </a:lnTo>
                    <a:lnTo>
                      <a:pt x="403" y="320"/>
                    </a:lnTo>
                    <a:lnTo>
                      <a:pt x="405" y="326"/>
                    </a:lnTo>
                    <a:lnTo>
                      <a:pt x="408" y="326"/>
                    </a:lnTo>
                    <a:lnTo>
                      <a:pt x="407" y="315"/>
                    </a:lnTo>
                    <a:lnTo>
                      <a:pt x="408" y="316"/>
                    </a:lnTo>
                    <a:lnTo>
                      <a:pt x="410" y="315"/>
                    </a:lnTo>
                    <a:lnTo>
                      <a:pt x="411" y="302"/>
                    </a:lnTo>
                    <a:lnTo>
                      <a:pt x="414" y="301"/>
                    </a:lnTo>
                    <a:lnTo>
                      <a:pt x="417" y="301"/>
                    </a:lnTo>
                    <a:lnTo>
                      <a:pt x="417" y="304"/>
                    </a:lnTo>
                    <a:lnTo>
                      <a:pt x="419" y="307"/>
                    </a:lnTo>
                    <a:lnTo>
                      <a:pt x="422" y="309"/>
                    </a:lnTo>
                    <a:lnTo>
                      <a:pt x="425" y="300"/>
                    </a:lnTo>
                    <a:lnTo>
                      <a:pt x="429" y="303"/>
                    </a:lnTo>
                    <a:lnTo>
                      <a:pt x="432" y="309"/>
                    </a:lnTo>
                    <a:lnTo>
                      <a:pt x="436" y="309"/>
                    </a:lnTo>
                    <a:lnTo>
                      <a:pt x="439" y="313"/>
                    </a:lnTo>
                    <a:lnTo>
                      <a:pt x="442" y="305"/>
                    </a:lnTo>
                    <a:lnTo>
                      <a:pt x="460" y="304"/>
                    </a:lnTo>
                    <a:lnTo>
                      <a:pt x="465" y="307"/>
                    </a:lnTo>
                    <a:lnTo>
                      <a:pt x="470" y="313"/>
                    </a:lnTo>
                    <a:lnTo>
                      <a:pt x="472" y="307"/>
                    </a:lnTo>
                    <a:lnTo>
                      <a:pt x="475" y="305"/>
                    </a:lnTo>
                    <a:lnTo>
                      <a:pt x="473" y="297"/>
                    </a:lnTo>
                    <a:lnTo>
                      <a:pt x="463" y="274"/>
                    </a:lnTo>
                    <a:close/>
                  </a:path>
                </a:pathLst>
              </a:custGeom>
              <a:solidFill>
                <a:srgbClr val="6785C1">
                  <a:lumMod val="40000"/>
                  <a:lumOff val="60000"/>
                </a:srgbClr>
              </a:solidFill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grpSp>
            <p:nvGrpSpPr>
              <p:cNvPr id="97" name="France">
                <a:extLst>
                  <a:ext uri="{FF2B5EF4-FFF2-40B4-BE49-F238E27FC236}">
                    <a16:creationId xmlns:a16="http://schemas.microsoft.com/office/drawing/2014/main" id="{A2D1E242-ADA1-EB2C-2E8B-B9CED68EF6DE}"/>
                  </a:ext>
                </a:extLst>
              </p:cNvPr>
              <p:cNvGrpSpPr/>
              <p:nvPr/>
            </p:nvGrpSpPr>
            <p:grpSpPr>
              <a:xfrm>
                <a:off x="3788217" y="4509808"/>
                <a:ext cx="1174638" cy="1282883"/>
                <a:chOff x="3788217" y="4509808"/>
                <a:chExt cx="1174638" cy="1282883"/>
              </a:xfrm>
              <a:grpFill/>
            </p:grpSpPr>
            <p:sp>
              <p:nvSpPr>
                <p:cNvPr id="143" name="France" descr="{&quot;Key&quot;:&quot;france&quot;,&quot;Name&quot;:&quot;France&quot;,&quot;Value&quot;:1.0,&quot;Formula&quot;:&quot;&quot;,&quot;Text&quot;:&quot;&quot;,&quot;OfficeApplication&quot;:1,&quot;HasValue&quot;:true}">
                  <a:extLst>
                    <a:ext uri="{FF2B5EF4-FFF2-40B4-BE49-F238E27FC236}">
                      <a16:creationId xmlns:a16="http://schemas.microsoft.com/office/drawing/2014/main" id="{DB58699B-A2D0-54AE-EE07-F637ABAA74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84415" y="5608127"/>
                  <a:ext cx="78440" cy="184564"/>
                </a:xfrm>
                <a:custGeom>
                  <a:avLst/>
                  <a:gdLst>
                    <a:gd name="T0" fmla="*/ 30 w 34"/>
                    <a:gd name="T1" fmla="*/ 1 h 80"/>
                    <a:gd name="T2" fmla="*/ 26 w 34"/>
                    <a:gd name="T3" fmla="*/ 0 h 80"/>
                    <a:gd name="T4" fmla="*/ 25 w 34"/>
                    <a:gd name="T5" fmla="*/ 9 h 80"/>
                    <a:gd name="T6" fmla="*/ 24 w 34"/>
                    <a:gd name="T7" fmla="*/ 12 h 80"/>
                    <a:gd name="T8" fmla="*/ 18 w 34"/>
                    <a:gd name="T9" fmla="*/ 14 h 80"/>
                    <a:gd name="T10" fmla="*/ 11 w 34"/>
                    <a:gd name="T11" fmla="*/ 19 h 80"/>
                    <a:gd name="T12" fmla="*/ 7 w 34"/>
                    <a:gd name="T13" fmla="*/ 21 h 80"/>
                    <a:gd name="T14" fmla="*/ 3 w 34"/>
                    <a:gd name="T15" fmla="*/ 20 h 80"/>
                    <a:gd name="T16" fmla="*/ 0 w 34"/>
                    <a:gd name="T17" fmla="*/ 29 h 80"/>
                    <a:gd name="T18" fmla="*/ 0 w 34"/>
                    <a:gd name="T19" fmla="*/ 40 h 80"/>
                    <a:gd name="T20" fmla="*/ 3 w 34"/>
                    <a:gd name="T21" fmla="*/ 43 h 80"/>
                    <a:gd name="T22" fmla="*/ 3 w 34"/>
                    <a:gd name="T23" fmla="*/ 57 h 80"/>
                    <a:gd name="T24" fmla="*/ 4 w 34"/>
                    <a:gd name="T25" fmla="*/ 62 h 80"/>
                    <a:gd name="T26" fmla="*/ 9 w 34"/>
                    <a:gd name="T27" fmla="*/ 63 h 80"/>
                    <a:gd name="T28" fmla="*/ 9 w 34"/>
                    <a:gd name="T29" fmla="*/ 68 h 80"/>
                    <a:gd name="T30" fmla="*/ 11 w 34"/>
                    <a:gd name="T31" fmla="*/ 72 h 80"/>
                    <a:gd name="T32" fmla="*/ 15 w 34"/>
                    <a:gd name="T33" fmla="*/ 75 h 80"/>
                    <a:gd name="T34" fmla="*/ 19 w 34"/>
                    <a:gd name="T35" fmla="*/ 75 h 80"/>
                    <a:gd name="T36" fmla="*/ 22 w 34"/>
                    <a:gd name="T37" fmla="*/ 80 h 80"/>
                    <a:gd name="T38" fmla="*/ 22 w 34"/>
                    <a:gd name="T39" fmla="*/ 77 h 80"/>
                    <a:gd name="T40" fmla="*/ 26 w 34"/>
                    <a:gd name="T41" fmla="*/ 68 h 80"/>
                    <a:gd name="T42" fmla="*/ 30 w 34"/>
                    <a:gd name="T43" fmla="*/ 59 h 80"/>
                    <a:gd name="T44" fmla="*/ 31 w 34"/>
                    <a:gd name="T45" fmla="*/ 53 h 80"/>
                    <a:gd name="T46" fmla="*/ 33 w 34"/>
                    <a:gd name="T47" fmla="*/ 46 h 80"/>
                    <a:gd name="T48" fmla="*/ 34 w 34"/>
                    <a:gd name="T49" fmla="*/ 39 h 80"/>
                    <a:gd name="T50" fmla="*/ 31 w 34"/>
                    <a:gd name="T51" fmla="*/ 21 h 80"/>
                    <a:gd name="T52" fmla="*/ 30 w 34"/>
                    <a:gd name="T53" fmla="*/ 1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34" h="80">
                      <a:moveTo>
                        <a:pt x="30" y="1"/>
                      </a:moveTo>
                      <a:lnTo>
                        <a:pt x="26" y="0"/>
                      </a:lnTo>
                      <a:lnTo>
                        <a:pt x="25" y="9"/>
                      </a:lnTo>
                      <a:lnTo>
                        <a:pt x="24" y="12"/>
                      </a:lnTo>
                      <a:lnTo>
                        <a:pt x="18" y="14"/>
                      </a:lnTo>
                      <a:lnTo>
                        <a:pt x="11" y="19"/>
                      </a:lnTo>
                      <a:lnTo>
                        <a:pt x="7" y="21"/>
                      </a:lnTo>
                      <a:lnTo>
                        <a:pt x="3" y="20"/>
                      </a:lnTo>
                      <a:lnTo>
                        <a:pt x="0" y="29"/>
                      </a:lnTo>
                      <a:lnTo>
                        <a:pt x="0" y="40"/>
                      </a:lnTo>
                      <a:lnTo>
                        <a:pt x="3" y="43"/>
                      </a:lnTo>
                      <a:lnTo>
                        <a:pt x="3" y="57"/>
                      </a:lnTo>
                      <a:lnTo>
                        <a:pt x="4" y="62"/>
                      </a:lnTo>
                      <a:lnTo>
                        <a:pt x="9" y="63"/>
                      </a:lnTo>
                      <a:lnTo>
                        <a:pt x="9" y="68"/>
                      </a:lnTo>
                      <a:lnTo>
                        <a:pt x="11" y="72"/>
                      </a:lnTo>
                      <a:lnTo>
                        <a:pt x="15" y="75"/>
                      </a:lnTo>
                      <a:lnTo>
                        <a:pt x="19" y="75"/>
                      </a:lnTo>
                      <a:lnTo>
                        <a:pt x="22" y="80"/>
                      </a:lnTo>
                      <a:lnTo>
                        <a:pt x="22" y="77"/>
                      </a:lnTo>
                      <a:lnTo>
                        <a:pt x="26" y="68"/>
                      </a:lnTo>
                      <a:lnTo>
                        <a:pt x="30" y="59"/>
                      </a:lnTo>
                      <a:lnTo>
                        <a:pt x="31" y="53"/>
                      </a:lnTo>
                      <a:lnTo>
                        <a:pt x="33" y="46"/>
                      </a:lnTo>
                      <a:lnTo>
                        <a:pt x="34" y="39"/>
                      </a:lnTo>
                      <a:lnTo>
                        <a:pt x="31" y="21"/>
                      </a:lnTo>
                      <a:lnTo>
                        <a:pt x="30" y="1"/>
                      </a:lnTo>
                      <a:close/>
                    </a:path>
                  </a:pathLst>
                </a:custGeom>
                <a:solidFill>
                  <a:srgbClr val="405F9E"/>
                </a:solidFill>
                <a:ln w="635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609585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219170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828754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438339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3047924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657509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4267093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876678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914354">
                    <a:defRPr/>
                  </a:pPr>
                  <a:endParaRPr lang="en-GB" sz="800">
                    <a:solidFill>
                      <a:srgbClr val="404040"/>
                    </a:solidFill>
                  </a:endParaRPr>
                </a:p>
              </p:txBody>
            </p:sp>
            <p:sp>
              <p:nvSpPr>
                <p:cNvPr id="144" name="France" descr="{&quot;Key&quot;:&quot;france&quot;,&quot;Name&quot;:&quot;France&quot;,&quot;Value&quot;:1.0,&quot;Formula&quot;:&quot;&quot;,&quot;Text&quot;:&quot;&quot;,&quot;OfficeApplication&quot;:1,&quot;HasValue&quot;:true}">
                  <a:extLst>
                    <a:ext uri="{FF2B5EF4-FFF2-40B4-BE49-F238E27FC236}">
                      <a16:creationId xmlns:a16="http://schemas.microsoft.com/office/drawing/2014/main" id="{E2846550-B2A7-A99E-292C-8339094EB5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120000">
                  <a:off x="3788217" y="4509808"/>
                  <a:ext cx="1169908" cy="1177521"/>
                </a:xfrm>
                <a:custGeom>
                  <a:avLst/>
                  <a:gdLst>
                    <a:gd name="T0" fmla="*/ 395 w 461"/>
                    <a:gd name="T1" fmla="*/ 87 h 464"/>
                    <a:gd name="T2" fmla="*/ 358 w 461"/>
                    <a:gd name="T3" fmla="*/ 80 h 464"/>
                    <a:gd name="T4" fmla="*/ 345 w 461"/>
                    <a:gd name="T5" fmla="*/ 55 h 464"/>
                    <a:gd name="T6" fmla="*/ 323 w 461"/>
                    <a:gd name="T7" fmla="*/ 51 h 464"/>
                    <a:gd name="T8" fmla="*/ 293 w 461"/>
                    <a:gd name="T9" fmla="*/ 32 h 464"/>
                    <a:gd name="T10" fmla="*/ 271 w 461"/>
                    <a:gd name="T11" fmla="*/ 0 h 464"/>
                    <a:gd name="T12" fmla="*/ 230 w 461"/>
                    <a:gd name="T13" fmla="*/ 44 h 464"/>
                    <a:gd name="T14" fmla="*/ 192 w 461"/>
                    <a:gd name="T15" fmla="*/ 72 h 464"/>
                    <a:gd name="T16" fmla="*/ 192 w 461"/>
                    <a:gd name="T17" fmla="*/ 92 h 464"/>
                    <a:gd name="T18" fmla="*/ 157 w 461"/>
                    <a:gd name="T19" fmla="*/ 102 h 464"/>
                    <a:gd name="T20" fmla="*/ 127 w 461"/>
                    <a:gd name="T21" fmla="*/ 82 h 464"/>
                    <a:gd name="T22" fmla="*/ 108 w 461"/>
                    <a:gd name="T23" fmla="*/ 98 h 464"/>
                    <a:gd name="T24" fmla="*/ 122 w 461"/>
                    <a:gd name="T25" fmla="*/ 137 h 464"/>
                    <a:gd name="T26" fmla="*/ 101 w 461"/>
                    <a:gd name="T27" fmla="*/ 137 h 464"/>
                    <a:gd name="T28" fmla="*/ 51 w 461"/>
                    <a:gd name="T29" fmla="*/ 129 h 464"/>
                    <a:gd name="T30" fmla="*/ 28 w 461"/>
                    <a:gd name="T31" fmla="*/ 137 h 464"/>
                    <a:gd name="T32" fmla="*/ 13 w 461"/>
                    <a:gd name="T33" fmla="*/ 153 h 464"/>
                    <a:gd name="T34" fmla="*/ 12 w 461"/>
                    <a:gd name="T35" fmla="*/ 164 h 464"/>
                    <a:gd name="T36" fmla="*/ 15 w 461"/>
                    <a:gd name="T37" fmla="*/ 177 h 464"/>
                    <a:gd name="T38" fmla="*/ 50 w 461"/>
                    <a:gd name="T39" fmla="*/ 188 h 464"/>
                    <a:gd name="T40" fmla="*/ 74 w 461"/>
                    <a:gd name="T41" fmla="*/ 197 h 464"/>
                    <a:gd name="T42" fmla="*/ 84 w 461"/>
                    <a:gd name="T43" fmla="*/ 211 h 464"/>
                    <a:gd name="T44" fmla="*/ 98 w 461"/>
                    <a:gd name="T45" fmla="*/ 221 h 464"/>
                    <a:gd name="T46" fmla="*/ 102 w 461"/>
                    <a:gd name="T47" fmla="*/ 241 h 464"/>
                    <a:gd name="T48" fmla="*/ 134 w 461"/>
                    <a:gd name="T49" fmla="*/ 265 h 464"/>
                    <a:gd name="T50" fmla="*/ 134 w 461"/>
                    <a:gd name="T51" fmla="*/ 298 h 464"/>
                    <a:gd name="T52" fmla="*/ 136 w 461"/>
                    <a:gd name="T53" fmla="*/ 304 h 464"/>
                    <a:gd name="T54" fmla="*/ 134 w 461"/>
                    <a:gd name="T55" fmla="*/ 344 h 464"/>
                    <a:gd name="T56" fmla="*/ 123 w 461"/>
                    <a:gd name="T57" fmla="*/ 402 h 464"/>
                    <a:gd name="T58" fmla="*/ 122 w 461"/>
                    <a:gd name="T59" fmla="*/ 428 h 464"/>
                    <a:gd name="T60" fmla="*/ 178 w 461"/>
                    <a:gd name="T61" fmla="*/ 449 h 464"/>
                    <a:gd name="T62" fmla="*/ 211 w 461"/>
                    <a:gd name="T63" fmla="*/ 446 h 464"/>
                    <a:gd name="T64" fmla="*/ 245 w 461"/>
                    <a:gd name="T65" fmla="*/ 464 h 464"/>
                    <a:gd name="T66" fmla="*/ 284 w 461"/>
                    <a:gd name="T67" fmla="*/ 442 h 464"/>
                    <a:gd name="T68" fmla="*/ 307 w 461"/>
                    <a:gd name="T69" fmla="*/ 413 h 464"/>
                    <a:gd name="T70" fmla="*/ 334 w 461"/>
                    <a:gd name="T71" fmla="*/ 409 h 464"/>
                    <a:gd name="T72" fmla="*/ 349 w 461"/>
                    <a:gd name="T73" fmla="*/ 413 h 464"/>
                    <a:gd name="T74" fmla="*/ 368 w 461"/>
                    <a:gd name="T75" fmla="*/ 419 h 464"/>
                    <a:gd name="T76" fmla="*/ 410 w 461"/>
                    <a:gd name="T77" fmla="*/ 420 h 464"/>
                    <a:gd name="T78" fmla="*/ 429 w 461"/>
                    <a:gd name="T79" fmla="*/ 401 h 464"/>
                    <a:gd name="T80" fmla="*/ 445 w 461"/>
                    <a:gd name="T81" fmla="*/ 383 h 464"/>
                    <a:gd name="T82" fmla="*/ 419 w 461"/>
                    <a:gd name="T83" fmla="*/ 357 h 464"/>
                    <a:gd name="T84" fmla="*/ 413 w 461"/>
                    <a:gd name="T85" fmla="*/ 334 h 464"/>
                    <a:gd name="T86" fmla="*/ 424 w 461"/>
                    <a:gd name="T87" fmla="*/ 310 h 464"/>
                    <a:gd name="T88" fmla="*/ 421 w 461"/>
                    <a:gd name="T89" fmla="*/ 278 h 464"/>
                    <a:gd name="T90" fmla="*/ 401 w 461"/>
                    <a:gd name="T91" fmla="*/ 257 h 464"/>
                    <a:gd name="T92" fmla="*/ 390 w 461"/>
                    <a:gd name="T93" fmla="*/ 246 h 464"/>
                    <a:gd name="T94" fmla="*/ 402 w 461"/>
                    <a:gd name="T95" fmla="*/ 229 h 464"/>
                    <a:gd name="T96" fmla="*/ 434 w 461"/>
                    <a:gd name="T97" fmla="*/ 199 h 464"/>
                    <a:gd name="T98" fmla="*/ 441 w 461"/>
                    <a:gd name="T99" fmla="*/ 166 h 464"/>
                    <a:gd name="T100" fmla="*/ 452 w 461"/>
                    <a:gd name="T101" fmla="*/ 115 h 4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461" h="464">
                      <a:moveTo>
                        <a:pt x="425" y="107"/>
                      </a:moveTo>
                      <a:lnTo>
                        <a:pt x="413" y="106"/>
                      </a:lnTo>
                      <a:lnTo>
                        <a:pt x="408" y="98"/>
                      </a:lnTo>
                      <a:lnTo>
                        <a:pt x="404" y="94"/>
                      </a:lnTo>
                      <a:lnTo>
                        <a:pt x="395" y="87"/>
                      </a:lnTo>
                      <a:lnTo>
                        <a:pt x="388" y="87"/>
                      </a:lnTo>
                      <a:lnTo>
                        <a:pt x="377" y="84"/>
                      </a:lnTo>
                      <a:lnTo>
                        <a:pt x="371" y="85"/>
                      </a:lnTo>
                      <a:lnTo>
                        <a:pt x="363" y="84"/>
                      </a:lnTo>
                      <a:lnTo>
                        <a:pt x="358" y="80"/>
                      </a:lnTo>
                      <a:lnTo>
                        <a:pt x="350" y="75"/>
                      </a:lnTo>
                      <a:lnTo>
                        <a:pt x="352" y="71"/>
                      </a:lnTo>
                      <a:lnTo>
                        <a:pt x="349" y="70"/>
                      </a:lnTo>
                      <a:lnTo>
                        <a:pt x="349" y="55"/>
                      </a:lnTo>
                      <a:lnTo>
                        <a:pt x="345" y="55"/>
                      </a:lnTo>
                      <a:lnTo>
                        <a:pt x="340" y="60"/>
                      </a:lnTo>
                      <a:lnTo>
                        <a:pt x="338" y="64"/>
                      </a:lnTo>
                      <a:lnTo>
                        <a:pt x="331" y="64"/>
                      </a:lnTo>
                      <a:lnTo>
                        <a:pt x="325" y="62"/>
                      </a:lnTo>
                      <a:lnTo>
                        <a:pt x="323" y="51"/>
                      </a:lnTo>
                      <a:lnTo>
                        <a:pt x="322" y="46"/>
                      </a:lnTo>
                      <a:lnTo>
                        <a:pt x="317" y="42"/>
                      </a:lnTo>
                      <a:lnTo>
                        <a:pt x="310" y="39"/>
                      </a:lnTo>
                      <a:lnTo>
                        <a:pt x="300" y="34"/>
                      </a:lnTo>
                      <a:lnTo>
                        <a:pt x="293" y="32"/>
                      </a:lnTo>
                      <a:lnTo>
                        <a:pt x="288" y="19"/>
                      </a:lnTo>
                      <a:lnTo>
                        <a:pt x="280" y="21"/>
                      </a:lnTo>
                      <a:lnTo>
                        <a:pt x="272" y="17"/>
                      </a:lnTo>
                      <a:lnTo>
                        <a:pt x="271" y="11"/>
                      </a:lnTo>
                      <a:lnTo>
                        <a:pt x="271" y="0"/>
                      </a:lnTo>
                      <a:lnTo>
                        <a:pt x="268" y="2"/>
                      </a:lnTo>
                      <a:lnTo>
                        <a:pt x="253" y="4"/>
                      </a:lnTo>
                      <a:lnTo>
                        <a:pt x="236" y="11"/>
                      </a:lnTo>
                      <a:lnTo>
                        <a:pt x="232" y="24"/>
                      </a:lnTo>
                      <a:lnTo>
                        <a:pt x="230" y="44"/>
                      </a:lnTo>
                      <a:lnTo>
                        <a:pt x="232" y="46"/>
                      </a:lnTo>
                      <a:lnTo>
                        <a:pt x="231" y="51"/>
                      </a:lnTo>
                      <a:lnTo>
                        <a:pt x="223" y="59"/>
                      </a:lnTo>
                      <a:lnTo>
                        <a:pt x="214" y="65"/>
                      </a:lnTo>
                      <a:lnTo>
                        <a:pt x="192" y="72"/>
                      </a:lnTo>
                      <a:lnTo>
                        <a:pt x="182" y="79"/>
                      </a:lnTo>
                      <a:lnTo>
                        <a:pt x="178" y="87"/>
                      </a:lnTo>
                      <a:lnTo>
                        <a:pt x="178" y="91"/>
                      </a:lnTo>
                      <a:lnTo>
                        <a:pt x="188" y="91"/>
                      </a:lnTo>
                      <a:lnTo>
                        <a:pt x="192" y="92"/>
                      </a:lnTo>
                      <a:lnTo>
                        <a:pt x="191" y="94"/>
                      </a:lnTo>
                      <a:lnTo>
                        <a:pt x="177" y="96"/>
                      </a:lnTo>
                      <a:lnTo>
                        <a:pt x="170" y="101"/>
                      </a:lnTo>
                      <a:lnTo>
                        <a:pt x="165" y="102"/>
                      </a:lnTo>
                      <a:lnTo>
                        <a:pt x="157" y="102"/>
                      </a:lnTo>
                      <a:lnTo>
                        <a:pt x="148" y="99"/>
                      </a:lnTo>
                      <a:lnTo>
                        <a:pt x="137" y="98"/>
                      </a:lnTo>
                      <a:lnTo>
                        <a:pt x="134" y="98"/>
                      </a:lnTo>
                      <a:lnTo>
                        <a:pt x="126" y="87"/>
                      </a:lnTo>
                      <a:lnTo>
                        <a:pt x="127" y="82"/>
                      </a:lnTo>
                      <a:lnTo>
                        <a:pt x="124" y="81"/>
                      </a:lnTo>
                      <a:lnTo>
                        <a:pt x="111" y="82"/>
                      </a:lnTo>
                      <a:lnTo>
                        <a:pt x="104" y="80"/>
                      </a:lnTo>
                      <a:lnTo>
                        <a:pt x="105" y="93"/>
                      </a:lnTo>
                      <a:lnTo>
                        <a:pt x="108" y="98"/>
                      </a:lnTo>
                      <a:lnTo>
                        <a:pt x="112" y="102"/>
                      </a:lnTo>
                      <a:lnTo>
                        <a:pt x="115" y="117"/>
                      </a:lnTo>
                      <a:lnTo>
                        <a:pt x="115" y="126"/>
                      </a:lnTo>
                      <a:lnTo>
                        <a:pt x="118" y="133"/>
                      </a:lnTo>
                      <a:lnTo>
                        <a:pt x="122" y="137"/>
                      </a:lnTo>
                      <a:lnTo>
                        <a:pt x="119" y="139"/>
                      </a:lnTo>
                      <a:lnTo>
                        <a:pt x="111" y="140"/>
                      </a:lnTo>
                      <a:lnTo>
                        <a:pt x="109" y="137"/>
                      </a:lnTo>
                      <a:lnTo>
                        <a:pt x="107" y="136"/>
                      </a:lnTo>
                      <a:lnTo>
                        <a:pt x="101" y="137"/>
                      </a:lnTo>
                      <a:lnTo>
                        <a:pt x="96" y="139"/>
                      </a:lnTo>
                      <a:lnTo>
                        <a:pt x="90" y="139"/>
                      </a:lnTo>
                      <a:lnTo>
                        <a:pt x="78" y="142"/>
                      </a:lnTo>
                      <a:lnTo>
                        <a:pt x="62" y="128"/>
                      </a:lnTo>
                      <a:lnTo>
                        <a:pt x="51" y="129"/>
                      </a:lnTo>
                      <a:lnTo>
                        <a:pt x="47" y="128"/>
                      </a:lnTo>
                      <a:lnTo>
                        <a:pt x="44" y="130"/>
                      </a:lnTo>
                      <a:lnTo>
                        <a:pt x="43" y="133"/>
                      </a:lnTo>
                      <a:lnTo>
                        <a:pt x="33" y="137"/>
                      </a:lnTo>
                      <a:lnTo>
                        <a:pt x="28" y="137"/>
                      </a:lnTo>
                      <a:lnTo>
                        <a:pt x="17" y="139"/>
                      </a:lnTo>
                      <a:lnTo>
                        <a:pt x="2" y="145"/>
                      </a:lnTo>
                      <a:lnTo>
                        <a:pt x="0" y="152"/>
                      </a:lnTo>
                      <a:lnTo>
                        <a:pt x="0" y="155"/>
                      </a:lnTo>
                      <a:lnTo>
                        <a:pt x="13" y="153"/>
                      </a:lnTo>
                      <a:lnTo>
                        <a:pt x="12" y="156"/>
                      </a:lnTo>
                      <a:lnTo>
                        <a:pt x="9" y="157"/>
                      </a:lnTo>
                      <a:lnTo>
                        <a:pt x="6" y="161"/>
                      </a:lnTo>
                      <a:lnTo>
                        <a:pt x="7" y="164"/>
                      </a:lnTo>
                      <a:lnTo>
                        <a:pt x="12" y="164"/>
                      </a:lnTo>
                      <a:lnTo>
                        <a:pt x="19" y="163"/>
                      </a:lnTo>
                      <a:lnTo>
                        <a:pt x="17" y="168"/>
                      </a:lnTo>
                      <a:lnTo>
                        <a:pt x="3" y="171"/>
                      </a:lnTo>
                      <a:lnTo>
                        <a:pt x="7" y="174"/>
                      </a:lnTo>
                      <a:lnTo>
                        <a:pt x="15" y="177"/>
                      </a:lnTo>
                      <a:lnTo>
                        <a:pt x="15" y="184"/>
                      </a:lnTo>
                      <a:lnTo>
                        <a:pt x="23" y="185"/>
                      </a:lnTo>
                      <a:lnTo>
                        <a:pt x="23" y="182"/>
                      </a:lnTo>
                      <a:lnTo>
                        <a:pt x="29" y="180"/>
                      </a:lnTo>
                      <a:lnTo>
                        <a:pt x="50" y="188"/>
                      </a:lnTo>
                      <a:lnTo>
                        <a:pt x="55" y="193"/>
                      </a:lnTo>
                      <a:lnTo>
                        <a:pt x="57" y="197"/>
                      </a:lnTo>
                      <a:lnTo>
                        <a:pt x="60" y="198"/>
                      </a:lnTo>
                      <a:lnTo>
                        <a:pt x="69" y="195"/>
                      </a:lnTo>
                      <a:lnTo>
                        <a:pt x="74" y="197"/>
                      </a:lnTo>
                      <a:lnTo>
                        <a:pt x="70" y="199"/>
                      </a:lnTo>
                      <a:lnTo>
                        <a:pt x="78" y="201"/>
                      </a:lnTo>
                      <a:lnTo>
                        <a:pt x="82" y="199"/>
                      </a:lnTo>
                      <a:lnTo>
                        <a:pt x="85" y="200"/>
                      </a:lnTo>
                      <a:lnTo>
                        <a:pt x="84" y="211"/>
                      </a:lnTo>
                      <a:lnTo>
                        <a:pt x="92" y="213"/>
                      </a:lnTo>
                      <a:lnTo>
                        <a:pt x="102" y="211"/>
                      </a:lnTo>
                      <a:lnTo>
                        <a:pt x="109" y="213"/>
                      </a:lnTo>
                      <a:lnTo>
                        <a:pt x="98" y="218"/>
                      </a:lnTo>
                      <a:lnTo>
                        <a:pt x="98" y="221"/>
                      </a:lnTo>
                      <a:lnTo>
                        <a:pt x="102" y="226"/>
                      </a:lnTo>
                      <a:lnTo>
                        <a:pt x="100" y="231"/>
                      </a:lnTo>
                      <a:lnTo>
                        <a:pt x="96" y="228"/>
                      </a:lnTo>
                      <a:lnTo>
                        <a:pt x="96" y="233"/>
                      </a:lnTo>
                      <a:lnTo>
                        <a:pt x="102" y="241"/>
                      </a:lnTo>
                      <a:lnTo>
                        <a:pt x="107" y="247"/>
                      </a:lnTo>
                      <a:lnTo>
                        <a:pt x="109" y="253"/>
                      </a:lnTo>
                      <a:lnTo>
                        <a:pt x="116" y="258"/>
                      </a:lnTo>
                      <a:lnTo>
                        <a:pt x="125" y="263"/>
                      </a:lnTo>
                      <a:lnTo>
                        <a:pt x="134" y="265"/>
                      </a:lnTo>
                      <a:lnTo>
                        <a:pt x="133" y="270"/>
                      </a:lnTo>
                      <a:lnTo>
                        <a:pt x="135" y="276"/>
                      </a:lnTo>
                      <a:lnTo>
                        <a:pt x="135" y="285"/>
                      </a:lnTo>
                      <a:lnTo>
                        <a:pt x="132" y="291"/>
                      </a:lnTo>
                      <a:lnTo>
                        <a:pt x="134" y="298"/>
                      </a:lnTo>
                      <a:lnTo>
                        <a:pt x="141" y="302"/>
                      </a:lnTo>
                      <a:lnTo>
                        <a:pt x="146" y="310"/>
                      </a:lnTo>
                      <a:lnTo>
                        <a:pt x="148" y="318"/>
                      </a:lnTo>
                      <a:lnTo>
                        <a:pt x="146" y="315"/>
                      </a:lnTo>
                      <a:lnTo>
                        <a:pt x="136" y="304"/>
                      </a:lnTo>
                      <a:lnTo>
                        <a:pt x="135" y="310"/>
                      </a:lnTo>
                      <a:lnTo>
                        <a:pt x="134" y="321"/>
                      </a:lnTo>
                      <a:lnTo>
                        <a:pt x="132" y="343"/>
                      </a:lnTo>
                      <a:lnTo>
                        <a:pt x="131" y="349"/>
                      </a:lnTo>
                      <a:lnTo>
                        <a:pt x="134" y="344"/>
                      </a:lnTo>
                      <a:lnTo>
                        <a:pt x="136" y="348"/>
                      </a:lnTo>
                      <a:lnTo>
                        <a:pt x="135" y="350"/>
                      </a:lnTo>
                      <a:lnTo>
                        <a:pt x="131" y="355"/>
                      </a:lnTo>
                      <a:lnTo>
                        <a:pt x="131" y="362"/>
                      </a:lnTo>
                      <a:lnTo>
                        <a:pt x="123" y="402"/>
                      </a:lnTo>
                      <a:lnTo>
                        <a:pt x="120" y="409"/>
                      </a:lnTo>
                      <a:lnTo>
                        <a:pt x="113" y="414"/>
                      </a:lnTo>
                      <a:lnTo>
                        <a:pt x="107" y="413"/>
                      </a:lnTo>
                      <a:lnTo>
                        <a:pt x="108" y="416"/>
                      </a:lnTo>
                      <a:lnTo>
                        <a:pt x="122" y="428"/>
                      </a:lnTo>
                      <a:lnTo>
                        <a:pt x="129" y="431"/>
                      </a:lnTo>
                      <a:lnTo>
                        <a:pt x="135" y="432"/>
                      </a:lnTo>
                      <a:lnTo>
                        <a:pt x="143" y="437"/>
                      </a:lnTo>
                      <a:lnTo>
                        <a:pt x="147" y="441"/>
                      </a:lnTo>
                      <a:lnTo>
                        <a:pt x="178" y="449"/>
                      </a:lnTo>
                      <a:lnTo>
                        <a:pt x="188" y="450"/>
                      </a:lnTo>
                      <a:lnTo>
                        <a:pt x="192" y="449"/>
                      </a:lnTo>
                      <a:lnTo>
                        <a:pt x="199" y="444"/>
                      </a:lnTo>
                      <a:lnTo>
                        <a:pt x="205" y="443"/>
                      </a:lnTo>
                      <a:lnTo>
                        <a:pt x="211" y="446"/>
                      </a:lnTo>
                      <a:lnTo>
                        <a:pt x="220" y="452"/>
                      </a:lnTo>
                      <a:lnTo>
                        <a:pt x="230" y="453"/>
                      </a:lnTo>
                      <a:lnTo>
                        <a:pt x="233" y="456"/>
                      </a:lnTo>
                      <a:lnTo>
                        <a:pt x="239" y="462"/>
                      </a:lnTo>
                      <a:lnTo>
                        <a:pt x="245" y="464"/>
                      </a:lnTo>
                      <a:lnTo>
                        <a:pt x="264" y="462"/>
                      </a:lnTo>
                      <a:lnTo>
                        <a:pt x="272" y="461"/>
                      </a:lnTo>
                      <a:lnTo>
                        <a:pt x="281" y="461"/>
                      </a:lnTo>
                      <a:lnTo>
                        <a:pt x="287" y="461"/>
                      </a:lnTo>
                      <a:lnTo>
                        <a:pt x="284" y="442"/>
                      </a:lnTo>
                      <a:lnTo>
                        <a:pt x="282" y="439"/>
                      </a:lnTo>
                      <a:lnTo>
                        <a:pt x="283" y="429"/>
                      </a:lnTo>
                      <a:lnTo>
                        <a:pt x="288" y="423"/>
                      </a:lnTo>
                      <a:lnTo>
                        <a:pt x="301" y="417"/>
                      </a:lnTo>
                      <a:lnTo>
                        <a:pt x="307" y="413"/>
                      </a:lnTo>
                      <a:lnTo>
                        <a:pt x="311" y="408"/>
                      </a:lnTo>
                      <a:lnTo>
                        <a:pt x="317" y="405"/>
                      </a:lnTo>
                      <a:lnTo>
                        <a:pt x="321" y="405"/>
                      </a:lnTo>
                      <a:lnTo>
                        <a:pt x="323" y="407"/>
                      </a:lnTo>
                      <a:lnTo>
                        <a:pt x="334" y="409"/>
                      </a:lnTo>
                      <a:lnTo>
                        <a:pt x="335" y="410"/>
                      </a:lnTo>
                      <a:lnTo>
                        <a:pt x="337" y="413"/>
                      </a:lnTo>
                      <a:lnTo>
                        <a:pt x="340" y="413"/>
                      </a:lnTo>
                      <a:lnTo>
                        <a:pt x="348" y="415"/>
                      </a:lnTo>
                      <a:lnTo>
                        <a:pt x="349" y="413"/>
                      </a:lnTo>
                      <a:lnTo>
                        <a:pt x="356" y="413"/>
                      </a:lnTo>
                      <a:lnTo>
                        <a:pt x="358" y="414"/>
                      </a:lnTo>
                      <a:lnTo>
                        <a:pt x="362" y="414"/>
                      </a:lnTo>
                      <a:lnTo>
                        <a:pt x="367" y="416"/>
                      </a:lnTo>
                      <a:lnTo>
                        <a:pt x="368" y="419"/>
                      </a:lnTo>
                      <a:lnTo>
                        <a:pt x="370" y="420"/>
                      </a:lnTo>
                      <a:lnTo>
                        <a:pt x="378" y="420"/>
                      </a:lnTo>
                      <a:lnTo>
                        <a:pt x="383" y="426"/>
                      </a:lnTo>
                      <a:lnTo>
                        <a:pt x="394" y="427"/>
                      </a:lnTo>
                      <a:lnTo>
                        <a:pt x="410" y="420"/>
                      </a:lnTo>
                      <a:lnTo>
                        <a:pt x="412" y="418"/>
                      </a:lnTo>
                      <a:lnTo>
                        <a:pt x="412" y="414"/>
                      </a:lnTo>
                      <a:lnTo>
                        <a:pt x="417" y="409"/>
                      </a:lnTo>
                      <a:lnTo>
                        <a:pt x="425" y="403"/>
                      </a:lnTo>
                      <a:lnTo>
                        <a:pt x="429" y="401"/>
                      </a:lnTo>
                      <a:lnTo>
                        <a:pt x="430" y="397"/>
                      </a:lnTo>
                      <a:lnTo>
                        <a:pt x="442" y="391"/>
                      </a:lnTo>
                      <a:lnTo>
                        <a:pt x="444" y="390"/>
                      </a:lnTo>
                      <a:lnTo>
                        <a:pt x="442" y="387"/>
                      </a:lnTo>
                      <a:lnTo>
                        <a:pt x="445" y="383"/>
                      </a:lnTo>
                      <a:lnTo>
                        <a:pt x="445" y="378"/>
                      </a:lnTo>
                      <a:lnTo>
                        <a:pt x="442" y="372"/>
                      </a:lnTo>
                      <a:lnTo>
                        <a:pt x="426" y="370"/>
                      </a:lnTo>
                      <a:lnTo>
                        <a:pt x="422" y="364"/>
                      </a:lnTo>
                      <a:lnTo>
                        <a:pt x="419" y="357"/>
                      </a:lnTo>
                      <a:lnTo>
                        <a:pt x="419" y="350"/>
                      </a:lnTo>
                      <a:lnTo>
                        <a:pt x="421" y="344"/>
                      </a:lnTo>
                      <a:lnTo>
                        <a:pt x="421" y="338"/>
                      </a:lnTo>
                      <a:lnTo>
                        <a:pt x="415" y="336"/>
                      </a:lnTo>
                      <a:lnTo>
                        <a:pt x="413" y="334"/>
                      </a:lnTo>
                      <a:lnTo>
                        <a:pt x="413" y="331"/>
                      </a:lnTo>
                      <a:lnTo>
                        <a:pt x="414" y="325"/>
                      </a:lnTo>
                      <a:lnTo>
                        <a:pt x="417" y="321"/>
                      </a:lnTo>
                      <a:lnTo>
                        <a:pt x="425" y="315"/>
                      </a:lnTo>
                      <a:lnTo>
                        <a:pt x="424" y="310"/>
                      </a:lnTo>
                      <a:lnTo>
                        <a:pt x="416" y="292"/>
                      </a:lnTo>
                      <a:lnTo>
                        <a:pt x="415" y="289"/>
                      </a:lnTo>
                      <a:lnTo>
                        <a:pt x="416" y="286"/>
                      </a:lnTo>
                      <a:lnTo>
                        <a:pt x="423" y="285"/>
                      </a:lnTo>
                      <a:lnTo>
                        <a:pt x="421" y="278"/>
                      </a:lnTo>
                      <a:lnTo>
                        <a:pt x="416" y="277"/>
                      </a:lnTo>
                      <a:lnTo>
                        <a:pt x="414" y="269"/>
                      </a:lnTo>
                      <a:lnTo>
                        <a:pt x="414" y="258"/>
                      </a:lnTo>
                      <a:lnTo>
                        <a:pt x="412" y="257"/>
                      </a:lnTo>
                      <a:lnTo>
                        <a:pt x="401" y="257"/>
                      </a:lnTo>
                      <a:lnTo>
                        <a:pt x="393" y="268"/>
                      </a:lnTo>
                      <a:lnTo>
                        <a:pt x="389" y="271"/>
                      </a:lnTo>
                      <a:lnTo>
                        <a:pt x="387" y="269"/>
                      </a:lnTo>
                      <a:lnTo>
                        <a:pt x="388" y="255"/>
                      </a:lnTo>
                      <a:lnTo>
                        <a:pt x="390" y="246"/>
                      </a:lnTo>
                      <a:lnTo>
                        <a:pt x="392" y="244"/>
                      </a:lnTo>
                      <a:lnTo>
                        <a:pt x="395" y="240"/>
                      </a:lnTo>
                      <a:lnTo>
                        <a:pt x="400" y="237"/>
                      </a:lnTo>
                      <a:lnTo>
                        <a:pt x="401" y="235"/>
                      </a:lnTo>
                      <a:lnTo>
                        <a:pt x="402" y="229"/>
                      </a:lnTo>
                      <a:lnTo>
                        <a:pt x="406" y="222"/>
                      </a:lnTo>
                      <a:lnTo>
                        <a:pt x="422" y="206"/>
                      </a:lnTo>
                      <a:lnTo>
                        <a:pt x="419" y="202"/>
                      </a:lnTo>
                      <a:lnTo>
                        <a:pt x="422" y="198"/>
                      </a:lnTo>
                      <a:lnTo>
                        <a:pt x="434" y="199"/>
                      </a:lnTo>
                      <a:lnTo>
                        <a:pt x="438" y="197"/>
                      </a:lnTo>
                      <a:lnTo>
                        <a:pt x="442" y="193"/>
                      </a:lnTo>
                      <a:lnTo>
                        <a:pt x="441" y="190"/>
                      </a:lnTo>
                      <a:lnTo>
                        <a:pt x="440" y="185"/>
                      </a:lnTo>
                      <a:lnTo>
                        <a:pt x="441" y="166"/>
                      </a:lnTo>
                      <a:lnTo>
                        <a:pt x="446" y="150"/>
                      </a:lnTo>
                      <a:lnTo>
                        <a:pt x="448" y="142"/>
                      </a:lnTo>
                      <a:lnTo>
                        <a:pt x="459" y="127"/>
                      </a:lnTo>
                      <a:lnTo>
                        <a:pt x="461" y="119"/>
                      </a:lnTo>
                      <a:lnTo>
                        <a:pt x="452" y="115"/>
                      </a:lnTo>
                      <a:lnTo>
                        <a:pt x="425" y="107"/>
                      </a:lnTo>
                      <a:close/>
                    </a:path>
                  </a:pathLst>
                </a:custGeom>
                <a:solidFill>
                  <a:srgbClr val="405F9E"/>
                </a:solidFill>
                <a:ln w="635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609585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219170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828754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438339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3047924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657509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4267093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876678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914354">
                    <a:defRPr/>
                  </a:pPr>
                  <a:endParaRPr lang="en-GB" sz="800">
                    <a:solidFill>
                      <a:srgbClr val="404040"/>
                    </a:solidFill>
                  </a:endParaRPr>
                </a:p>
              </p:txBody>
            </p:sp>
          </p:grpSp>
          <p:sp>
            <p:nvSpPr>
              <p:cNvPr id="98" name="Norway" descr="{&quot;Key&quot;:&quot;norway&quot;,&quot;Name&quot;:&quot;Norway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D00B5B6F-5F92-7E9A-746F-53D2EA0BD27F}"/>
                  </a:ext>
                </a:extLst>
              </p:cNvPr>
              <p:cNvSpPr>
                <a:spLocks/>
              </p:cNvSpPr>
              <p:nvPr/>
            </p:nvSpPr>
            <p:spPr bwMode="auto">
              <a:xfrm rot="21240000">
                <a:off x="4765446" y="1924775"/>
                <a:ext cx="1489086" cy="1623023"/>
              </a:xfrm>
              <a:custGeom>
                <a:avLst/>
                <a:gdLst>
                  <a:gd name="T0" fmla="*/ 903 w 945"/>
                  <a:gd name="T1" fmla="*/ 44 h 1030"/>
                  <a:gd name="T2" fmla="*/ 863 w 945"/>
                  <a:gd name="T3" fmla="*/ 2 h 1030"/>
                  <a:gd name="T4" fmla="*/ 664 w 945"/>
                  <a:gd name="T5" fmla="*/ 25 h 1030"/>
                  <a:gd name="T6" fmla="*/ 627 w 945"/>
                  <a:gd name="T7" fmla="*/ 2 h 1030"/>
                  <a:gd name="T8" fmla="*/ 619 w 945"/>
                  <a:gd name="T9" fmla="*/ 52 h 1030"/>
                  <a:gd name="T10" fmla="*/ 573 w 945"/>
                  <a:gd name="T11" fmla="*/ 38 h 1030"/>
                  <a:gd name="T12" fmla="*/ 550 w 945"/>
                  <a:gd name="T13" fmla="*/ 32 h 1030"/>
                  <a:gd name="T14" fmla="*/ 527 w 945"/>
                  <a:gd name="T15" fmla="*/ 102 h 1030"/>
                  <a:gd name="T16" fmla="*/ 483 w 945"/>
                  <a:gd name="T17" fmla="*/ 91 h 1030"/>
                  <a:gd name="T18" fmla="*/ 465 w 945"/>
                  <a:gd name="T19" fmla="*/ 133 h 1030"/>
                  <a:gd name="T20" fmla="*/ 425 w 945"/>
                  <a:gd name="T21" fmla="*/ 167 h 1030"/>
                  <a:gd name="T22" fmla="*/ 438 w 945"/>
                  <a:gd name="T23" fmla="*/ 188 h 1030"/>
                  <a:gd name="T24" fmla="*/ 405 w 945"/>
                  <a:gd name="T25" fmla="*/ 232 h 1030"/>
                  <a:gd name="T26" fmla="*/ 382 w 945"/>
                  <a:gd name="T27" fmla="*/ 247 h 1030"/>
                  <a:gd name="T28" fmla="*/ 364 w 945"/>
                  <a:gd name="T29" fmla="*/ 264 h 1030"/>
                  <a:gd name="T30" fmla="*/ 322 w 945"/>
                  <a:gd name="T31" fmla="*/ 319 h 1030"/>
                  <a:gd name="T32" fmla="*/ 298 w 945"/>
                  <a:gd name="T33" fmla="*/ 363 h 1030"/>
                  <a:gd name="T34" fmla="*/ 280 w 945"/>
                  <a:gd name="T35" fmla="*/ 413 h 1030"/>
                  <a:gd name="T36" fmla="*/ 273 w 945"/>
                  <a:gd name="T37" fmla="*/ 440 h 1030"/>
                  <a:gd name="T38" fmla="*/ 268 w 945"/>
                  <a:gd name="T39" fmla="*/ 465 h 1030"/>
                  <a:gd name="T40" fmla="*/ 231 w 945"/>
                  <a:gd name="T41" fmla="*/ 515 h 1030"/>
                  <a:gd name="T42" fmla="*/ 202 w 945"/>
                  <a:gd name="T43" fmla="*/ 549 h 1030"/>
                  <a:gd name="T44" fmla="*/ 213 w 945"/>
                  <a:gd name="T45" fmla="*/ 600 h 1030"/>
                  <a:gd name="T46" fmla="*/ 188 w 945"/>
                  <a:gd name="T47" fmla="*/ 625 h 1030"/>
                  <a:gd name="T48" fmla="*/ 162 w 945"/>
                  <a:gd name="T49" fmla="*/ 629 h 1030"/>
                  <a:gd name="T50" fmla="*/ 116 w 945"/>
                  <a:gd name="T51" fmla="*/ 639 h 1030"/>
                  <a:gd name="T52" fmla="*/ 78 w 945"/>
                  <a:gd name="T53" fmla="*/ 678 h 1030"/>
                  <a:gd name="T54" fmla="*/ 54 w 945"/>
                  <a:gd name="T55" fmla="*/ 695 h 1030"/>
                  <a:gd name="T56" fmla="*/ 50 w 945"/>
                  <a:gd name="T57" fmla="*/ 713 h 1030"/>
                  <a:gd name="T58" fmla="*/ 6 w 945"/>
                  <a:gd name="T59" fmla="*/ 731 h 1030"/>
                  <a:gd name="T60" fmla="*/ 24 w 945"/>
                  <a:gd name="T61" fmla="*/ 755 h 1030"/>
                  <a:gd name="T62" fmla="*/ 5 w 945"/>
                  <a:gd name="T63" fmla="*/ 792 h 1030"/>
                  <a:gd name="T64" fmla="*/ 58 w 945"/>
                  <a:gd name="T65" fmla="*/ 803 h 1030"/>
                  <a:gd name="T66" fmla="*/ 97 w 945"/>
                  <a:gd name="T67" fmla="*/ 798 h 1030"/>
                  <a:gd name="T68" fmla="*/ 26 w 945"/>
                  <a:gd name="T69" fmla="*/ 811 h 1030"/>
                  <a:gd name="T70" fmla="*/ 7 w 945"/>
                  <a:gd name="T71" fmla="*/ 847 h 1030"/>
                  <a:gd name="T72" fmla="*/ 21 w 945"/>
                  <a:gd name="T73" fmla="*/ 870 h 1030"/>
                  <a:gd name="T74" fmla="*/ 55 w 945"/>
                  <a:gd name="T75" fmla="*/ 845 h 1030"/>
                  <a:gd name="T76" fmla="*/ 47 w 945"/>
                  <a:gd name="T77" fmla="*/ 880 h 1030"/>
                  <a:gd name="T78" fmla="*/ 12 w 945"/>
                  <a:gd name="T79" fmla="*/ 923 h 1030"/>
                  <a:gd name="T80" fmla="*/ 45 w 945"/>
                  <a:gd name="T81" fmla="*/ 924 h 1030"/>
                  <a:gd name="T82" fmla="*/ 22 w 945"/>
                  <a:gd name="T83" fmla="*/ 962 h 1030"/>
                  <a:gd name="T84" fmla="*/ 78 w 945"/>
                  <a:gd name="T85" fmla="*/ 1026 h 1030"/>
                  <a:gd name="T86" fmla="*/ 165 w 945"/>
                  <a:gd name="T87" fmla="*/ 956 h 1030"/>
                  <a:gd name="T88" fmla="*/ 192 w 945"/>
                  <a:gd name="T89" fmla="*/ 914 h 1030"/>
                  <a:gd name="T90" fmla="*/ 201 w 945"/>
                  <a:gd name="T91" fmla="*/ 912 h 1030"/>
                  <a:gd name="T92" fmla="*/ 242 w 945"/>
                  <a:gd name="T93" fmla="*/ 940 h 1030"/>
                  <a:gd name="T94" fmla="*/ 270 w 945"/>
                  <a:gd name="T95" fmla="*/ 810 h 1030"/>
                  <a:gd name="T96" fmla="*/ 259 w 945"/>
                  <a:gd name="T97" fmla="*/ 669 h 1030"/>
                  <a:gd name="T98" fmla="*/ 331 w 945"/>
                  <a:gd name="T99" fmla="*/ 570 h 1030"/>
                  <a:gd name="T100" fmla="*/ 360 w 945"/>
                  <a:gd name="T101" fmla="*/ 399 h 1030"/>
                  <a:gd name="T102" fmla="*/ 417 w 945"/>
                  <a:gd name="T103" fmla="*/ 262 h 1030"/>
                  <a:gd name="T104" fmla="*/ 478 w 945"/>
                  <a:gd name="T105" fmla="*/ 180 h 1030"/>
                  <a:gd name="T106" fmla="*/ 554 w 945"/>
                  <a:gd name="T107" fmla="*/ 136 h 1030"/>
                  <a:gd name="T108" fmla="*/ 602 w 945"/>
                  <a:gd name="T109" fmla="*/ 94 h 1030"/>
                  <a:gd name="T110" fmla="*/ 714 w 945"/>
                  <a:gd name="T111" fmla="*/ 157 h 1030"/>
                  <a:gd name="T112" fmla="*/ 824 w 945"/>
                  <a:gd name="T113" fmla="*/ 17 h 1030"/>
                  <a:gd name="T114" fmla="*/ 880 w 945"/>
                  <a:gd name="T115" fmla="*/ 117 h 1030"/>
                  <a:gd name="T116" fmla="*/ 943 w 945"/>
                  <a:gd name="T117" fmla="*/ 45 h 10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45" h="1030">
                    <a:moveTo>
                      <a:pt x="928" y="42"/>
                    </a:moveTo>
                    <a:lnTo>
                      <a:pt x="927" y="56"/>
                    </a:lnTo>
                    <a:lnTo>
                      <a:pt x="923" y="56"/>
                    </a:lnTo>
                    <a:lnTo>
                      <a:pt x="923" y="54"/>
                    </a:lnTo>
                    <a:lnTo>
                      <a:pt x="917" y="52"/>
                    </a:lnTo>
                    <a:lnTo>
                      <a:pt x="915" y="48"/>
                    </a:lnTo>
                    <a:lnTo>
                      <a:pt x="915" y="56"/>
                    </a:lnTo>
                    <a:lnTo>
                      <a:pt x="914" y="57"/>
                    </a:lnTo>
                    <a:lnTo>
                      <a:pt x="910" y="51"/>
                    </a:lnTo>
                    <a:lnTo>
                      <a:pt x="902" y="52"/>
                    </a:lnTo>
                    <a:lnTo>
                      <a:pt x="895" y="56"/>
                    </a:lnTo>
                    <a:lnTo>
                      <a:pt x="897" y="49"/>
                    </a:lnTo>
                    <a:lnTo>
                      <a:pt x="903" y="44"/>
                    </a:lnTo>
                    <a:lnTo>
                      <a:pt x="907" y="43"/>
                    </a:lnTo>
                    <a:lnTo>
                      <a:pt x="909" y="39"/>
                    </a:lnTo>
                    <a:lnTo>
                      <a:pt x="908" y="35"/>
                    </a:lnTo>
                    <a:lnTo>
                      <a:pt x="905" y="31"/>
                    </a:lnTo>
                    <a:lnTo>
                      <a:pt x="891" y="32"/>
                    </a:lnTo>
                    <a:lnTo>
                      <a:pt x="894" y="28"/>
                    </a:lnTo>
                    <a:lnTo>
                      <a:pt x="889" y="25"/>
                    </a:lnTo>
                    <a:lnTo>
                      <a:pt x="881" y="20"/>
                    </a:lnTo>
                    <a:lnTo>
                      <a:pt x="874" y="12"/>
                    </a:lnTo>
                    <a:lnTo>
                      <a:pt x="864" y="10"/>
                    </a:lnTo>
                    <a:lnTo>
                      <a:pt x="862" y="7"/>
                    </a:lnTo>
                    <a:lnTo>
                      <a:pt x="863" y="4"/>
                    </a:lnTo>
                    <a:lnTo>
                      <a:pt x="863" y="2"/>
                    </a:lnTo>
                    <a:lnTo>
                      <a:pt x="878" y="7"/>
                    </a:lnTo>
                    <a:lnTo>
                      <a:pt x="911" y="12"/>
                    </a:lnTo>
                    <a:lnTo>
                      <a:pt x="926" y="0"/>
                    </a:lnTo>
                    <a:lnTo>
                      <a:pt x="740" y="0"/>
                    </a:lnTo>
                    <a:lnTo>
                      <a:pt x="731" y="14"/>
                    </a:lnTo>
                    <a:lnTo>
                      <a:pt x="726" y="17"/>
                    </a:lnTo>
                    <a:lnTo>
                      <a:pt x="726" y="8"/>
                    </a:lnTo>
                    <a:lnTo>
                      <a:pt x="726" y="0"/>
                    </a:lnTo>
                    <a:lnTo>
                      <a:pt x="665" y="0"/>
                    </a:lnTo>
                    <a:lnTo>
                      <a:pt x="665" y="3"/>
                    </a:lnTo>
                    <a:lnTo>
                      <a:pt x="667" y="7"/>
                    </a:lnTo>
                    <a:lnTo>
                      <a:pt x="665" y="15"/>
                    </a:lnTo>
                    <a:lnTo>
                      <a:pt x="664" y="25"/>
                    </a:lnTo>
                    <a:lnTo>
                      <a:pt x="659" y="25"/>
                    </a:lnTo>
                    <a:lnTo>
                      <a:pt x="656" y="21"/>
                    </a:lnTo>
                    <a:lnTo>
                      <a:pt x="656" y="15"/>
                    </a:lnTo>
                    <a:lnTo>
                      <a:pt x="659" y="12"/>
                    </a:lnTo>
                    <a:lnTo>
                      <a:pt x="650" y="10"/>
                    </a:lnTo>
                    <a:lnTo>
                      <a:pt x="655" y="3"/>
                    </a:lnTo>
                    <a:lnTo>
                      <a:pt x="653" y="2"/>
                    </a:lnTo>
                    <a:lnTo>
                      <a:pt x="646" y="0"/>
                    </a:lnTo>
                    <a:lnTo>
                      <a:pt x="634" y="0"/>
                    </a:lnTo>
                    <a:lnTo>
                      <a:pt x="636" y="7"/>
                    </a:lnTo>
                    <a:lnTo>
                      <a:pt x="633" y="8"/>
                    </a:lnTo>
                    <a:lnTo>
                      <a:pt x="627" y="7"/>
                    </a:lnTo>
                    <a:lnTo>
                      <a:pt x="627" y="2"/>
                    </a:lnTo>
                    <a:lnTo>
                      <a:pt x="627" y="0"/>
                    </a:lnTo>
                    <a:lnTo>
                      <a:pt x="613" y="0"/>
                    </a:lnTo>
                    <a:lnTo>
                      <a:pt x="612" y="6"/>
                    </a:lnTo>
                    <a:lnTo>
                      <a:pt x="610" y="0"/>
                    </a:lnTo>
                    <a:lnTo>
                      <a:pt x="603" y="0"/>
                    </a:lnTo>
                    <a:lnTo>
                      <a:pt x="603" y="7"/>
                    </a:lnTo>
                    <a:lnTo>
                      <a:pt x="614" y="14"/>
                    </a:lnTo>
                    <a:lnTo>
                      <a:pt x="618" y="14"/>
                    </a:lnTo>
                    <a:lnTo>
                      <a:pt x="618" y="21"/>
                    </a:lnTo>
                    <a:lnTo>
                      <a:pt x="617" y="28"/>
                    </a:lnTo>
                    <a:lnTo>
                      <a:pt x="617" y="34"/>
                    </a:lnTo>
                    <a:lnTo>
                      <a:pt x="619" y="42"/>
                    </a:lnTo>
                    <a:lnTo>
                      <a:pt x="619" y="52"/>
                    </a:lnTo>
                    <a:lnTo>
                      <a:pt x="615" y="48"/>
                    </a:lnTo>
                    <a:lnTo>
                      <a:pt x="603" y="29"/>
                    </a:lnTo>
                    <a:lnTo>
                      <a:pt x="593" y="19"/>
                    </a:lnTo>
                    <a:lnTo>
                      <a:pt x="595" y="32"/>
                    </a:lnTo>
                    <a:lnTo>
                      <a:pt x="591" y="31"/>
                    </a:lnTo>
                    <a:lnTo>
                      <a:pt x="590" y="39"/>
                    </a:lnTo>
                    <a:lnTo>
                      <a:pt x="586" y="38"/>
                    </a:lnTo>
                    <a:lnTo>
                      <a:pt x="583" y="43"/>
                    </a:lnTo>
                    <a:lnTo>
                      <a:pt x="581" y="41"/>
                    </a:lnTo>
                    <a:lnTo>
                      <a:pt x="581" y="37"/>
                    </a:lnTo>
                    <a:lnTo>
                      <a:pt x="583" y="29"/>
                    </a:lnTo>
                    <a:lnTo>
                      <a:pt x="578" y="32"/>
                    </a:lnTo>
                    <a:lnTo>
                      <a:pt x="573" y="38"/>
                    </a:lnTo>
                    <a:lnTo>
                      <a:pt x="571" y="46"/>
                    </a:lnTo>
                    <a:lnTo>
                      <a:pt x="567" y="48"/>
                    </a:lnTo>
                    <a:lnTo>
                      <a:pt x="569" y="58"/>
                    </a:lnTo>
                    <a:lnTo>
                      <a:pt x="570" y="63"/>
                    </a:lnTo>
                    <a:lnTo>
                      <a:pt x="559" y="72"/>
                    </a:lnTo>
                    <a:lnTo>
                      <a:pt x="555" y="85"/>
                    </a:lnTo>
                    <a:lnTo>
                      <a:pt x="549" y="91"/>
                    </a:lnTo>
                    <a:lnTo>
                      <a:pt x="557" y="77"/>
                    </a:lnTo>
                    <a:lnTo>
                      <a:pt x="558" y="69"/>
                    </a:lnTo>
                    <a:lnTo>
                      <a:pt x="558" y="54"/>
                    </a:lnTo>
                    <a:lnTo>
                      <a:pt x="559" y="42"/>
                    </a:lnTo>
                    <a:lnTo>
                      <a:pt x="558" y="29"/>
                    </a:lnTo>
                    <a:lnTo>
                      <a:pt x="550" y="32"/>
                    </a:lnTo>
                    <a:lnTo>
                      <a:pt x="546" y="41"/>
                    </a:lnTo>
                    <a:lnTo>
                      <a:pt x="540" y="50"/>
                    </a:lnTo>
                    <a:lnTo>
                      <a:pt x="537" y="66"/>
                    </a:lnTo>
                    <a:lnTo>
                      <a:pt x="534" y="79"/>
                    </a:lnTo>
                    <a:lnTo>
                      <a:pt x="534" y="44"/>
                    </a:lnTo>
                    <a:lnTo>
                      <a:pt x="516" y="46"/>
                    </a:lnTo>
                    <a:lnTo>
                      <a:pt x="511" y="58"/>
                    </a:lnTo>
                    <a:lnTo>
                      <a:pt x="510" y="62"/>
                    </a:lnTo>
                    <a:lnTo>
                      <a:pt x="512" y="75"/>
                    </a:lnTo>
                    <a:lnTo>
                      <a:pt x="517" y="85"/>
                    </a:lnTo>
                    <a:lnTo>
                      <a:pt x="524" y="87"/>
                    </a:lnTo>
                    <a:lnTo>
                      <a:pt x="528" y="96"/>
                    </a:lnTo>
                    <a:lnTo>
                      <a:pt x="527" y="102"/>
                    </a:lnTo>
                    <a:lnTo>
                      <a:pt x="522" y="101"/>
                    </a:lnTo>
                    <a:lnTo>
                      <a:pt x="517" y="91"/>
                    </a:lnTo>
                    <a:lnTo>
                      <a:pt x="511" y="86"/>
                    </a:lnTo>
                    <a:lnTo>
                      <a:pt x="504" y="76"/>
                    </a:lnTo>
                    <a:lnTo>
                      <a:pt x="500" y="69"/>
                    </a:lnTo>
                    <a:lnTo>
                      <a:pt x="491" y="72"/>
                    </a:lnTo>
                    <a:lnTo>
                      <a:pt x="495" y="83"/>
                    </a:lnTo>
                    <a:lnTo>
                      <a:pt x="504" y="91"/>
                    </a:lnTo>
                    <a:lnTo>
                      <a:pt x="499" y="97"/>
                    </a:lnTo>
                    <a:lnTo>
                      <a:pt x="493" y="92"/>
                    </a:lnTo>
                    <a:lnTo>
                      <a:pt x="490" y="97"/>
                    </a:lnTo>
                    <a:lnTo>
                      <a:pt x="489" y="88"/>
                    </a:lnTo>
                    <a:lnTo>
                      <a:pt x="483" y="91"/>
                    </a:lnTo>
                    <a:lnTo>
                      <a:pt x="483" y="88"/>
                    </a:lnTo>
                    <a:lnTo>
                      <a:pt x="484" y="79"/>
                    </a:lnTo>
                    <a:lnTo>
                      <a:pt x="481" y="75"/>
                    </a:lnTo>
                    <a:lnTo>
                      <a:pt x="479" y="79"/>
                    </a:lnTo>
                    <a:lnTo>
                      <a:pt x="474" y="95"/>
                    </a:lnTo>
                    <a:lnTo>
                      <a:pt x="476" y="101"/>
                    </a:lnTo>
                    <a:lnTo>
                      <a:pt x="479" y="106"/>
                    </a:lnTo>
                    <a:lnTo>
                      <a:pt x="464" y="114"/>
                    </a:lnTo>
                    <a:lnTo>
                      <a:pt x="459" y="118"/>
                    </a:lnTo>
                    <a:lnTo>
                      <a:pt x="458" y="123"/>
                    </a:lnTo>
                    <a:lnTo>
                      <a:pt x="457" y="130"/>
                    </a:lnTo>
                    <a:lnTo>
                      <a:pt x="458" y="135"/>
                    </a:lnTo>
                    <a:lnTo>
                      <a:pt x="465" y="133"/>
                    </a:lnTo>
                    <a:lnTo>
                      <a:pt x="468" y="138"/>
                    </a:lnTo>
                    <a:lnTo>
                      <a:pt x="460" y="138"/>
                    </a:lnTo>
                    <a:lnTo>
                      <a:pt x="462" y="145"/>
                    </a:lnTo>
                    <a:lnTo>
                      <a:pt x="462" y="149"/>
                    </a:lnTo>
                    <a:lnTo>
                      <a:pt x="455" y="146"/>
                    </a:lnTo>
                    <a:lnTo>
                      <a:pt x="451" y="147"/>
                    </a:lnTo>
                    <a:lnTo>
                      <a:pt x="456" y="153"/>
                    </a:lnTo>
                    <a:lnTo>
                      <a:pt x="453" y="157"/>
                    </a:lnTo>
                    <a:lnTo>
                      <a:pt x="445" y="154"/>
                    </a:lnTo>
                    <a:lnTo>
                      <a:pt x="444" y="158"/>
                    </a:lnTo>
                    <a:lnTo>
                      <a:pt x="438" y="157"/>
                    </a:lnTo>
                    <a:lnTo>
                      <a:pt x="427" y="161"/>
                    </a:lnTo>
                    <a:lnTo>
                      <a:pt x="425" y="167"/>
                    </a:lnTo>
                    <a:lnTo>
                      <a:pt x="421" y="169"/>
                    </a:lnTo>
                    <a:lnTo>
                      <a:pt x="420" y="172"/>
                    </a:lnTo>
                    <a:lnTo>
                      <a:pt x="426" y="177"/>
                    </a:lnTo>
                    <a:lnTo>
                      <a:pt x="433" y="175"/>
                    </a:lnTo>
                    <a:lnTo>
                      <a:pt x="436" y="170"/>
                    </a:lnTo>
                    <a:lnTo>
                      <a:pt x="447" y="177"/>
                    </a:lnTo>
                    <a:lnTo>
                      <a:pt x="455" y="171"/>
                    </a:lnTo>
                    <a:lnTo>
                      <a:pt x="457" y="173"/>
                    </a:lnTo>
                    <a:lnTo>
                      <a:pt x="459" y="179"/>
                    </a:lnTo>
                    <a:lnTo>
                      <a:pt x="453" y="179"/>
                    </a:lnTo>
                    <a:lnTo>
                      <a:pt x="449" y="184"/>
                    </a:lnTo>
                    <a:lnTo>
                      <a:pt x="448" y="193"/>
                    </a:lnTo>
                    <a:lnTo>
                      <a:pt x="438" y="188"/>
                    </a:lnTo>
                    <a:lnTo>
                      <a:pt x="431" y="188"/>
                    </a:lnTo>
                    <a:lnTo>
                      <a:pt x="429" y="183"/>
                    </a:lnTo>
                    <a:lnTo>
                      <a:pt x="421" y="181"/>
                    </a:lnTo>
                    <a:lnTo>
                      <a:pt x="412" y="188"/>
                    </a:lnTo>
                    <a:lnTo>
                      <a:pt x="410" y="192"/>
                    </a:lnTo>
                    <a:lnTo>
                      <a:pt x="415" y="203"/>
                    </a:lnTo>
                    <a:lnTo>
                      <a:pt x="416" y="209"/>
                    </a:lnTo>
                    <a:lnTo>
                      <a:pt x="412" y="209"/>
                    </a:lnTo>
                    <a:lnTo>
                      <a:pt x="415" y="217"/>
                    </a:lnTo>
                    <a:lnTo>
                      <a:pt x="415" y="225"/>
                    </a:lnTo>
                    <a:lnTo>
                      <a:pt x="411" y="223"/>
                    </a:lnTo>
                    <a:lnTo>
                      <a:pt x="411" y="230"/>
                    </a:lnTo>
                    <a:lnTo>
                      <a:pt x="405" y="232"/>
                    </a:lnTo>
                    <a:lnTo>
                      <a:pt x="402" y="206"/>
                    </a:lnTo>
                    <a:lnTo>
                      <a:pt x="397" y="207"/>
                    </a:lnTo>
                    <a:lnTo>
                      <a:pt x="394" y="216"/>
                    </a:lnTo>
                    <a:lnTo>
                      <a:pt x="390" y="214"/>
                    </a:lnTo>
                    <a:lnTo>
                      <a:pt x="388" y="217"/>
                    </a:lnTo>
                    <a:lnTo>
                      <a:pt x="394" y="221"/>
                    </a:lnTo>
                    <a:lnTo>
                      <a:pt x="393" y="223"/>
                    </a:lnTo>
                    <a:lnTo>
                      <a:pt x="388" y="224"/>
                    </a:lnTo>
                    <a:lnTo>
                      <a:pt x="382" y="227"/>
                    </a:lnTo>
                    <a:lnTo>
                      <a:pt x="381" y="234"/>
                    </a:lnTo>
                    <a:lnTo>
                      <a:pt x="381" y="240"/>
                    </a:lnTo>
                    <a:lnTo>
                      <a:pt x="388" y="245"/>
                    </a:lnTo>
                    <a:lnTo>
                      <a:pt x="382" y="247"/>
                    </a:lnTo>
                    <a:lnTo>
                      <a:pt x="386" y="250"/>
                    </a:lnTo>
                    <a:lnTo>
                      <a:pt x="382" y="252"/>
                    </a:lnTo>
                    <a:lnTo>
                      <a:pt x="379" y="260"/>
                    </a:lnTo>
                    <a:lnTo>
                      <a:pt x="377" y="262"/>
                    </a:lnTo>
                    <a:lnTo>
                      <a:pt x="372" y="261"/>
                    </a:lnTo>
                    <a:lnTo>
                      <a:pt x="374" y="264"/>
                    </a:lnTo>
                    <a:lnTo>
                      <a:pt x="380" y="267"/>
                    </a:lnTo>
                    <a:lnTo>
                      <a:pt x="393" y="262"/>
                    </a:lnTo>
                    <a:lnTo>
                      <a:pt x="384" y="272"/>
                    </a:lnTo>
                    <a:lnTo>
                      <a:pt x="380" y="275"/>
                    </a:lnTo>
                    <a:lnTo>
                      <a:pt x="368" y="272"/>
                    </a:lnTo>
                    <a:lnTo>
                      <a:pt x="365" y="269"/>
                    </a:lnTo>
                    <a:lnTo>
                      <a:pt x="364" y="264"/>
                    </a:lnTo>
                    <a:lnTo>
                      <a:pt x="359" y="265"/>
                    </a:lnTo>
                    <a:lnTo>
                      <a:pt x="352" y="272"/>
                    </a:lnTo>
                    <a:lnTo>
                      <a:pt x="348" y="283"/>
                    </a:lnTo>
                    <a:lnTo>
                      <a:pt x="342" y="288"/>
                    </a:lnTo>
                    <a:lnTo>
                      <a:pt x="342" y="294"/>
                    </a:lnTo>
                    <a:lnTo>
                      <a:pt x="346" y="294"/>
                    </a:lnTo>
                    <a:lnTo>
                      <a:pt x="345" y="299"/>
                    </a:lnTo>
                    <a:lnTo>
                      <a:pt x="344" y="303"/>
                    </a:lnTo>
                    <a:lnTo>
                      <a:pt x="338" y="305"/>
                    </a:lnTo>
                    <a:lnTo>
                      <a:pt x="335" y="317"/>
                    </a:lnTo>
                    <a:lnTo>
                      <a:pt x="331" y="316"/>
                    </a:lnTo>
                    <a:lnTo>
                      <a:pt x="326" y="318"/>
                    </a:lnTo>
                    <a:lnTo>
                      <a:pt x="322" y="319"/>
                    </a:lnTo>
                    <a:lnTo>
                      <a:pt x="316" y="327"/>
                    </a:lnTo>
                    <a:lnTo>
                      <a:pt x="321" y="333"/>
                    </a:lnTo>
                    <a:lnTo>
                      <a:pt x="319" y="337"/>
                    </a:lnTo>
                    <a:lnTo>
                      <a:pt x="311" y="338"/>
                    </a:lnTo>
                    <a:lnTo>
                      <a:pt x="311" y="343"/>
                    </a:lnTo>
                    <a:lnTo>
                      <a:pt x="303" y="344"/>
                    </a:lnTo>
                    <a:lnTo>
                      <a:pt x="305" y="349"/>
                    </a:lnTo>
                    <a:lnTo>
                      <a:pt x="302" y="351"/>
                    </a:lnTo>
                    <a:lnTo>
                      <a:pt x="301" y="356"/>
                    </a:lnTo>
                    <a:lnTo>
                      <a:pt x="310" y="359"/>
                    </a:lnTo>
                    <a:lnTo>
                      <a:pt x="308" y="363"/>
                    </a:lnTo>
                    <a:lnTo>
                      <a:pt x="302" y="366"/>
                    </a:lnTo>
                    <a:lnTo>
                      <a:pt x="298" y="363"/>
                    </a:lnTo>
                    <a:lnTo>
                      <a:pt x="298" y="364"/>
                    </a:lnTo>
                    <a:lnTo>
                      <a:pt x="298" y="374"/>
                    </a:lnTo>
                    <a:lnTo>
                      <a:pt x="302" y="379"/>
                    </a:lnTo>
                    <a:lnTo>
                      <a:pt x="305" y="375"/>
                    </a:lnTo>
                    <a:lnTo>
                      <a:pt x="308" y="377"/>
                    </a:lnTo>
                    <a:lnTo>
                      <a:pt x="307" y="384"/>
                    </a:lnTo>
                    <a:lnTo>
                      <a:pt x="293" y="386"/>
                    </a:lnTo>
                    <a:lnTo>
                      <a:pt x="290" y="388"/>
                    </a:lnTo>
                    <a:lnTo>
                      <a:pt x="289" y="398"/>
                    </a:lnTo>
                    <a:lnTo>
                      <a:pt x="283" y="402"/>
                    </a:lnTo>
                    <a:lnTo>
                      <a:pt x="278" y="405"/>
                    </a:lnTo>
                    <a:lnTo>
                      <a:pt x="275" y="413"/>
                    </a:lnTo>
                    <a:lnTo>
                      <a:pt x="280" y="413"/>
                    </a:lnTo>
                    <a:lnTo>
                      <a:pt x="286" y="407"/>
                    </a:lnTo>
                    <a:lnTo>
                      <a:pt x="292" y="405"/>
                    </a:lnTo>
                    <a:lnTo>
                      <a:pt x="292" y="410"/>
                    </a:lnTo>
                    <a:lnTo>
                      <a:pt x="297" y="419"/>
                    </a:lnTo>
                    <a:lnTo>
                      <a:pt x="283" y="414"/>
                    </a:lnTo>
                    <a:lnTo>
                      <a:pt x="282" y="421"/>
                    </a:lnTo>
                    <a:lnTo>
                      <a:pt x="286" y="423"/>
                    </a:lnTo>
                    <a:lnTo>
                      <a:pt x="281" y="426"/>
                    </a:lnTo>
                    <a:lnTo>
                      <a:pt x="279" y="431"/>
                    </a:lnTo>
                    <a:lnTo>
                      <a:pt x="281" y="436"/>
                    </a:lnTo>
                    <a:lnTo>
                      <a:pt x="279" y="437"/>
                    </a:lnTo>
                    <a:lnTo>
                      <a:pt x="275" y="435"/>
                    </a:lnTo>
                    <a:lnTo>
                      <a:pt x="273" y="440"/>
                    </a:lnTo>
                    <a:lnTo>
                      <a:pt x="274" y="446"/>
                    </a:lnTo>
                    <a:lnTo>
                      <a:pt x="278" y="449"/>
                    </a:lnTo>
                    <a:lnTo>
                      <a:pt x="279" y="463"/>
                    </a:lnTo>
                    <a:lnTo>
                      <a:pt x="275" y="457"/>
                    </a:lnTo>
                    <a:lnTo>
                      <a:pt x="270" y="455"/>
                    </a:lnTo>
                    <a:lnTo>
                      <a:pt x="266" y="447"/>
                    </a:lnTo>
                    <a:lnTo>
                      <a:pt x="267" y="458"/>
                    </a:lnTo>
                    <a:lnTo>
                      <a:pt x="265" y="462"/>
                    </a:lnTo>
                    <a:lnTo>
                      <a:pt x="260" y="464"/>
                    </a:lnTo>
                    <a:lnTo>
                      <a:pt x="258" y="470"/>
                    </a:lnTo>
                    <a:lnTo>
                      <a:pt x="262" y="472"/>
                    </a:lnTo>
                    <a:lnTo>
                      <a:pt x="265" y="470"/>
                    </a:lnTo>
                    <a:lnTo>
                      <a:pt x="268" y="465"/>
                    </a:lnTo>
                    <a:lnTo>
                      <a:pt x="269" y="467"/>
                    </a:lnTo>
                    <a:lnTo>
                      <a:pt x="268" y="470"/>
                    </a:lnTo>
                    <a:lnTo>
                      <a:pt x="268" y="475"/>
                    </a:lnTo>
                    <a:lnTo>
                      <a:pt x="269" y="479"/>
                    </a:lnTo>
                    <a:lnTo>
                      <a:pt x="265" y="483"/>
                    </a:lnTo>
                    <a:lnTo>
                      <a:pt x="258" y="480"/>
                    </a:lnTo>
                    <a:lnTo>
                      <a:pt x="254" y="486"/>
                    </a:lnTo>
                    <a:lnTo>
                      <a:pt x="249" y="483"/>
                    </a:lnTo>
                    <a:lnTo>
                      <a:pt x="245" y="490"/>
                    </a:lnTo>
                    <a:lnTo>
                      <a:pt x="244" y="495"/>
                    </a:lnTo>
                    <a:lnTo>
                      <a:pt x="240" y="500"/>
                    </a:lnTo>
                    <a:lnTo>
                      <a:pt x="234" y="502"/>
                    </a:lnTo>
                    <a:lnTo>
                      <a:pt x="231" y="515"/>
                    </a:lnTo>
                    <a:lnTo>
                      <a:pt x="237" y="513"/>
                    </a:lnTo>
                    <a:lnTo>
                      <a:pt x="244" y="510"/>
                    </a:lnTo>
                    <a:lnTo>
                      <a:pt x="246" y="512"/>
                    </a:lnTo>
                    <a:lnTo>
                      <a:pt x="235" y="516"/>
                    </a:lnTo>
                    <a:lnTo>
                      <a:pt x="235" y="524"/>
                    </a:lnTo>
                    <a:lnTo>
                      <a:pt x="236" y="531"/>
                    </a:lnTo>
                    <a:lnTo>
                      <a:pt x="234" y="535"/>
                    </a:lnTo>
                    <a:lnTo>
                      <a:pt x="226" y="537"/>
                    </a:lnTo>
                    <a:lnTo>
                      <a:pt x="218" y="529"/>
                    </a:lnTo>
                    <a:lnTo>
                      <a:pt x="215" y="529"/>
                    </a:lnTo>
                    <a:lnTo>
                      <a:pt x="210" y="539"/>
                    </a:lnTo>
                    <a:lnTo>
                      <a:pt x="203" y="545"/>
                    </a:lnTo>
                    <a:lnTo>
                      <a:pt x="202" y="549"/>
                    </a:lnTo>
                    <a:lnTo>
                      <a:pt x="198" y="552"/>
                    </a:lnTo>
                    <a:lnTo>
                      <a:pt x="187" y="569"/>
                    </a:lnTo>
                    <a:lnTo>
                      <a:pt x="185" y="573"/>
                    </a:lnTo>
                    <a:lnTo>
                      <a:pt x="187" y="580"/>
                    </a:lnTo>
                    <a:lnTo>
                      <a:pt x="187" y="582"/>
                    </a:lnTo>
                    <a:lnTo>
                      <a:pt x="173" y="591"/>
                    </a:lnTo>
                    <a:lnTo>
                      <a:pt x="172" y="597"/>
                    </a:lnTo>
                    <a:lnTo>
                      <a:pt x="175" y="601"/>
                    </a:lnTo>
                    <a:lnTo>
                      <a:pt x="183" y="597"/>
                    </a:lnTo>
                    <a:lnTo>
                      <a:pt x="179" y="607"/>
                    </a:lnTo>
                    <a:lnTo>
                      <a:pt x="185" y="615"/>
                    </a:lnTo>
                    <a:lnTo>
                      <a:pt x="188" y="617"/>
                    </a:lnTo>
                    <a:lnTo>
                      <a:pt x="213" y="600"/>
                    </a:lnTo>
                    <a:lnTo>
                      <a:pt x="228" y="593"/>
                    </a:lnTo>
                    <a:lnTo>
                      <a:pt x="231" y="589"/>
                    </a:lnTo>
                    <a:lnTo>
                      <a:pt x="234" y="591"/>
                    </a:lnTo>
                    <a:lnTo>
                      <a:pt x="232" y="594"/>
                    </a:lnTo>
                    <a:lnTo>
                      <a:pt x="222" y="600"/>
                    </a:lnTo>
                    <a:lnTo>
                      <a:pt x="218" y="600"/>
                    </a:lnTo>
                    <a:lnTo>
                      <a:pt x="211" y="605"/>
                    </a:lnTo>
                    <a:lnTo>
                      <a:pt x="204" y="610"/>
                    </a:lnTo>
                    <a:lnTo>
                      <a:pt x="209" y="615"/>
                    </a:lnTo>
                    <a:lnTo>
                      <a:pt x="208" y="618"/>
                    </a:lnTo>
                    <a:lnTo>
                      <a:pt x="197" y="623"/>
                    </a:lnTo>
                    <a:lnTo>
                      <a:pt x="190" y="623"/>
                    </a:lnTo>
                    <a:lnTo>
                      <a:pt x="188" y="625"/>
                    </a:lnTo>
                    <a:lnTo>
                      <a:pt x="189" y="629"/>
                    </a:lnTo>
                    <a:lnTo>
                      <a:pt x="187" y="630"/>
                    </a:lnTo>
                    <a:lnTo>
                      <a:pt x="180" y="629"/>
                    </a:lnTo>
                    <a:lnTo>
                      <a:pt x="180" y="623"/>
                    </a:lnTo>
                    <a:lnTo>
                      <a:pt x="175" y="613"/>
                    </a:lnTo>
                    <a:lnTo>
                      <a:pt x="173" y="609"/>
                    </a:lnTo>
                    <a:lnTo>
                      <a:pt x="168" y="609"/>
                    </a:lnTo>
                    <a:lnTo>
                      <a:pt x="166" y="613"/>
                    </a:lnTo>
                    <a:lnTo>
                      <a:pt x="162" y="614"/>
                    </a:lnTo>
                    <a:lnTo>
                      <a:pt x="157" y="618"/>
                    </a:lnTo>
                    <a:lnTo>
                      <a:pt x="157" y="623"/>
                    </a:lnTo>
                    <a:lnTo>
                      <a:pt x="161" y="626"/>
                    </a:lnTo>
                    <a:lnTo>
                      <a:pt x="162" y="629"/>
                    </a:lnTo>
                    <a:lnTo>
                      <a:pt x="154" y="633"/>
                    </a:lnTo>
                    <a:lnTo>
                      <a:pt x="152" y="629"/>
                    </a:lnTo>
                    <a:lnTo>
                      <a:pt x="152" y="624"/>
                    </a:lnTo>
                    <a:lnTo>
                      <a:pt x="150" y="619"/>
                    </a:lnTo>
                    <a:lnTo>
                      <a:pt x="132" y="627"/>
                    </a:lnTo>
                    <a:lnTo>
                      <a:pt x="130" y="630"/>
                    </a:lnTo>
                    <a:lnTo>
                      <a:pt x="127" y="638"/>
                    </a:lnTo>
                    <a:lnTo>
                      <a:pt x="122" y="637"/>
                    </a:lnTo>
                    <a:lnTo>
                      <a:pt x="123" y="642"/>
                    </a:lnTo>
                    <a:lnTo>
                      <a:pt x="122" y="644"/>
                    </a:lnTo>
                    <a:lnTo>
                      <a:pt x="117" y="644"/>
                    </a:lnTo>
                    <a:lnTo>
                      <a:pt x="117" y="642"/>
                    </a:lnTo>
                    <a:lnTo>
                      <a:pt x="116" y="639"/>
                    </a:lnTo>
                    <a:lnTo>
                      <a:pt x="112" y="640"/>
                    </a:lnTo>
                    <a:lnTo>
                      <a:pt x="111" y="642"/>
                    </a:lnTo>
                    <a:lnTo>
                      <a:pt x="111" y="646"/>
                    </a:lnTo>
                    <a:lnTo>
                      <a:pt x="110" y="648"/>
                    </a:lnTo>
                    <a:lnTo>
                      <a:pt x="105" y="648"/>
                    </a:lnTo>
                    <a:lnTo>
                      <a:pt x="95" y="652"/>
                    </a:lnTo>
                    <a:lnTo>
                      <a:pt x="94" y="661"/>
                    </a:lnTo>
                    <a:lnTo>
                      <a:pt x="90" y="669"/>
                    </a:lnTo>
                    <a:lnTo>
                      <a:pt x="85" y="665"/>
                    </a:lnTo>
                    <a:lnTo>
                      <a:pt x="79" y="664"/>
                    </a:lnTo>
                    <a:lnTo>
                      <a:pt x="73" y="670"/>
                    </a:lnTo>
                    <a:lnTo>
                      <a:pt x="72" y="674"/>
                    </a:lnTo>
                    <a:lnTo>
                      <a:pt x="78" y="678"/>
                    </a:lnTo>
                    <a:lnTo>
                      <a:pt x="75" y="682"/>
                    </a:lnTo>
                    <a:lnTo>
                      <a:pt x="80" y="684"/>
                    </a:lnTo>
                    <a:lnTo>
                      <a:pt x="88" y="682"/>
                    </a:lnTo>
                    <a:lnTo>
                      <a:pt x="91" y="686"/>
                    </a:lnTo>
                    <a:lnTo>
                      <a:pt x="95" y="687"/>
                    </a:lnTo>
                    <a:lnTo>
                      <a:pt x="90" y="693"/>
                    </a:lnTo>
                    <a:lnTo>
                      <a:pt x="92" y="697"/>
                    </a:lnTo>
                    <a:lnTo>
                      <a:pt x="87" y="695"/>
                    </a:lnTo>
                    <a:lnTo>
                      <a:pt x="82" y="695"/>
                    </a:lnTo>
                    <a:lnTo>
                      <a:pt x="66" y="693"/>
                    </a:lnTo>
                    <a:lnTo>
                      <a:pt x="62" y="693"/>
                    </a:lnTo>
                    <a:lnTo>
                      <a:pt x="58" y="696"/>
                    </a:lnTo>
                    <a:lnTo>
                      <a:pt x="54" y="695"/>
                    </a:lnTo>
                    <a:lnTo>
                      <a:pt x="50" y="698"/>
                    </a:lnTo>
                    <a:lnTo>
                      <a:pt x="51" y="699"/>
                    </a:lnTo>
                    <a:lnTo>
                      <a:pt x="54" y="701"/>
                    </a:lnTo>
                    <a:lnTo>
                      <a:pt x="51" y="703"/>
                    </a:lnTo>
                    <a:lnTo>
                      <a:pt x="51" y="707"/>
                    </a:lnTo>
                    <a:lnTo>
                      <a:pt x="55" y="706"/>
                    </a:lnTo>
                    <a:lnTo>
                      <a:pt x="60" y="705"/>
                    </a:lnTo>
                    <a:lnTo>
                      <a:pt x="54" y="711"/>
                    </a:lnTo>
                    <a:lnTo>
                      <a:pt x="55" y="716"/>
                    </a:lnTo>
                    <a:lnTo>
                      <a:pt x="57" y="727"/>
                    </a:lnTo>
                    <a:lnTo>
                      <a:pt x="55" y="727"/>
                    </a:lnTo>
                    <a:lnTo>
                      <a:pt x="53" y="718"/>
                    </a:lnTo>
                    <a:lnTo>
                      <a:pt x="50" y="713"/>
                    </a:lnTo>
                    <a:lnTo>
                      <a:pt x="43" y="718"/>
                    </a:lnTo>
                    <a:lnTo>
                      <a:pt x="40" y="723"/>
                    </a:lnTo>
                    <a:lnTo>
                      <a:pt x="38" y="730"/>
                    </a:lnTo>
                    <a:lnTo>
                      <a:pt x="41" y="733"/>
                    </a:lnTo>
                    <a:lnTo>
                      <a:pt x="42" y="738"/>
                    </a:lnTo>
                    <a:lnTo>
                      <a:pt x="35" y="733"/>
                    </a:lnTo>
                    <a:lnTo>
                      <a:pt x="33" y="728"/>
                    </a:lnTo>
                    <a:lnTo>
                      <a:pt x="28" y="730"/>
                    </a:lnTo>
                    <a:lnTo>
                      <a:pt x="19" y="730"/>
                    </a:lnTo>
                    <a:lnTo>
                      <a:pt x="19" y="734"/>
                    </a:lnTo>
                    <a:lnTo>
                      <a:pt x="19" y="738"/>
                    </a:lnTo>
                    <a:lnTo>
                      <a:pt x="9" y="729"/>
                    </a:lnTo>
                    <a:lnTo>
                      <a:pt x="6" y="731"/>
                    </a:lnTo>
                    <a:lnTo>
                      <a:pt x="10" y="742"/>
                    </a:lnTo>
                    <a:lnTo>
                      <a:pt x="8" y="745"/>
                    </a:lnTo>
                    <a:lnTo>
                      <a:pt x="9" y="746"/>
                    </a:lnTo>
                    <a:lnTo>
                      <a:pt x="28" y="746"/>
                    </a:lnTo>
                    <a:lnTo>
                      <a:pt x="44" y="742"/>
                    </a:lnTo>
                    <a:lnTo>
                      <a:pt x="34" y="749"/>
                    </a:lnTo>
                    <a:lnTo>
                      <a:pt x="37" y="751"/>
                    </a:lnTo>
                    <a:lnTo>
                      <a:pt x="44" y="750"/>
                    </a:lnTo>
                    <a:lnTo>
                      <a:pt x="50" y="747"/>
                    </a:lnTo>
                    <a:lnTo>
                      <a:pt x="51" y="750"/>
                    </a:lnTo>
                    <a:lnTo>
                      <a:pt x="45" y="753"/>
                    </a:lnTo>
                    <a:lnTo>
                      <a:pt x="34" y="755"/>
                    </a:lnTo>
                    <a:lnTo>
                      <a:pt x="24" y="755"/>
                    </a:lnTo>
                    <a:lnTo>
                      <a:pt x="20" y="752"/>
                    </a:lnTo>
                    <a:lnTo>
                      <a:pt x="17" y="752"/>
                    </a:lnTo>
                    <a:lnTo>
                      <a:pt x="9" y="757"/>
                    </a:lnTo>
                    <a:lnTo>
                      <a:pt x="8" y="762"/>
                    </a:lnTo>
                    <a:lnTo>
                      <a:pt x="4" y="761"/>
                    </a:lnTo>
                    <a:lnTo>
                      <a:pt x="1" y="762"/>
                    </a:lnTo>
                    <a:lnTo>
                      <a:pt x="1" y="767"/>
                    </a:lnTo>
                    <a:lnTo>
                      <a:pt x="11" y="770"/>
                    </a:lnTo>
                    <a:lnTo>
                      <a:pt x="10" y="775"/>
                    </a:lnTo>
                    <a:lnTo>
                      <a:pt x="10" y="779"/>
                    </a:lnTo>
                    <a:lnTo>
                      <a:pt x="7" y="781"/>
                    </a:lnTo>
                    <a:lnTo>
                      <a:pt x="2" y="788"/>
                    </a:lnTo>
                    <a:lnTo>
                      <a:pt x="5" y="792"/>
                    </a:lnTo>
                    <a:lnTo>
                      <a:pt x="2" y="795"/>
                    </a:lnTo>
                    <a:lnTo>
                      <a:pt x="2" y="800"/>
                    </a:lnTo>
                    <a:lnTo>
                      <a:pt x="5" y="802"/>
                    </a:lnTo>
                    <a:lnTo>
                      <a:pt x="5" y="807"/>
                    </a:lnTo>
                    <a:lnTo>
                      <a:pt x="16" y="809"/>
                    </a:lnTo>
                    <a:lnTo>
                      <a:pt x="35" y="801"/>
                    </a:lnTo>
                    <a:lnTo>
                      <a:pt x="40" y="804"/>
                    </a:lnTo>
                    <a:lnTo>
                      <a:pt x="47" y="804"/>
                    </a:lnTo>
                    <a:lnTo>
                      <a:pt x="50" y="797"/>
                    </a:lnTo>
                    <a:lnTo>
                      <a:pt x="55" y="786"/>
                    </a:lnTo>
                    <a:lnTo>
                      <a:pt x="57" y="792"/>
                    </a:lnTo>
                    <a:lnTo>
                      <a:pt x="55" y="801"/>
                    </a:lnTo>
                    <a:lnTo>
                      <a:pt x="58" y="803"/>
                    </a:lnTo>
                    <a:lnTo>
                      <a:pt x="66" y="803"/>
                    </a:lnTo>
                    <a:lnTo>
                      <a:pt x="71" y="801"/>
                    </a:lnTo>
                    <a:lnTo>
                      <a:pt x="74" y="803"/>
                    </a:lnTo>
                    <a:lnTo>
                      <a:pt x="82" y="796"/>
                    </a:lnTo>
                    <a:lnTo>
                      <a:pt x="84" y="780"/>
                    </a:lnTo>
                    <a:lnTo>
                      <a:pt x="92" y="776"/>
                    </a:lnTo>
                    <a:lnTo>
                      <a:pt x="92" y="779"/>
                    </a:lnTo>
                    <a:lnTo>
                      <a:pt x="87" y="789"/>
                    </a:lnTo>
                    <a:lnTo>
                      <a:pt x="86" y="797"/>
                    </a:lnTo>
                    <a:lnTo>
                      <a:pt x="85" y="800"/>
                    </a:lnTo>
                    <a:lnTo>
                      <a:pt x="89" y="799"/>
                    </a:lnTo>
                    <a:lnTo>
                      <a:pt x="94" y="797"/>
                    </a:lnTo>
                    <a:lnTo>
                      <a:pt x="97" y="798"/>
                    </a:lnTo>
                    <a:lnTo>
                      <a:pt x="87" y="805"/>
                    </a:lnTo>
                    <a:lnTo>
                      <a:pt x="76" y="809"/>
                    </a:lnTo>
                    <a:lnTo>
                      <a:pt x="75" y="815"/>
                    </a:lnTo>
                    <a:lnTo>
                      <a:pt x="79" y="821"/>
                    </a:lnTo>
                    <a:lnTo>
                      <a:pt x="69" y="826"/>
                    </a:lnTo>
                    <a:lnTo>
                      <a:pt x="69" y="819"/>
                    </a:lnTo>
                    <a:lnTo>
                      <a:pt x="67" y="814"/>
                    </a:lnTo>
                    <a:lnTo>
                      <a:pt x="62" y="809"/>
                    </a:lnTo>
                    <a:lnTo>
                      <a:pt x="54" y="809"/>
                    </a:lnTo>
                    <a:lnTo>
                      <a:pt x="45" y="812"/>
                    </a:lnTo>
                    <a:lnTo>
                      <a:pt x="39" y="810"/>
                    </a:lnTo>
                    <a:lnTo>
                      <a:pt x="32" y="811"/>
                    </a:lnTo>
                    <a:lnTo>
                      <a:pt x="26" y="811"/>
                    </a:lnTo>
                    <a:lnTo>
                      <a:pt x="20" y="815"/>
                    </a:lnTo>
                    <a:lnTo>
                      <a:pt x="8" y="813"/>
                    </a:lnTo>
                    <a:lnTo>
                      <a:pt x="4" y="821"/>
                    </a:lnTo>
                    <a:lnTo>
                      <a:pt x="4" y="827"/>
                    </a:lnTo>
                    <a:lnTo>
                      <a:pt x="9" y="828"/>
                    </a:lnTo>
                    <a:lnTo>
                      <a:pt x="12" y="827"/>
                    </a:lnTo>
                    <a:lnTo>
                      <a:pt x="12" y="837"/>
                    </a:lnTo>
                    <a:lnTo>
                      <a:pt x="7" y="835"/>
                    </a:lnTo>
                    <a:lnTo>
                      <a:pt x="2" y="831"/>
                    </a:lnTo>
                    <a:lnTo>
                      <a:pt x="1" y="833"/>
                    </a:lnTo>
                    <a:lnTo>
                      <a:pt x="0" y="833"/>
                    </a:lnTo>
                    <a:lnTo>
                      <a:pt x="0" y="835"/>
                    </a:lnTo>
                    <a:lnTo>
                      <a:pt x="7" y="847"/>
                    </a:lnTo>
                    <a:lnTo>
                      <a:pt x="11" y="848"/>
                    </a:lnTo>
                    <a:lnTo>
                      <a:pt x="20" y="842"/>
                    </a:lnTo>
                    <a:lnTo>
                      <a:pt x="26" y="841"/>
                    </a:lnTo>
                    <a:lnTo>
                      <a:pt x="17" y="849"/>
                    </a:lnTo>
                    <a:lnTo>
                      <a:pt x="15" y="854"/>
                    </a:lnTo>
                    <a:lnTo>
                      <a:pt x="17" y="857"/>
                    </a:lnTo>
                    <a:lnTo>
                      <a:pt x="9" y="861"/>
                    </a:lnTo>
                    <a:lnTo>
                      <a:pt x="6" y="865"/>
                    </a:lnTo>
                    <a:lnTo>
                      <a:pt x="8" y="870"/>
                    </a:lnTo>
                    <a:lnTo>
                      <a:pt x="10" y="873"/>
                    </a:lnTo>
                    <a:lnTo>
                      <a:pt x="12" y="878"/>
                    </a:lnTo>
                    <a:lnTo>
                      <a:pt x="17" y="874"/>
                    </a:lnTo>
                    <a:lnTo>
                      <a:pt x="21" y="870"/>
                    </a:lnTo>
                    <a:lnTo>
                      <a:pt x="21" y="877"/>
                    </a:lnTo>
                    <a:lnTo>
                      <a:pt x="27" y="885"/>
                    </a:lnTo>
                    <a:lnTo>
                      <a:pt x="21" y="885"/>
                    </a:lnTo>
                    <a:lnTo>
                      <a:pt x="16" y="890"/>
                    </a:lnTo>
                    <a:lnTo>
                      <a:pt x="16" y="893"/>
                    </a:lnTo>
                    <a:lnTo>
                      <a:pt x="19" y="896"/>
                    </a:lnTo>
                    <a:lnTo>
                      <a:pt x="26" y="892"/>
                    </a:lnTo>
                    <a:lnTo>
                      <a:pt x="30" y="884"/>
                    </a:lnTo>
                    <a:lnTo>
                      <a:pt x="30" y="877"/>
                    </a:lnTo>
                    <a:lnTo>
                      <a:pt x="35" y="872"/>
                    </a:lnTo>
                    <a:lnTo>
                      <a:pt x="42" y="864"/>
                    </a:lnTo>
                    <a:lnTo>
                      <a:pt x="49" y="850"/>
                    </a:lnTo>
                    <a:lnTo>
                      <a:pt x="55" y="845"/>
                    </a:lnTo>
                    <a:lnTo>
                      <a:pt x="58" y="848"/>
                    </a:lnTo>
                    <a:lnTo>
                      <a:pt x="58" y="851"/>
                    </a:lnTo>
                    <a:lnTo>
                      <a:pt x="67" y="849"/>
                    </a:lnTo>
                    <a:lnTo>
                      <a:pt x="73" y="850"/>
                    </a:lnTo>
                    <a:lnTo>
                      <a:pt x="63" y="855"/>
                    </a:lnTo>
                    <a:lnTo>
                      <a:pt x="62" y="862"/>
                    </a:lnTo>
                    <a:lnTo>
                      <a:pt x="60" y="867"/>
                    </a:lnTo>
                    <a:lnTo>
                      <a:pt x="58" y="859"/>
                    </a:lnTo>
                    <a:lnTo>
                      <a:pt x="55" y="858"/>
                    </a:lnTo>
                    <a:lnTo>
                      <a:pt x="50" y="868"/>
                    </a:lnTo>
                    <a:lnTo>
                      <a:pt x="43" y="874"/>
                    </a:lnTo>
                    <a:lnTo>
                      <a:pt x="46" y="878"/>
                    </a:lnTo>
                    <a:lnTo>
                      <a:pt x="47" y="880"/>
                    </a:lnTo>
                    <a:lnTo>
                      <a:pt x="40" y="884"/>
                    </a:lnTo>
                    <a:lnTo>
                      <a:pt x="27" y="901"/>
                    </a:lnTo>
                    <a:lnTo>
                      <a:pt x="32" y="904"/>
                    </a:lnTo>
                    <a:lnTo>
                      <a:pt x="44" y="904"/>
                    </a:lnTo>
                    <a:lnTo>
                      <a:pt x="49" y="901"/>
                    </a:lnTo>
                    <a:lnTo>
                      <a:pt x="50" y="903"/>
                    </a:lnTo>
                    <a:lnTo>
                      <a:pt x="37" y="908"/>
                    </a:lnTo>
                    <a:lnTo>
                      <a:pt x="32" y="913"/>
                    </a:lnTo>
                    <a:lnTo>
                      <a:pt x="32" y="915"/>
                    </a:lnTo>
                    <a:lnTo>
                      <a:pt x="26" y="915"/>
                    </a:lnTo>
                    <a:lnTo>
                      <a:pt x="22" y="917"/>
                    </a:lnTo>
                    <a:lnTo>
                      <a:pt x="18" y="915"/>
                    </a:lnTo>
                    <a:lnTo>
                      <a:pt x="12" y="923"/>
                    </a:lnTo>
                    <a:lnTo>
                      <a:pt x="9" y="929"/>
                    </a:lnTo>
                    <a:lnTo>
                      <a:pt x="9" y="935"/>
                    </a:lnTo>
                    <a:lnTo>
                      <a:pt x="11" y="937"/>
                    </a:lnTo>
                    <a:lnTo>
                      <a:pt x="12" y="939"/>
                    </a:lnTo>
                    <a:lnTo>
                      <a:pt x="18" y="938"/>
                    </a:lnTo>
                    <a:lnTo>
                      <a:pt x="21" y="933"/>
                    </a:lnTo>
                    <a:lnTo>
                      <a:pt x="22" y="938"/>
                    </a:lnTo>
                    <a:lnTo>
                      <a:pt x="27" y="938"/>
                    </a:lnTo>
                    <a:lnTo>
                      <a:pt x="29" y="934"/>
                    </a:lnTo>
                    <a:lnTo>
                      <a:pt x="28" y="930"/>
                    </a:lnTo>
                    <a:lnTo>
                      <a:pt x="32" y="933"/>
                    </a:lnTo>
                    <a:lnTo>
                      <a:pt x="42" y="928"/>
                    </a:lnTo>
                    <a:lnTo>
                      <a:pt x="45" y="924"/>
                    </a:lnTo>
                    <a:lnTo>
                      <a:pt x="49" y="926"/>
                    </a:lnTo>
                    <a:lnTo>
                      <a:pt x="40" y="937"/>
                    </a:lnTo>
                    <a:lnTo>
                      <a:pt x="43" y="937"/>
                    </a:lnTo>
                    <a:lnTo>
                      <a:pt x="43" y="943"/>
                    </a:lnTo>
                    <a:lnTo>
                      <a:pt x="40" y="950"/>
                    </a:lnTo>
                    <a:lnTo>
                      <a:pt x="38" y="954"/>
                    </a:lnTo>
                    <a:lnTo>
                      <a:pt x="33" y="958"/>
                    </a:lnTo>
                    <a:lnTo>
                      <a:pt x="34" y="963"/>
                    </a:lnTo>
                    <a:lnTo>
                      <a:pt x="34" y="965"/>
                    </a:lnTo>
                    <a:lnTo>
                      <a:pt x="30" y="965"/>
                    </a:lnTo>
                    <a:lnTo>
                      <a:pt x="27" y="966"/>
                    </a:lnTo>
                    <a:lnTo>
                      <a:pt x="24" y="962"/>
                    </a:lnTo>
                    <a:lnTo>
                      <a:pt x="22" y="962"/>
                    </a:lnTo>
                    <a:lnTo>
                      <a:pt x="18" y="983"/>
                    </a:lnTo>
                    <a:lnTo>
                      <a:pt x="26" y="994"/>
                    </a:lnTo>
                    <a:lnTo>
                      <a:pt x="40" y="1006"/>
                    </a:lnTo>
                    <a:lnTo>
                      <a:pt x="50" y="1012"/>
                    </a:lnTo>
                    <a:lnTo>
                      <a:pt x="57" y="1014"/>
                    </a:lnTo>
                    <a:lnTo>
                      <a:pt x="62" y="1005"/>
                    </a:lnTo>
                    <a:lnTo>
                      <a:pt x="62" y="1017"/>
                    </a:lnTo>
                    <a:lnTo>
                      <a:pt x="61" y="1026"/>
                    </a:lnTo>
                    <a:lnTo>
                      <a:pt x="65" y="1022"/>
                    </a:lnTo>
                    <a:lnTo>
                      <a:pt x="71" y="1026"/>
                    </a:lnTo>
                    <a:lnTo>
                      <a:pt x="74" y="1020"/>
                    </a:lnTo>
                    <a:lnTo>
                      <a:pt x="84" y="1020"/>
                    </a:lnTo>
                    <a:lnTo>
                      <a:pt x="78" y="1026"/>
                    </a:lnTo>
                    <a:lnTo>
                      <a:pt x="89" y="1030"/>
                    </a:lnTo>
                    <a:lnTo>
                      <a:pt x="98" y="1027"/>
                    </a:lnTo>
                    <a:lnTo>
                      <a:pt x="106" y="1020"/>
                    </a:lnTo>
                    <a:lnTo>
                      <a:pt x="109" y="1011"/>
                    </a:lnTo>
                    <a:lnTo>
                      <a:pt x="113" y="1018"/>
                    </a:lnTo>
                    <a:lnTo>
                      <a:pt x="127" y="1009"/>
                    </a:lnTo>
                    <a:lnTo>
                      <a:pt x="140" y="992"/>
                    </a:lnTo>
                    <a:lnTo>
                      <a:pt x="148" y="987"/>
                    </a:lnTo>
                    <a:lnTo>
                      <a:pt x="150" y="981"/>
                    </a:lnTo>
                    <a:lnTo>
                      <a:pt x="154" y="976"/>
                    </a:lnTo>
                    <a:lnTo>
                      <a:pt x="156" y="973"/>
                    </a:lnTo>
                    <a:lnTo>
                      <a:pt x="167" y="961"/>
                    </a:lnTo>
                    <a:lnTo>
                      <a:pt x="165" y="956"/>
                    </a:lnTo>
                    <a:lnTo>
                      <a:pt x="174" y="961"/>
                    </a:lnTo>
                    <a:lnTo>
                      <a:pt x="183" y="961"/>
                    </a:lnTo>
                    <a:lnTo>
                      <a:pt x="188" y="958"/>
                    </a:lnTo>
                    <a:lnTo>
                      <a:pt x="190" y="950"/>
                    </a:lnTo>
                    <a:lnTo>
                      <a:pt x="190" y="946"/>
                    </a:lnTo>
                    <a:lnTo>
                      <a:pt x="196" y="941"/>
                    </a:lnTo>
                    <a:lnTo>
                      <a:pt x="196" y="934"/>
                    </a:lnTo>
                    <a:lnTo>
                      <a:pt x="191" y="929"/>
                    </a:lnTo>
                    <a:lnTo>
                      <a:pt x="188" y="924"/>
                    </a:lnTo>
                    <a:lnTo>
                      <a:pt x="190" y="922"/>
                    </a:lnTo>
                    <a:lnTo>
                      <a:pt x="191" y="919"/>
                    </a:lnTo>
                    <a:lnTo>
                      <a:pt x="189" y="911"/>
                    </a:lnTo>
                    <a:lnTo>
                      <a:pt x="192" y="914"/>
                    </a:lnTo>
                    <a:lnTo>
                      <a:pt x="195" y="918"/>
                    </a:lnTo>
                    <a:lnTo>
                      <a:pt x="195" y="924"/>
                    </a:lnTo>
                    <a:lnTo>
                      <a:pt x="199" y="923"/>
                    </a:lnTo>
                    <a:lnTo>
                      <a:pt x="200" y="918"/>
                    </a:lnTo>
                    <a:lnTo>
                      <a:pt x="197" y="913"/>
                    </a:lnTo>
                    <a:lnTo>
                      <a:pt x="196" y="902"/>
                    </a:lnTo>
                    <a:lnTo>
                      <a:pt x="198" y="900"/>
                    </a:lnTo>
                    <a:lnTo>
                      <a:pt x="199" y="901"/>
                    </a:lnTo>
                    <a:lnTo>
                      <a:pt x="203" y="899"/>
                    </a:lnTo>
                    <a:lnTo>
                      <a:pt x="207" y="900"/>
                    </a:lnTo>
                    <a:lnTo>
                      <a:pt x="207" y="905"/>
                    </a:lnTo>
                    <a:lnTo>
                      <a:pt x="201" y="907"/>
                    </a:lnTo>
                    <a:lnTo>
                      <a:pt x="201" y="912"/>
                    </a:lnTo>
                    <a:lnTo>
                      <a:pt x="203" y="919"/>
                    </a:lnTo>
                    <a:lnTo>
                      <a:pt x="204" y="938"/>
                    </a:lnTo>
                    <a:lnTo>
                      <a:pt x="207" y="946"/>
                    </a:lnTo>
                    <a:lnTo>
                      <a:pt x="211" y="945"/>
                    </a:lnTo>
                    <a:lnTo>
                      <a:pt x="218" y="950"/>
                    </a:lnTo>
                    <a:lnTo>
                      <a:pt x="222" y="950"/>
                    </a:lnTo>
                    <a:lnTo>
                      <a:pt x="224" y="954"/>
                    </a:lnTo>
                    <a:lnTo>
                      <a:pt x="226" y="958"/>
                    </a:lnTo>
                    <a:lnTo>
                      <a:pt x="226" y="972"/>
                    </a:lnTo>
                    <a:lnTo>
                      <a:pt x="229" y="963"/>
                    </a:lnTo>
                    <a:lnTo>
                      <a:pt x="231" y="969"/>
                    </a:lnTo>
                    <a:lnTo>
                      <a:pt x="236" y="965"/>
                    </a:lnTo>
                    <a:lnTo>
                      <a:pt x="242" y="940"/>
                    </a:lnTo>
                    <a:lnTo>
                      <a:pt x="238" y="933"/>
                    </a:lnTo>
                    <a:lnTo>
                      <a:pt x="237" y="922"/>
                    </a:lnTo>
                    <a:lnTo>
                      <a:pt x="246" y="907"/>
                    </a:lnTo>
                    <a:lnTo>
                      <a:pt x="246" y="899"/>
                    </a:lnTo>
                    <a:lnTo>
                      <a:pt x="265" y="891"/>
                    </a:lnTo>
                    <a:lnTo>
                      <a:pt x="268" y="884"/>
                    </a:lnTo>
                    <a:lnTo>
                      <a:pt x="269" y="873"/>
                    </a:lnTo>
                    <a:lnTo>
                      <a:pt x="266" y="868"/>
                    </a:lnTo>
                    <a:lnTo>
                      <a:pt x="271" y="848"/>
                    </a:lnTo>
                    <a:lnTo>
                      <a:pt x="266" y="826"/>
                    </a:lnTo>
                    <a:lnTo>
                      <a:pt x="259" y="818"/>
                    </a:lnTo>
                    <a:lnTo>
                      <a:pt x="262" y="814"/>
                    </a:lnTo>
                    <a:lnTo>
                      <a:pt x="270" y="810"/>
                    </a:lnTo>
                    <a:lnTo>
                      <a:pt x="278" y="802"/>
                    </a:lnTo>
                    <a:lnTo>
                      <a:pt x="281" y="790"/>
                    </a:lnTo>
                    <a:lnTo>
                      <a:pt x="279" y="776"/>
                    </a:lnTo>
                    <a:lnTo>
                      <a:pt x="266" y="766"/>
                    </a:lnTo>
                    <a:lnTo>
                      <a:pt x="260" y="756"/>
                    </a:lnTo>
                    <a:lnTo>
                      <a:pt x="259" y="742"/>
                    </a:lnTo>
                    <a:lnTo>
                      <a:pt x="260" y="715"/>
                    </a:lnTo>
                    <a:lnTo>
                      <a:pt x="257" y="705"/>
                    </a:lnTo>
                    <a:lnTo>
                      <a:pt x="255" y="703"/>
                    </a:lnTo>
                    <a:lnTo>
                      <a:pt x="255" y="694"/>
                    </a:lnTo>
                    <a:lnTo>
                      <a:pt x="257" y="688"/>
                    </a:lnTo>
                    <a:lnTo>
                      <a:pt x="257" y="675"/>
                    </a:lnTo>
                    <a:lnTo>
                      <a:pt x="259" y="669"/>
                    </a:lnTo>
                    <a:lnTo>
                      <a:pt x="260" y="661"/>
                    </a:lnTo>
                    <a:lnTo>
                      <a:pt x="265" y="654"/>
                    </a:lnTo>
                    <a:lnTo>
                      <a:pt x="262" y="651"/>
                    </a:lnTo>
                    <a:lnTo>
                      <a:pt x="257" y="641"/>
                    </a:lnTo>
                    <a:lnTo>
                      <a:pt x="255" y="630"/>
                    </a:lnTo>
                    <a:lnTo>
                      <a:pt x="257" y="617"/>
                    </a:lnTo>
                    <a:lnTo>
                      <a:pt x="262" y="606"/>
                    </a:lnTo>
                    <a:lnTo>
                      <a:pt x="278" y="586"/>
                    </a:lnTo>
                    <a:lnTo>
                      <a:pt x="289" y="579"/>
                    </a:lnTo>
                    <a:lnTo>
                      <a:pt x="303" y="574"/>
                    </a:lnTo>
                    <a:lnTo>
                      <a:pt x="315" y="578"/>
                    </a:lnTo>
                    <a:lnTo>
                      <a:pt x="324" y="578"/>
                    </a:lnTo>
                    <a:lnTo>
                      <a:pt x="331" y="570"/>
                    </a:lnTo>
                    <a:lnTo>
                      <a:pt x="333" y="562"/>
                    </a:lnTo>
                    <a:lnTo>
                      <a:pt x="333" y="549"/>
                    </a:lnTo>
                    <a:lnTo>
                      <a:pt x="328" y="541"/>
                    </a:lnTo>
                    <a:lnTo>
                      <a:pt x="319" y="531"/>
                    </a:lnTo>
                    <a:lnTo>
                      <a:pt x="319" y="525"/>
                    </a:lnTo>
                    <a:lnTo>
                      <a:pt x="332" y="503"/>
                    </a:lnTo>
                    <a:lnTo>
                      <a:pt x="343" y="479"/>
                    </a:lnTo>
                    <a:lnTo>
                      <a:pt x="348" y="445"/>
                    </a:lnTo>
                    <a:lnTo>
                      <a:pt x="349" y="426"/>
                    </a:lnTo>
                    <a:lnTo>
                      <a:pt x="349" y="412"/>
                    </a:lnTo>
                    <a:lnTo>
                      <a:pt x="348" y="402"/>
                    </a:lnTo>
                    <a:lnTo>
                      <a:pt x="353" y="399"/>
                    </a:lnTo>
                    <a:lnTo>
                      <a:pt x="360" y="399"/>
                    </a:lnTo>
                    <a:lnTo>
                      <a:pt x="372" y="390"/>
                    </a:lnTo>
                    <a:lnTo>
                      <a:pt x="376" y="383"/>
                    </a:lnTo>
                    <a:lnTo>
                      <a:pt x="377" y="368"/>
                    </a:lnTo>
                    <a:lnTo>
                      <a:pt x="381" y="359"/>
                    </a:lnTo>
                    <a:lnTo>
                      <a:pt x="397" y="338"/>
                    </a:lnTo>
                    <a:lnTo>
                      <a:pt x="401" y="329"/>
                    </a:lnTo>
                    <a:lnTo>
                      <a:pt x="410" y="320"/>
                    </a:lnTo>
                    <a:lnTo>
                      <a:pt x="414" y="311"/>
                    </a:lnTo>
                    <a:lnTo>
                      <a:pt x="415" y="306"/>
                    </a:lnTo>
                    <a:lnTo>
                      <a:pt x="414" y="297"/>
                    </a:lnTo>
                    <a:lnTo>
                      <a:pt x="405" y="283"/>
                    </a:lnTo>
                    <a:lnTo>
                      <a:pt x="408" y="273"/>
                    </a:lnTo>
                    <a:lnTo>
                      <a:pt x="417" y="262"/>
                    </a:lnTo>
                    <a:lnTo>
                      <a:pt x="421" y="256"/>
                    </a:lnTo>
                    <a:lnTo>
                      <a:pt x="422" y="247"/>
                    </a:lnTo>
                    <a:lnTo>
                      <a:pt x="425" y="236"/>
                    </a:lnTo>
                    <a:lnTo>
                      <a:pt x="431" y="228"/>
                    </a:lnTo>
                    <a:lnTo>
                      <a:pt x="443" y="215"/>
                    </a:lnTo>
                    <a:lnTo>
                      <a:pt x="451" y="213"/>
                    </a:lnTo>
                    <a:lnTo>
                      <a:pt x="459" y="217"/>
                    </a:lnTo>
                    <a:lnTo>
                      <a:pt x="466" y="226"/>
                    </a:lnTo>
                    <a:lnTo>
                      <a:pt x="469" y="227"/>
                    </a:lnTo>
                    <a:lnTo>
                      <a:pt x="474" y="216"/>
                    </a:lnTo>
                    <a:lnTo>
                      <a:pt x="478" y="202"/>
                    </a:lnTo>
                    <a:lnTo>
                      <a:pt x="479" y="196"/>
                    </a:lnTo>
                    <a:lnTo>
                      <a:pt x="478" y="180"/>
                    </a:lnTo>
                    <a:lnTo>
                      <a:pt x="481" y="173"/>
                    </a:lnTo>
                    <a:lnTo>
                      <a:pt x="484" y="171"/>
                    </a:lnTo>
                    <a:lnTo>
                      <a:pt x="491" y="170"/>
                    </a:lnTo>
                    <a:lnTo>
                      <a:pt x="512" y="172"/>
                    </a:lnTo>
                    <a:lnTo>
                      <a:pt x="540" y="182"/>
                    </a:lnTo>
                    <a:lnTo>
                      <a:pt x="546" y="181"/>
                    </a:lnTo>
                    <a:lnTo>
                      <a:pt x="550" y="176"/>
                    </a:lnTo>
                    <a:lnTo>
                      <a:pt x="544" y="169"/>
                    </a:lnTo>
                    <a:lnTo>
                      <a:pt x="543" y="163"/>
                    </a:lnTo>
                    <a:lnTo>
                      <a:pt x="547" y="156"/>
                    </a:lnTo>
                    <a:lnTo>
                      <a:pt x="549" y="145"/>
                    </a:lnTo>
                    <a:lnTo>
                      <a:pt x="552" y="142"/>
                    </a:lnTo>
                    <a:lnTo>
                      <a:pt x="554" y="136"/>
                    </a:lnTo>
                    <a:lnTo>
                      <a:pt x="552" y="129"/>
                    </a:lnTo>
                    <a:lnTo>
                      <a:pt x="549" y="125"/>
                    </a:lnTo>
                    <a:lnTo>
                      <a:pt x="549" y="119"/>
                    </a:lnTo>
                    <a:lnTo>
                      <a:pt x="552" y="117"/>
                    </a:lnTo>
                    <a:lnTo>
                      <a:pt x="568" y="118"/>
                    </a:lnTo>
                    <a:lnTo>
                      <a:pt x="570" y="112"/>
                    </a:lnTo>
                    <a:lnTo>
                      <a:pt x="575" y="110"/>
                    </a:lnTo>
                    <a:lnTo>
                      <a:pt x="581" y="112"/>
                    </a:lnTo>
                    <a:lnTo>
                      <a:pt x="586" y="110"/>
                    </a:lnTo>
                    <a:lnTo>
                      <a:pt x="585" y="102"/>
                    </a:lnTo>
                    <a:lnTo>
                      <a:pt x="584" y="95"/>
                    </a:lnTo>
                    <a:lnTo>
                      <a:pt x="593" y="90"/>
                    </a:lnTo>
                    <a:lnTo>
                      <a:pt x="602" y="94"/>
                    </a:lnTo>
                    <a:lnTo>
                      <a:pt x="610" y="101"/>
                    </a:lnTo>
                    <a:lnTo>
                      <a:pt x="629" y="131"/>
                    </a:lnTo>
                    <a:lnTo>
                      <a:pt x="633" y="143"/>
                    </a:lnTo>
                    <a:lnTo>
                      <a:pt x="636" y="148"/>
                    </a:lnTo>
                    <a:lnTo>
                      <a:pt x="653" y="152"/>
                    </a:lnTo>
                    <a:lnTo>
                      <a:pt x="663" y="156"/>
                    </a:lnTo>
                    <a:lnTo>
                      <a:pt x="671" y="156"/>
                    </a:lnTo>
                    <a:lnTo>
                      <a:pt x="681" y="149"/>
                    </a:lnTo>
                    <a:lnTo>
                      <a:pt x="693" y="136"/>
                    </a:lnTo>
                    <a:lnTo>
                      <a:pt x="698" y="142"/>
                    </a:lnTo>
                    <a:lnTo>
                      <a:pt x="705" y="149"/>
                    </a:lnTo>
                    <a:lnTo>
                      <a:pt x="707" y="156"/>
                    </a:lnTo>
                    <a:lnTo>
                      <a:pt x="714" y="157"/>
                    </a:lnTo>
                    <a:lnTo>
                      <a:pt x="724" y="153"/>
                    </a:lnTo>
                    <a:lnTo>
                      <a:pt x="732" y="146"/>
                    </a:lnTo>
                    <a:lnTo>
                      <a:pt x="738" y="137"/>
                    </a:lnTo>
                    <a:lnTo>
                      <a:pt x="756" y="124"/>
                    </a:lnTo>
                    <a:lnTo>
                      <a:pt x="757" y="117"/>
                    </a:lnTo>
                    <a:lnTo>
                      <a:pt x="756" y="101"/>
                    </a:lnTo>
                    <a:lnTo>
                      <a:pt x="756" y="92"/>
                    </a:lnTo>
                    <a:lnTo>
                      <a:pt x="758" y="64"/>
                    </a:lnTo>
                    <a:lnTo>
                      <a:pt x="766" y="43"/>
                    </a:lnTo>
                    <a:lnTo>
                      <a:pt x="774" y="34"/>
                    </a:lnTo>
                    <a:lnTo>
                      <a:pt x="782" y="30"/>
                    </a:lnTo>
                    <a:lnTo>
                      <a:pt x="798" y="28"/>
                    </a:lnTo>
                    <a:lnTo>
                      <a:pt x="824" y="17"/>
                    </a:lnTo>
                    <a:lnTo>
                      <a:pt x="840" y="14"/>
                    </a:lnTo>
                    <a:lnTo>
                      <a:pt x="843" y="17"/>
                    </a:lnTo>
                    <a:lnTo>
                      <a:pt x="850" y="30"/>
                    </a:lnTo>
                    <a:lnTo>
                      <a:pt x="856" y="37"/>
                    </a:lnTo>
                    <a:lnTo>
                      <a:pt x="869" y="41"/>
                    </a:lnTo>
                    <a:lnTo>
                      <a:pt x="881" y="52"/>
                    </a:lnTo>
                    <a:lnTo>
                      <a:pt x="885" y="71"/>
                    </a:lnTo>
                    <a:lnTo>
                      <a:pt x="886" y="81"/>
                    </a:lnTo>
                    <a:lnTo>
                      <a:pt x="873" y="97"/>
                    </a:lnTo>
                    <a:lnTo>
                      <a:pt x="871" y="106"/>
                    </a:lnTo>
                    <a:lnTo>
                      <a:pt x="871" y="112"/>
                    </a:lnTo>
                    <a:lnTo>
                      <a:pt x="877" y="118"/>
                    </a:lnTo>
                    <a:lnTo>
                      <a:pt x="880" y="117"/>
                    </a:lnTo>
                    <a:lnTo>
                      <a:pt x="885" y="111"/>
                    </a:lnTo>
                    <a:lnTo>
                      <a:pt x="886" y="109"/>
                    </a:lnTo>
                    <a:lnTo>
                      <a:pt x="886" y="101"/>
                    </a:lnTo>
                    <a:lnTo>
                      <a:pt x="888" y="98"/>
                    </a:lnTo>
                    <a:lnTo>
                      <a:pt x="909" y="86"/>
                    </a:lnTo>
                    <a:lnTo>
                      <a:pt x="914" y="80"/>
                    </a:lnTo>
                    <a:lnTo>
                      <a:pt x="918" y="61"/>
                    </a:lnTo>
                    <a:lnTo>
                      <a:pt x="932" y="69"/>
                    </a:lnTo>
                    <a:lnTo>
                      <a:pt x="940" y="67"/>
                    </a:lnTo>
                    <a:lnTo>
                      <a:pt x="942" y="64"/>
                    </a:lnTo>
                    <a:lnTo>
                      <a:pt x="944" y="56"/>
                    </a:lnTo>
                    <a:lnTo>
                      <a:pt x="945" y="49"/>
                    </a:lnTo>
                    <a:lnTo>
                      <a:pt x="943" y="45"/>
                    </a:lnTo>
                    <a:lnTo>
                      <a:pt x="928" y="42"/>
                    </a:lnTo>
                    <a:close/>
                  </a:path>
                </a:pathLst>
              </a:custGeom>
              <a:solidFill>
                <a:srgbClr val="405F9E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99" name="Iceland" descr="{&quot;Key&quot;:&quot;iceland&quot;,&quot;Name&quot;:&quot;Iceland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25FFF55D-76B3-4F8C-FB9C-42E68FA890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8793" y="2322509"/>
                <a:ext cx="514297" cy="450273"/>
              </a:xfrm>
              <a:custGeom>
                <a:avLst/>
                <a:gdLst>
                  <a:gd name="T0" fmla="*/ 28 w 347"/>
                  <a:gd name="T1" fmla="*/ 178 h 276"/>
                  <a:gd name="T2" fmla="*/ 38 w 347"/>
                  <a:gd name="T3" fmla="*/ 178 h 276"/>
                  <a:gd name="T4" fmla="*/ 80 w 347"/>
                  <a:gd name="T5" fmla="*/ 168 h 276"/>
                  <a:gd name="T6" fmla="*/ 56 w 347"/>
                  <a:gd name="T7" fmla="*/ 162 h 276"/>
                  <a:gd name="T8" fmla="*/ 67 w 347"/>
                  <a:gd name="T9" fmla="*/ 151 h 276"/>
                  <a:gd name="T10" fmla="*/ 79 w 347"/>
                  <a:gd name="T11" fmla="*/ 147 h 276"/>
                  <a:gd name="T12" fmla="*/ 60 w 347"/>
                  <a:gd name="T13" fmla="*/ 134 h 276"/>
                  <a:gd name="T14" fmla="*/ 55 w 347"/>
                  <a:gd name="T15" fmla="*/ 120 h 276"/>
                  <a:gd name="T16" fmla="*/ 39 w 347"/>
                  <a:gd name="T17" fmla="*/ 110 h 276"/>
                  <a:gd name="T18" fmla="*/ 23 w 347"/>
                  <a:gd name="T19" fmla="*/ 95 h 276"/>
                  <a:gd name="T20" fmla="*/ 50 w 347"/>
                  <a:gd name="T21" fmla="*/ 107 h 276"/>
                  <a:gd name="T22" fmla="*/ 67 w 347"/>
                  <a:gd name="T23" fmla="*/ 112 h 276"/>
                  <a:gd name="T24" fmla="*/ 85 w 347"/>
                  <a:gd name="T25" fmla="*/ 111 h 276"/>
                  <a:gd name="T26" fmla="*/ 98 w 347"/>
                  <a:gd name="T27" fmla="*/ 92 h 276"/>
                  <a:gd name="T28" fmla="*/ 103 w 347"/>
                  <a:gd name="T29" fmla="*/ 77 h 276"/>
                  <a:gd name="T30" fmla="*/ 80 w 347"/>
                  <a:gd name="T31" fmla="*/ 68 h 276"/>
                  <a:gd name="T32" fmla="*/ 73 w 347"/>
                  <a:gd name="T33" fmla="*/ 62 h 276"/>
                  <a:gd name="T34" fmla="*/ 45 w 347"/>
                  <a:gd name="T35" fmla="*/ 62 h 276"/>
                  <a:gd name="T36" fmla="*/ 55 w 347"/>
                  <a:gd name="T37" fmla="*/ 57 h 276"/>
                  <a:gd name="T38" fmla="*/ 69 w 347"/>
                  <a:gd name="T39" fmla="*/ 49 h 276"/>
                  <a:gd name="T40" fmla="*/ 65 w 347"/>
                  <a:gd name="T41" fmla="*/ 34 h 276"/>
                  <a:gd name="T42" fmla="*/ 83 w 347"/>
                  <a:gd name="T43" fmla="*/ 32 h 276"/>
                  <a:gd name="T44" fmla="*/ 112 w 347"/>
                  <a:gd name="T45" fmla="*/ 42 h 276"/>
                  <a:gd name="T46" fmla="*/ 120 w 347"/>
                  <a:gd name="T47" fmla="*/ 30 h 276"/>
                  <a:gd name="T48" fmla="*/ 119 w 347"/>
                  <a:gd name="T49" fmla="*/ 23 h 276"/>
                  <a:gd name="T50" fmla="*/ 113 w 347"/>
                  <a:gd name="T51" fmla="*/ 12 h 276"/>
                  <a:gd name="T52" fmla="*/ 125 w 347"/>
                  <a:gd name="T53" fmla="*/ 18 h 276"/>
                  <a:gd name="T54" fmla="*/ 131 w 347"/>
                  <a:gd name="T55" fmla="*/ 38 h 276"/>
                  <a:gd name="T56" fmla="*/ 129 w 347"/>
                  <a:gd name="T57" fmla="*/ 56 h 276"/>
                  <a:gd name="T58" fmla="*/ 128 w 347"/>
                  <a:gd name="T59" fmla="*/ 79 h 276"/>
                  <a:gd name="T60" fmla="*/ 124 w 347"/>
                  <a:gd name="T61" fmla="*/ 88 h 276"/>
                  <a:gd name="T62" fmla="*/ 116 w 347"/>
                  <a:gd name="T63" fmla="*/ 109 h 276"/>
                  <a:gd name="T64" fmla="*/ 140 w 347"/>
                  <a:gd name="T65" fmla="*/ 100 h 276"/>
                  <a:gd name="T66" fmla="*/ 179 w 347"/>
                  <a:gd name="T67" fmla="*/ 104 h 276"/>
                  <a:gd name="T68" fmla="*/ 197 w 347"/>
                  <a:gd name="T69" fmla="*/ 83 h 276"/>
                  <a:gd name="T70" fmla="*/ 215 w 347"/>
                  <a:gd name="T71" fmla="*/ 93 h 276"/>
                  <a:gd name="T72" fmla="*/ 215 w 347"/>
                  <a:gd name="T73" fmla="*/ 128 h 276"/>
                  <a:gd name="T74" fmla="*/ 239 w 347"/>
                  <a:gd name="T75" fmla="*/ 112 h 276"/>
                  <a:gd name="T76" fmla="*/ 243 w 347"/>
                  <a:gd name="T77" fmla="*/ 113 h 276"/>
                  <a:gd name="T78" fmla="*/ 269 w 347"/>
                  <a:gd name="T79" fmla="*/ 109 h 276"/>
                  <a:gd name="T80" fmla="*/ 279 w 347"/>
                  <a:gd name="T81" fmla="*/ 105 h 276"/>
                  <a:gd name="T82" fmla="*/ 294 w 347"/>
                  <a:gd name="T83" fmla="*/ 90 h 276"/>
                  <a:gd name="T84" fmla="*/ 304 w 347"/>
                  <a:gd name="T85" fmla="*/ 125 h 276"/>
                  <a:gd name="T86" fmla="*/ 334 w 347"/>
                  <a:gd name="T87" fmla="*/ 118 h 276"/>
                  <a:gd name="T88" fmla="*/ 312 w 347"/>
                  <a:gd name="T89" fmla="*/ 132 h 276"/>
                  <a:gd name="T90" fmla="*/ 307 w 347"/>
                  <a:gd name="T91" fmla="*/ 158 h 276"/>
                  <a:gd name="T92" fmla="*/ 319 w 347"/>
                  <a:gd name="T93" fmla="*/ 165 h 276"/>
                  <a:gd name="T94" fmla="*/ 309 w 347"/>
                  <a:gd name="T95" fmla="*/ 179 h 276"/>
                  <a:gd name="T96" fmla="*/ 332 w 347"/>
                  <a:gd name="T97" fmla="*/ 178 h 276"/>
                  <a:gd name="T98" fmla="*/ 316 w 347"/>
                  <a:gd name="T99" fmla="*/ 206 h 276"/>
                  <a:gd name="T100" fmla="*/ 318 w 347"/>
                  <a:gd name="T101" fmla="*/ 229 h 276"/>
                  <a:gd name="T102" fmla="*/ 312 w 347"/>
                  <a:gd name="T103" fmla="*/ 234 h 276"/>
                  <a:gd name="T104" fmla="*/ 295 w 347"/>
                  <a:gd name="T105" fmla="*/ 240 h 276"/>
                  <a:gd name="T106" fmla="*/ 273 w 347"/>
                  <a:gd name="T107" fmla="*/ 254 h 276"/>
                  <a:gd name="T108" fmla="*/ 250 w 347"/>
                  <a:gd name="T109" fmla="*/ 254 h 276"/>
                  <a:gd name="T110" fmla="*/ 227 w 347"/>
                  <a:gd name="T111" fmla="*/ 257 h 276"/>
                  <a:gd name="T112" fmla="*/ 193 w 347"/>
                  <a:gd name="T113" fmla="*/ 259 h 276"/>
                  <a:gd name="T114" fmla="*/ 162 w 347"/>
                  <a:gd name="T115" fmla="*/ 260 h 276"/>
                  <a:gd name="T116" fmla="*/ 99 w 347"/>
                  <a:gd name="T117" fmla="*/ 248 h 276"/>
                  <a:gd name="T118" fmla="*/ 88 w 347"/>
                  <a:gd name="T119" fmla="*/ 219 h 276"/>
                  <a:gd name="T120" fmla="*/ 74 w 347"/>
                  <a:gd name="T121" fmla="*/ 216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47" h="276">
                    <a:moveTo>
                      <a:pt x="61" y="204"/>
                    </a:moveTo>
                    <a:cubicBezTo>
                      <a:pt x="59" y="203"/>
                      <a:pt x="23" y="186"/>
                      <a:pt x="21" y="185"/>
                    </a:cubicBezTo>
                    <a:cubicBezTo>
                      <a:pt x="19" y="183"/>
                      <a:pt x="26" y="181"/>
                      <a:pt x="28" y="178"/>
                    </a:cubicBezTo>
                    <a:cubicBezTo>
                      <a:pt x="30" y="176"/>
                      <a:pt x="28" y="167"/>
                      <a:pt x="31" y="168"/>
                    </a:cubicBezTo>
                    <a:cubicBezTo>
                      <a:pt x="35" y="170"/>
                      <a:pt x="33" y="177"/>
                      <a:pt x="35" y="181"/>
                    </a:cubicBezTo>
                    <a:cubicBezTo>
                      <a:pt x="36" y="182"/>
                      <a:pt x="37" y="178"/>
                      <a:pt x="38" y="178"/>
                    </a:cubicBezTo>
                    <a:cubicBezTo>
                      <a:pt x="43" y="177"/>
                      <a:pt x="48" y="181"/>
                      <a:pt x="52" y="180"/>
                    </a:cubicBezTo>
                    <a:cubicBezTo>
                      <a:pt x="69" y="173"/>
                      <a:pt x="46" y="167"/>
                      <a:pt x="68" y="165"/>
                    </a:cubicBezTo>
                    <a:cubicBezTo>
                      <a:pt x="72" y="165"/>
                      <a:pt x="76" y="168"/>
                      <a:pt x="80" y="168"/>
                    </a:cubicBezTo>
                    <a:cubicBezTo>
                      <a:pt x="82" y="169"/>
                      <a:pt x="75" y="164"/>
                      <a:pt x="73" y="163"/>
                    </a:cubicBezTo>
                    <a:cubicBezTo>
                      <a:pt x="72" y="163"/>
                      <a:pt x="71" y="163"/>
                      <a:pt x="69" y="163"/>
                    </a:cubicBezTo>
                    <a:cubicBezTo>
                      <a:pt x="65" y="163"/>
                      <a:pt x="60" y="164"/>
                      <a:pt x="56" y="162"/>
                    </a:cubicBezTo>
                    <a:cubicBezTo>
                      <a:pt x="54" y="160"/>
                      <a:pt x="63" y="163"/>
                      <a:pt x="65" y="161"/>
                    </a:cubicBezTo>
                    <a:cubicBezTo>
                      <a:pt x="67" y="160"/>
                      <a:pt x="61" y="159"/>
                      <a:pt x="61" y="158"/>
                    </a:cubicBezTo>
                    <a:cubicBezTo>
                      <a:pt x="61" y="155"/>
                      <a:pt x="64" y="152"/>
                      <a:pt x="67" y="151"/>
                    </a:cubicBezTo>
                    <a:cubicBezTo>
                      <a:pt x="68" y="151"/>
                      <a:pt x="71" y="152"/>
                      <a:pt x="73" y="152"/>
                    </a:cubicBezTo>
                    <a:cubicBezTo>
                      <a:pt x="77" y="152"/>
                      <a:pt x="82" y="151"/>
                      <a:pt x="85" y="148"/>
                    </a:cubicBezTo>
                    <a:cubicBezTo>
                      <a:pt x="87" y="147"/>
                      <a:pt x="81" y="148"/>
                      <a:pt x="79" y="147"/>
                    </a:cubicBezTo>
                    <a:cubicBezTo>
                      <a:pt x="77" y="146"/>
                      <a:pt x="63" y="153"/>
                      <a:pt x="59" y="152"/>
                    </a:cubicBezTo>
                    <a:cubicBezTo>
                      <a:pt x="56" y="152"/>
                      <a:pt x="61" y="146"/>
                      <a:pt x="61" y="143"/>
                    </a:cubicBezTo>
                    <a:cubicBezTo>
                      <a:pt x="61" y="140"/>
                      <a:pt x="59" y="137"/>
                      <a:pt x="60" y="134"/>
                    </a:cubicBezTo>
                    <a:cubicBezTo>
                      <a:pt x="60" y="130"/>
                      <a:pt x="67" y="128"/>
                      <a:pt x="65" y="124"/>
                    </a:cubicBezTo>
                    <a:cubicBezTo>
                      <a:pt x="65" y="122"/>
                      <a:pt x="60" y="125"/>
                      <a:pt x="58" y="124"/>
                    </a:cubicBezTo>
                    <a:cubicBezTo>
                      <a:pt x="56" y="124"/>
                      <a:pt x="56" y="119"/>
                      <a:pt x="55" y="120"/>
                    </a:cubicBezTo>
                    <a:cubicBezTo>
                      <a:pt x="54" y="121"/>
                      <a:pt x="56" y="124"/>
                      <a:pt x="55" y="123"/>
                    </a:cubicBezTo>
                    <a:cubicBezTo>
                      <a:pt x="51" y="121"/>
                      <a:pt x="46" y="113"/>
                      <a:pt x="42" y="111"/>
                    </a:cubicBezTo>
                    <a:cubicBezTo>
                      <a:pt x="42" y="109"/>
                      <a:pt x="40" y="110"/>
                      <a:pt x="39" y="110"/>
                    </a:cubicBezTo>
                    <a:cubicBezTo>
                      <a:pt x="38" y="110"/>
                      <a:pt x="37" y="112"/>
                      <a:pt x="36" y="111"/>
                    </a:cubicBezTo>
                    <a:cubicBezTo>
                      <a:pt x="35" y="111"/>
                      <a:pt x="35" y="108"/>
                      <a:pt x="34" y="107"/>
                    </a:cubicBezTo>
                    <a:cubicBezTo>
                      <a:pt x="31" y="106"/>
                      <a:pt x="0" y="106"/>
                      <a:pt x="23" y="95"/>
                    </a:cubicBezTo>
                    <a:cubicBezTo>
                      <a:pt x="29" y="92"/>
                      <a:pt x="28" y="98"/>
                      <a:pt x="34" y="102"/>
                    </a:cubicBezTo>
                    <a:cubicBezTo>
                      <a:pt x="39" y="104"/>
                      <a:pt x="47" y="97"/>
                      <a:pt x="52" y="100"/>
                    </a:cubicBezTo>
                    <a:cubicBezTo>
                      <a:pt x="54" y="101"/>
                      <a:pt x="48" y="105"/>
                      <a:pt x="50" y="107"/>
                    </a:cubicBezTo>
                    <a:cubicBezTo>
                      <a:pt x="52" y="109"/>
                      <a:pt x="53" y="104"/>
                      <a:pt x="55" y="103"/>
                    </a:cubicBezTo>
                    <a:cubicBezTo>
                      <a:pt x="59" y="102"/>
                      <a:pt x="64" y="100"/>
                      <a:pt x="67" y="102"/>
                    </a:cubicBezTo>
                    <a:cubicBezTo>
                      <a:pt x="69" y="104"/>
                      <a:pt x="66" y="109"/>
                      <a:pt x="67" y="112"/>
                    </a:cubicBezTo>
                    <a:cubicBezTo>
                      <a:pt x="67" y="113"/>
                      <a:pt x="67" y="109"/>
                      <a:pt x="67" y="108"/>
                    </a:cubicBezTo>
                    <a:cubicBezTo>
                      <a:pt x="70" y="105"/>
                      <a:pt x="112" y="133"/>
                      <a:pt x="98" y="108"/>
                    </a:cubicBezTo>
                    <a:cubicBezTo>
                      <a:pt x="95" y="105"/>
                      <a:pt x="90" y="111"/>
                      <a:pt x="85" y="111"/>
                    </a:cubicBezTo>
                    <a:cubicBezTo>
                      <a:pt x="80" y="110"/>
                      <a:pt x="76" y="104"/>
                      <a:pt x="74" y="99"/>
                    </a:cubicBezTo>
                    <a:cubicBezTo>
                      <a:pt x="74" y="99"/>
                      <a:pt x="74" y="99"/>
                      <a:pt x="75" y="98"/>
                    </a:cubicBezTo>
                    <a:cubicBezTo>
                      <a:pt x="81" y="94"/>
                      <a:pt x="91" y="92"/>
                      <a:pt x="98" y="92"/>
                    </a:cubicBezTo>
                    <a:cubicBezTo>
                      <a:pt x="102" y="92"/>
                      <a:pt x="106" y="95"/>
                      <a:pt x="108" y="92"/>
                    </a:cubicBezTo>
                    <a:cubicBezTo>
                      <a:pt x="112" y="89"/>
                      <a:pt x="91" y="90"/>
                      <a:pt x="91" y="84"/>
                    </a:cubicBezTo>
                    <a:cubicBezTo>
                      <a:pt x="92" y="80"/>
                      <a:pt x="103" y="82"/>
                      <a:pt x="103" y="77"/>
                    </a:cubicBezTo>
                    <a:cubicBezTo>
                      <a:pt x="102" y="51"/>
                      <a:pt x="83" y="80"/>
                      <a:pt x="82" y="75"/>
                    </a:cubicBezTo>
                    <a:cubicBezTo>
                      <a:pt x="81" y="72"/>
                      <a:pt x="84" y="68"/>
                      <a:pt x="83" y="65"/>
                    </a:cubicBezTo>
                    <a:cubicBezTo>
                      <a:pt x="82" y="64"/>
                      <a:pt x="81" y="68"/>
                      <a:pt x="80" y="68"/>
                    </a:cubicBezTo>
                    <a:cubicBezTo>
                      <a:pt x="78" y="68"/>
                      <a:pt x="81" y="65"/>
                      <a:pt x="80" y="65"/>
                    </a:cubicBezTo>
                    <a:cubicBezTo>
                      <a:pt x="76" y="66"/>
                      <a:pt x="76" y="73"/>
                      <a:pt x="73" y="65"/>
                    </a:cubicBezTo>
                    <a:cubicBezTo>
                      <a:pt x="72" y="65"/>
                      <a:pt x="73" y="62"/>
                      <a:pt x="73" y="62"/>
                    </a:cubicBezTo>
                    <a:cubicBezTo>
                      <a:pt x="71" y="64"/>
                      <a:pt x="71" y="68"/>
                      <a:pt x="68" y="69"/>
                    </a:cubicBezTo>
                    <a:cubicBezTo>
                      <a:pt x="66" y="69"/>
                      <a:pt x="67" y="65"/>
                      <a:pt x="65" y="64"/>
                    </a:cubicBezTo>
                    <a:cubicBezTo>
                      <a:pt x="61" y="63"/>
                      <a:pt x="46" y="71"/>
                      <a:pt x="45" y="62"/>
                    </a:cubicBezTo>
                    <a:cubicBezTo>
                      <a:pt x="45" y="60"/>
                      <a:pt x="48" y="60"/>
                      <a:pt x="48" y="59"/>
                    </a:cubicBezTo>
                    <a:cubicBezTo>
                      <a:pt x="46" y="53"/>
                      <a:pt x="33" y="54"/>
                      <a:pt x="34" y="48"/>
                    </a:cubicBezTo>
                    <a:cubicBezTo>
                      <a:pt x="38" y="25"/>
                      <a:pt x="52" y="59"/>
                      <a:pt x="55" y="57"/>
                    </a:cubicBezTo>
                    <a:cubicBezTo>
                      <a:pt x="63" y="52"/>
                      <a:pt x="46" y="35"/>
                      <a:pt x="57" y="35"/>
                    </a:cubicBezTo>
                    <a:cubicBezTo>
                      <a:pt x="67" y="35"/>
                      <a:pt x="60" y="73"/>
                      <a:pt x="73" y="56"/>
                    </a:cubicBezTo>
                    <a:cubicBezTo>
                      <a:pt x="75" y="53"/>
                      <a:pt x="67" y="51"/>
                      <a:pt x="69" y="49"/>
                    </a:cubicBezTo>
                    <a:cubicBezTo>
                      <a:pt x="71" y="46"/>
                      <a:pt x="77" y="52"/>
                      <a:pt x="80" y="49"/>
                    </a:cubicBezTo>
                    <a:cubicBezTo>
                      <a:pt x="82" y="47"/>
                      <a:pt x="73" y="49"/>
                      <a:pt x="71" y="47"/>
                    </a:cubicBezTo>
                    <a:cubicBezTo>
                      <a:pt x="67" y="44"/>
                      <a:pt x="66" y="39"/>
                      <a:pt x="65" y="34"/>
                    </a:cubicBezTo>
                    <a:cubicBezTo>
                      <a:pt x="63" y="15"/>
                      <a:pt x="76" y="52"/>
                      <a:pt x="81" y="46"/>
                    </a:cubicBezTo>
                    <a:cubicBezTo>
                      <a:pt x="83" y="44"/>
                      <a:pt x="64" y="29"/>
                      <a:pt x="72" y="25"/>
                    </a:cubicBezTo>
                    <a:cubicBezTo>
                      <a:pt x="76" y="23"/>
                      <a:pt x="79" y="34"/>
                      <a:pt x="83" y="32"/>
                    </a:cubicBezTo>
                    <a:cubicBezTo>
                      <a:pt x="85" y="31"/>
                      <a:pt x="72" y="13"/>
                      <a:pt x="89" y="18"/>
                    </a:cubicBezTo>
                    <a:cubicBezTo>
                      <a:pt x="102" y="23"/>
                      <a:pt x="87" y="47"/>
                      <a:pt x="102" y="57"/>
                    </a:cubicBezTo>
                    <a:cubicBezTo>
                      <a:pt x="102" y="57"/>
                      <a:pt x="112" y="53"/>
                      <a:pt x="112" y="42"/>
                    </a:cubicBezTo>
                    <a:cubicBezTo>
                      <a:pt x="112" y="39"/>
                      <a:pt x="109" y="40"/>
                      <a:pt x="108" y="39"/>
                    </a:cubicBezTo>
                    <a:cubicBezTo>
                      <a:pt x="106" y="37"/>
                      <a:pt x="100" y="26"/>
                      <a:pt x="102" y="23"/>
                    </a:cubicBezTo>
                    <a:cubicBezTo>
                      <a:pt x="106" y="18"/>
                      <a:pt x="114" y="27"/>
                      <a:pt x="120" y="30"/>
                    </a:cubicBezTo>
                    <a:cubicBezTo>
                      <a:pt x="121" y="30"/>
                      <a:pt x="115" y="29"/>
                      <a:pt x="115" y="27"/>
                    </a:cubicBezTo>
                    <a:cubicBezTo>
                      <a:pt x="114" y="25"/>
                      <a:pt x="117" y="26"/>
                      <a:pt x="119" y="25"/>
                    </a:cubicBezTo>
                    <a:cubicBezTo>
                      <a:pt x="119" y="25"/>
                      <a:pt x="119" y="23"/>
                      <a:pt x="119" y="23"/>
                    </a:cubicBezTo>
                    <a:cubicBezTo>
                      <a:pt x="111" y="24"/>
                      <a:pt x="112" y="35"/>
                      <a:pt x="103" y="17"/>
                    </a:cubicBezTo>
                    <a:cubicBezTo>
                      <a:pt x="96" y="0"/>
                      <a:pt x="112" y="13"/>
                      <a:pt x="112" y="13"/>
                    </a:cubicBezTo>
                    <a:cubicBezTo>
                      <a:pt x="112" y="13"/>
                      <a:pt x="113" y="12"/>
                      <a:pt x="113" y="12"/>
                    </a:cubicBezTo>
                    <a:cubicBezTo>
                      <a:pt x="113" y="10"/>
                      <a:pt x="112" y="8"/>
                      <a:pt x="113" y="9"/>
                    </a:cubicBezTo>
                    <a:cubicBezTo>
                      <a:pt x="115" y="10"/>
                      <a:pt x="115" y="14"/>
                      <a:pt x="117" y="16"/>
                    </a:cubicBezTo>
                    <a:cubicBezTo>
                      <a:pt x="119" y="17"/>
                      <a:pt x="123" y="17"/>
                      <a:pt x="125" y="18"/>
                    </a:cubicBezTo>
                    <a:cubicBezTo>
                      <a:pt x="131" y="23"/>
                      <a:pt x="123" y="29"/>
                      <a:pt x="123" y="31"/>
                    </a:cubicBezTo>
                    <a:cubicBezTo>
                      <a:pt x="123" y="32"/>
                      <a:pt x="126" y="31"/>
                      <a:pt x="127" y="32"/>
                    </a:cubicBezTo>
                    <a:cubicBezTo>
                      <a:pt x="128" y="32"/>
                      <a:pt x="132" y="36"/>
                      <a:pt x="131" y="38"/>
                    </a:cubicBezTo>
                    <a:cubicBezTo>
                      <a:pt x="129" y="39"/>
                      <a:pt x="127" y="38"/>
                      <a:pt x="127" y="39"/>
                    </a:cubicBezTo>
                    <a:cubicBezTo>
                      <a:pt x="128" y="42"/>
                      <a:pt x="133" y="41"/>
                      <a:pt x="133" y="44"/>
                    </a:cubicBezTo>
                    <a:cubicBezTo>
                      <a:pt x="133" y="48"/>
                      <a:pt x="128" y="52"/>
                      <a:pt x="129" y="56"/>
                    </a:cubicBezTo>
                    <a:cubicBezTo>
                      <a:pt x="130" y="59"/>
                      <a:pt x="138" y="57"/>
                      <a:pt x="138" y="60"/>
                    </a:cubicBezTo>
                    <a:cubicBezTo>
                      <a:pt x="138" y="64"/>
                      <a:pt x="129" y="58"/>
                      <a:pt x="128" y="61"/>
                    </a:cubicBezTo>
                    <a:cubicBezTo>
                      <a:pt x="128" y="64"/>
                      <a:pt x="154" y="75"/>
                      <a:pt x="128" y="79"/>
                    </a:cubicBezTo>
                    <a:cubicBezTo>
                      <a:pt x="123" y="80"/>
                      <a:pt x="121" y="72"/>
                      <a:pt x="117" y="70"/>
                    </a:cubicBezTo>
                    <a:cubicBezTo>
                      <a:pt x="115" y="70"/>
                      <a:pt x="117" y="74"/>
                      <a:pt x="119" y="76"/>
                    </a:cubicBezTo>
                    <a:cubicBezTo>
                      <a:pt x="120" y="80"/>
                      <a:pt x="125" y="84"/>
                      <a:pt x="124" y="88"/>
                    </a:cubicBezTo>
                    <a:cubicBezTo>
                      <a:pt x="123" y="92"/>
                      <a:pt x="114" y="92"/>
                      <a:pt x="114" y="97"/>
                    </a:cubicBezTo>
                    <a:cubicBezTo>
                      <a:pt x="112" y="100"/>
                      <a:pt x="120" y="98"/>
                      <a:pt x="121" y="101"/>
                    </a:cubicBezTo>
                    <a:cubicBezTo>
                      <a:pt x="122" y="104"/>
                      <a:pt x="117" y="107"/>
                      <a:pt x="116" y="109"/>
                    </a:cubicBezTo>
                    <a:cubicBezTo>
                      <a:pt x="115" y="113"/>
                      <a:pt x="111" y="120"/>
                      <a:pt x="115" y="120"/>
                    </a:cubicBezTo>
                    <a:cubicBezTo>
                      <a:pt x="127" y="122"/>
                      <a:pt x="126" y="99"/>
                      <a:pt x="133" y="95"/>
                    </a:cubicBezTo>
                    <a:cubicBezTo>
                      <a:pt x="157" y="82"/>
                      <a:pt x="141" y="98"/>
                      <a:pt x="140" y="100"/>
                    </a:cubicBezTo>
                    <a:cubicBezTo>
                      <a:pt x="137" y="115"/>
                      <a:pt x="154" y="99"/>
                      <a:pt x="155" y="98"/>
                    </a:cubicBezTo>
                    <a:cubicBezTo>
                      <a:pt x="162" y="90"/>
                      <a:pt x="159" y="68"/>
                      <a:pt x="165" y="68"/>
                    </a:cubicBezTo>
                    <a:cubicBezTo>
                      <a:pt x="185" y="70"/>
                      <a:pt x="167" y="95"/>
                      <a:pt x="179" y="104"/>
                    </a:cubicBezTo>
                    <a:cubicBezTo>
                      <a:pt x="188" y="112"/>
                      <a:pt x="183" y="94"/>
                      <a:pt x="185" y="89"/>
                    </a:cubicBezTo>
                    <a:cubicBezTo>
                      <a:pt x="185" y="86"/>
                      <a:pt x="188" y="83"/>
                      <a:pt x="190" y="82"/>
                    </a:cubicBezTo>
                    <a:cubicBezTo>
                      <a:pt x="192" y="81"/>
                      <a:pt x="194" y="82"/>
                      <a:pt x="197" y="83"/>
                    </a:cubicBezTo>
                    <a:cubicBezTo>
                      <a:pt x="197" y="84"/>
                      <a:pt x="197" y="86"/>
                      <a:pt x="198" y="86"/>
                    </a:cubicBezTo>
                    <a:cubicBezTo>
                      <a:pt x="202" y="85"/>
                      <a:pt x="207" y="78"/>
                      <a:pt x="211" y="81"/>
                    </a:cubicBezTo>
                    <a:cubicBezTo>
                      <a:pt x="215" y="82"/>
                      <a:pt x="214" y="89"/>
                      <a:pt x="215" y="93"/>
                    </a:cubicBezTo>
                    <a:cubicBezTo>
                      <a:pt x="215" y="96"/>
                      <a:pt x="211" y="98"/>
                      <a:pt x="212" y="100"/>
                    </a:cubicBezTo>
                    <a:cubicBezTo>
                      <a:pt x="215" y="115"/>
                      <a:pt x="222" y="90"/>
                      <a:pt x="218" y="111"/>
                    </a:cubicBezTo>
                    <a:cubicBezTo>
                      <a:pt x="216" y="123"/>
                      <a:pt x="212" y="117"/>
                      <a:pt x="215" y="128"/>
                    </a:cubicBezTo>
                    <a:cubicBezTo>
                      <a:pt x="219" y="147"/>
                      <a:pt x="219" y="91"/>
                      <a:pt x="225" y="90"/>
                    </a:cubicBezTo>
                    <a:cubicBezTo>
                      <a:pt x="240" y="86"/>
                      <a:pt x="236" y="110"/>
                      <a:pt x="237" y="116"/>
                    </a:cubicBezTo>
                    <a:cubicBezTo>
                      <a:pt x="237" y="117"/>
                      <a:pt x="237" y="113"/>
                      <a:pt x="239" y="112"/>
                    </a:cubicBezTo>
                    <a:cubicBezTo>
                      <a:pt x="239" y="112"/>
                      <a:pt x="241" y="112"/>
                      <a:pt x="241" y="112"/>
                    </a:cubicBezTo>
                    <a:cubicBezTo>
                      <a:pt x="237" y="104"/>
                      <a:pt x="242" y="115"/>
                      <a:pt x="242" y="115"/>
                    </a:cubicBezTo>
                    <a:cubicBezTo>
                      <a:pt x="243" y="115"/>
                      <a:pt x="243" y="113"/>
                      <a:pt x="243" y="113"/>
                    </a:cubicBezTo>
                    <a:cubicBezTo>
                      <a:pt x="246" y="108"/>
                      <a:pt x="252" y="100"/>
                      <a:pt x="258" y="100"/>
                    </a:cubicBezTo>
                    <a:cubicBezTo>
                      <a:pt x="264" y="99"/>
                      <a:pt x="263" y="112"/>
                      <a:pt x="269" y="116"/>
                    </a:cubicBezTo>
                    <a:cubicBezTo>
                      <a:pt x="271" y="117"/>
                      <a:pt x="267" y="111"/>
                      <a:pt x="269" y="109"/>
                    </a:cubicBezTo>
                    <a:cubicBezTo>
                      <a:pt x="273" y="105"/>
                      <a:pt x="275" y="114"/>
                      <a:pt x="275" y="114"/>
                    </a:cubicBezTo>
                    <a:cubicBezTo>
                      <a:pt x="275" y="115"/>
                      <a:pt x="274" y="111"/>
                      <a:pt x="275" y="110"/>
                    </a:cubicBezTo>
                    <a:cubicBezTo>
                      <a:pt x="276" y="108"/>
                      <a:pt x="279" y="107"/>
                      <a:pt x="279" y="105"/>
                    </a:cubicBezTo>
                    <a:cubicBezTo>
                      <a:pt x="280" y="103"/>
                      <a:pt x="279" y="100"/>
                      <a:pt x="279" y="97"/>
                    </a:cubicBezTo>
                    <a:cubicBezTo>
                      <a:pt x="280" y="94"/>
                      <a:pt x="279" y="89"/>
                      <a:pt x="282" y="87"/>
                    </a:cubicBezTo>
                    <a:cubicBezTo>
                      <a:pt x="286" y="86"/>
                      <a:pt x="290" y="89"/>
                      <a:pt x="294" y="90"/>
                    </a:cubicBezTo>
                    <a:cubicBezTo>
                      <a:pt x="304" y="92"/>
                      <a:pt x="296" y="96"/>
                      <a:pt x="297" y="100"/>
                    </a:cubicBezTo>
                    <a:cubicBezTo>
                      <a:pt x="298" y="103"/>
                      <a:pt x="301" y="102"/>
                      <a:pt x="303" y="104"/>
                    </a:cubicBezTo>
                    <a:cubicBezTo>
                      <a:pt x="306" y="112"/>
                      <a:pt x="286" y="115"/>
                      <a:pt x="304" y="125"/>
                    </a:cubicBezTo>
                    <a:cubicBezTo>
                      <a:pt x="306" y="126"/>
                      <a:pt x="306" y="120"/>
                      <a:pt x="309" y="119"/>
                    </a:cubicBezTo>
                    <a:cubicBezTo>
                      <a:pt x="311" y="117"/>
                      <a:pt x="314" y="120"/>
                      <a:pt x="316" y="119"/>
                    </a:cubicBezTo>
                    <a:cubicBezTo>
                      <a:pt x="321" y="117"/>
                      <a:pt x="327" y="104"/>
                      <a:pt x="334" y="118"/>
                    </a:cubicBezTo>
                    <a:cubicBezTo>
                      <a:pt x="335" y="120"/>
                      <a:pt x="329" y="119"/>
                      <a:pt x="326" y="120"/>
                    </a:cubicBezTo>
                    <a:cubicBezTo>
                      <a:pt x="318" y="121"/>
                      <a:pt x="314" y="120"/>
                      <a:pt x="309" y="129"/>
                    </a:cubicBezTo>
                    <a:cubicBezTo>
                      <a:pt x="308" y="130"/>
                      <a:pt x="312" y="130"/>
                      <a:pt x="312" y="132"/>
                    </a:cubicBezTo>
                    <a:cubicBezTo>
                      <a:pt x="312" y="133"/>
                      <a:pt x="309" y="134"/>
                      <a:pt x="310" y="135"/>
                    </a:cubicBezTo>
                    <a:cubicBezTo>
                      <a:pt x="313" y="137"/>
                      <a:pt x="318" y="135"/>
                      <a:pt x="321" y="138"/>
                    </a:cubicBezTo>
                    <a:cubicBezTo>
                      <a:pt x="330" y="145"/>
                      <a:pt x="308" y="157"/>
                      <a:pt x="307" y="158"/>
                    </a:cubicBezTo>
                    <a:cubicBezTo>
                      <a:pt x="306" y="159"/>
                      <a:pt x="309" y="156"/>
                      <a:pt x="311" y="157"/>
                    </a:cubicBezTo>
                    <a:cubicBezTo>
                      <a:pt x="315" y="158"/>
                      <a:pt x="319" y="161"/>
                      <a:pt x="322" y="164"/>
                    </a:cubicBezTo>
                    <a:cubicBezTo>
                      <a:pt x="323" y="164"/>
                      <a:pt x="319" y="164"/>
                      <a:pt x="319" y="165"/>
                    </a:cubicBezTo>
                    <a:cubicBezTo>
                      <a:pt x="319" y="167"/>
                      <a:pt x="322" y="169"/>
                      <a:pt x="322" y="171"/>
                    </a:cubicBezTo>
                    <a:cubicBezTo>
                      <a:pt x="322" y="172"/>
                      <a:pt x="320" y="170"/>
                      <a:pt x="319" y="171"/>
                    </a:cubicBezTo>
                    <a:cubicBezTo>
                      <a:pt x="316" y="173"/>
                      <a:pt x="305" y="177"/>
                      <a:pt x="309" y="179"/>
                    </a:cubicBezTo>
                    <a:cubicBezTo>
                      <a:pt x="314" y="181"/>
                      <a:pt x="318" y="168"/>
                      <a:pt x="322" y="172"/>
                    </a:cubicBezTo>
                    <a:cubicBezTo>
                      <a:pt x="324" y="174"/>
                      <a:pt x="326" y="176"/>
                      <a:pt x="328" y="178"/>
                    </a:cubicBezTo>
                    <a:cubicBezTo>
                      <a:pt x="329" y="179"/>
                      <a:pt x="331" y="177"/>
                      <a:pt x="332" y="178"/>
                    </a:cubicBezTo>
                    <a:cubicBezTo>
                      <a:pt x="335" y="184"/>
                      <a:pt x="338" y="193"/>
                      <a:pt x="331" y="198"/>
                    </a:cubicBezTo>
                    <a:cubicBezTo>
                      <a:pt x="327" y="200"/>
                      <a:pt x="322" y="199"/>
                      <a:pt x="319" y="201"/>
                    </a:cubicBezTo>
                    <a:cubicBezTo>
                      <a:pt x="317" y="202"/>
                      <a:pt x="315" y="205"/>
                      <a:pt x="316" y="206"/>
                    </a:cubicBezTo>
                    <a:cubicBezTo>
                      <a:pt x="318" y="207"/>
                      <a:pt x="347" y="211"/>
                      <a:pt x="324" y="224"/>
                    </a:cubicBezTo>
                    <a:cubicBezTo>
                      <a:pt x="319" y="227"/>
                      <a:pt x="306" y="215"/>
                      <a:pt x="306" y="215"/>
                    </a:cubicBezTo>
                    <a:cubicBezTo>
                      <a:pt x="302" y="210"/>
                      <a:pt x="324" y="224"/>
                      <a:pt x="318" y="229"/>
                    </a:cubicBezTo>
                    <a:cubicBezTo>
                      <a:pt x="316" y="231"/>
                      <a:pt x="311" y="223"/>
                      <a:pt x="308" y="225"/>
                    </a:cubicBezTo>
                    <a:cubicBezTo>
                      <a:pt x="306" y="227"/>
                      <a:pt x="314" y="229"/>
                      <a:pt x="315" y="232"/>
                    </a:cubicBezTo>
                    <a:cubicBezTo>
                      <a:pt x="316" y="233"/>
                      <a:pt x="313" y="234"/>
                      <a:pt x="312" y="234"/>
                    </a:cubicBezTo>
                    <a:cubicBezTo>
                      <a:pt x="306" y="237"/>
                      <a:pt x="300" y="243"/>
                      <a:pt x="296" y="239"/>
                    </a:cubicBezTo>
                    <a:cubicBezTo>
                      <a:pt x="293" y="236"/>
                      <a:pt x="293" y="225"/>
                      <a:pt x="291" y="228"/>
                    </a:cubicBezTo>
                    <a:cubicBezTo>
                      <a:pt x="288" y="231"/>
                      <a:pt x="297" y="236"/>
                      <a:pt x="295" y="240"/>
                    </a:cubicBezTo>
                    <a:cubicBezTo>
                      <a:pt x="293" y="244"/>
                      <a:pt x="286" y="240"/>
                      <a:pt x="283" y="242"/>
                    </a:cubicBezTo>
                    <a:cubicBezTo>
                      <a:pt x="279" y="245"/>
                      <a:pt x="282" y="252"/>
                      <a:pt x="279" y="255"/>
                    </a:cubicBezTo>
                    <a:cubicBezTo>
                      <a:pt x="278" y="257"/>
                      <a:pt x="274" y="254"/>
                      <a:pt x="273" y="254"/>
                    </a:cubicBezTo>
                    <a:cubicBezTo>
                      <a:pt x="269" y="255"/>
                      <a:pt x="266" y="261"/>
                      <a:pt x="262" y="261"/>
                    </a:cubicBezTo>
                    <a:cubicBezTo>
                      <a:pt x="259" y="262"/>
                      <a:pt x="261" y="247"/>
                      <a:pt x="252" y="245"/>
                    </a:cubicBezTo>
                    <a:cubicBezTo>
                      <a:pt x="249" y="244"/>
                      <a:pt x="252" y="251"/>
                      <a:pt x="250" y="254"/>
                    </a:cubicBezTo>
                    <a:cubicBezTo>
                      <a:pt x="250" y="255"/>
                      <a:pt x="248" y="253"/>
                      <a:pt x="247" y="254"/>
                    </a:cubicBezTo>
                    <a:cubicBezTo>
                      <a:pt x="246" y="254"/>
                      <a:pt x="249" y="255"/>
                      <a:pt x="248" y="255"/>
                    </a:cubicBezTo>
                    <a:cubicBezTo>
                      <a:pt x="233" y="258"/>
                      <a:pt x="241" y="254"/>
                      <a:pt x="227" y="257"/>
                    </a:cubicBezTo>
                    <a:cubicBezTo>
                      <a:pt x="220" y="258"/>
                      <a:pt x="214" y="264"/>
                      <a:pt x="206" y="267"/>
                    </a:cubicBezTo>
                    <a:cubicBezTo>
                      <a:pt x="205" y="267"/>
                      <a:pt x="203" y="268"/>
                      <a:pt x="202" y="267"/>
                    </a:cubicBezTo>
                    <a:cubicBezTo>
                      <a:pt x="198" y="266"/>
                      <a:pt x="197" y="259"/>
                      <a:pt x="193" y="259"/>
                    </a:cubicBezTo>
                    <a:cubicBezTo>
                      <a:pt x="189" y="260"/>
                      <a:pt x="190" y="267"/>
                      <a:pt x="188" y="268"/>
                    </a:cubicBezTo>
                    <a:cubicBezTo>
                      <a:pt x="185" y="269"/>
                      <a:pt x="185" y="264"/>
                      <a:pt x="183" y="263"/>
                    </a:cubicBezTo>
                    <a:cubicBezTo>
                      <a:pt x="179" y="262"/>
                      <a:pt x="167" y="262"/>
                      <a:pt x="162" y="260"/>
                    </a:cubicBezTo>
                    <a:cubicBezTo>
                      <a:pt x="154" y="258"/>
                      <a:pt x="154" y="271"/>
                      <a:pt x="152" y="273"/>
                    </a:cubicBezTo>
                    <a:cubicBezTo>
                      <a:pt x="148" y="276"/>
                      <a:pt x="127" y="274"/>
                      <a:pt x="123" y="272"/>
                    </a:cubicBezTo>
                    <a:cubicBezTo>
                      <a:pt x="113" y="269"/>
                      <a:pt x="104" y="253"/>
                      <a:pt x="99" y="248"/>
                    </a:cubicBezTo>
                    <a:cubicBezTo>
                      <a:pt x="92" y="241"/>
                      <a:pt x="86" y="246"/>
                      <a:pt x="82" y="235"/>
                    </a:cubicBezTo>
                    <a:cubicBezTo>
                      <a:pt x="81" y="232"/>
                      <a:pt x="78" y="229"/>
                      <a:pt x="80" y="226"/>
                    </a:cubicBezTo>
                    <a:cubicBezTo>
                      <a:pt x="81" y="222"/>
                      <a:pt x="91" y="220"/>
                      <a:pt x="88" y="219"/>
                    </a:cubicBezTo>
                    <a:cubicBezTo>
                      <a:pt x="85" y="217"/>
                      <a:pt x="82" y="228"/>
                      <a:pt x="79" y="225"/>
                    </a:cubicBezTo>
                    <a:cubicBezTo>
                      <a:pt x="76" y="223"/>
                      <a:pt x="83" y="216"/>
                      <a:pt x="81" y="212"/>
                    </a:cubicBezTo>
                    <a:cubicBezTo>
                      <a:pt x="80" y="210"/>
                      <a:pt x="77" y="218"/>
                      <a:pt x="74" y="216"/>
                    </a:cubicBezTo>
                    <a:cubicBezTo>
                      <a:pt x="71" y="214"/>
                      <a:pt x="71" y="208"/>
                      <a:pt x="67" y="206"/>
                    </a:cubicBezTo>
                    <a:cubicBezTo>
                      <a:pt x="65" y="204"/>
                      <a:pt x="63" y="205"/>
                      <a:pt x="61" y="204"/>
                    </a:cubicBezTo>
                    <a:close/>
                  </a:path>
                </a:pathLst>
              </a:custGeom>
              <a:solidFill>
                <a:srgbClr val="C2CEE6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100" name="Portugal" descr="{&quot;Key&quot;:&quot;portugal&quot;,&quot;Name&quot;:&quot;Portugal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1022155C-6A2B-EE27-59AE-F3E4FFA040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8584" y="5516246"/>
                <a:ext cx="390977" cy="684941"/>
              </a:xfrm>
              <a:custGeom>
                <a:avLst/>
                <a:gdLst>
                  <a:gd name="T0" fmla="*/ 110 w 234"/>
                  <a:gd name="T1" fmla="*/ 327 h 381"/>
                  <a:gd name="T2" fmla="*/ 138 w 234"/>
                  <a:gd name="T3" fmla="*/ 304 h 381"/>
                  <a:gd name="T4" fmla="*/ 125 w 234"/>
                  <a:gd name="T5" fmla="*/ 294 h 381"/>
                  <a:gd name="T6" fmla="*/ 117 w 234"/>
                  <a:gd name="T7" fmla="*/ 282 h 381"/>
                  <a:gd name="T8" fmla="*/ 128 w 234"/>
                  <a:gd name="T9" fmla="*/ 262 h 381"/>
                  <a:gd name="T10" fmla="*/ 136 w 234"/>
                  <a:gd name="T11" fmla="*/ 229 h 381"/>
                  <a:gd name="T12" fmla="*/ 127 w 234"/>
                  <a:gd name="T13" fmla="*/ 190 h 381"/>
                  <a:gd name="T14" fmla="*/ 143 w 234"/>
                  <a:gd name="T15" fmla="*/ 194 h 381"/>
                  <a:gd name="T16" fmla="*/ 164 w 234"/>
                  <a:gd name="T17" fmla="*/ 163 h 381"/>
                  <a:gd name="T18" fmla="*/ 178 w 234"/>
                  <a:gd name="T19" fmla="*/ 142 h 381"/>
                  <a:gd name="T20" fmla="*/ 183 w 234"/>
                  <a:gd name="T21" fmla="*/ 127 h 381"/>
                  <a:gd name="T22" fmla="*/ 182 w 234"/>
                  <a:gd name="T23" fmla="*/ 100 h 381"/>
                  <a:gd name="T24" fmla="*/ 202 w 234"/>
                  <a:gd name="T25" fmla="*/ 88 h 381"/>
                  <a:gd name="T26" fmla="*/ 215 w 234"/>
                  <a:gd name="T27" fmla="*/ 60 h 381"/>
                  <a:gd name="T28" fmla="*/ 189 w 234"/>
                  <a:gd name="T29" fmla="*/ 31 h 381"/>
                  <a:gd name="T30" fmla="*/ 182 w 234"/>
                  <a:gd name="T31" fmla="*/ 33 h 381"/>
                  <a:gd name="T32" fmla="*/ 157 w 234"/>
                  <a:gd name="T33" fmla="*/ 32 h 381"/>
                  <a:gd name="T34" fmla="*/ 153 w 234"/>
                  <a:gd name="T35" fmla="*/ 26 h 381"/>
                  <a:gd name="T36" fmla="*/ 143 w 234"/>
                  <a:gd name="T37" fmla="*/ 23 h 381"/>
                  <a:gd name="T38" fmla="*/ 129 w 234"/>
                  <a:gd name="T39" fmla="*/ 26 h 381"/>
                  <a:gd name="T40" fmla="*/ 130 w 234"/>
                  <a:gd name="T41" fmla="*/ 6 h 381"/>
                  <a:gd name="T42" fmla="*/ 99 w 234"/>
                  <a:gd name="T43" fmla="*/ 8 h 381"/>
                  <a:gd name="T44" fmla="*/ 97 w 234"/>
                  <a:gd name="T45" fmla="*/ 27 h 381"/>
                  <a:gd name="T46" fmla="*/ 87 w 234"/>
                  <a:gd name="T47" fmla="*/ 64 h 381"/>
                  <a:gd name="T48" fmla="*/ 82 w 234"/>
                  <a:gd name="T49" fmla="*/ 92 h 381"/>
                  <a:gd name="T50" fmla="*/ 84 w 234"/>
                  <a:gd name="T51" fmla="*/ 91 h 381"/>
                  <a:gd name="T52" fmla="*/ 74 w 234"/>
                  <a:gd name="T53" fmla="*/ 105 h 381"/>
                  <a:gd name="T54" fmla="*/ 59 w 234"/>
                  <a:gd name="T55" fmla="*/ 134 h 381"/>
                  <a:gd name="T56" fmla="*/ 61 w 234"/>
                  <a:gd name="T57" fmla="*/ 139 h 381"/>
                  <a:gd name="T58" fmla="*/ 36 w 234"/>
                  <a:gd name="T59" fmla="*/ 177 h 381"/>
                  <a:gd name="T60" fmla="*/ 30 w 234"/>
                  <a:gd name="T61" fmla="*/ 185 h 381"/>
                  <a:gd name="T62" fmla="*/ 18 w 234"/>
                  <a:gd name="T63" fmla="*/ 196 h 381"/>
                  <a:gd name="T64" fmla="*/ 8 w 234"/>
                  <a:gd name="T65" fmla="*/ 242 h 381"/>
                  <a:gd name="T66" fmla="*/ 25 w 234"/>
                  <a:gd name="T67" fmla="*/ 256 h 381"/>
                  <a:gd name="T68" fmla="*/ 37 w 234"/>
                  <a:gd name="T69" fmla="*/ 258 h 381"/>
                  <a:gd name="T70" fmla="*/ 40 w 234"/>
                  <a:gd name="T71" fmla="*/ 262 h 381"/>
                  <a:gd name="T72" fmla="*/ 28 w 234"/>
                  <a:gd name="T73" fmla="*/ 256 h 381"/>
                  <a:gd name="T74" fmla="*/ 33 w 234"/>
                  <a:gd name="T75" fmla="*/ 275 h 381"/>
                  <a:gd name="T76" fmla="*/ 26 w 234"/>
                  <a:gd name="T77" fmla="*/ 301 h 381"/>
                  <a:gd name="T78" fmla="*/ 28 w 234"/>
                  <a:gd name="T79" fmla="*/ 313 h 381"/>
                  <a:gd name="T80" fmla="*/ 18 w 234"/>
                  <a:gd name="T81" fmla="*/ 333 h 381"/>
                  <a:gd name="T82" fmla="*/ 10 w 234"/>
                  <a:gd name="T83" fmla="*/ 361 h 381"/>
                  <a:gd name="T84" fmla="*/ 26 w 234"/>
                  <a:gd name="T85" fmla="*/ 359 h 381"/>
                  <a:gd name="T86" fmla="*/ 88 w 234"/>
                  <a:gd name="T87" fmla="*/ 371 h 3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34" h="381">
                    <a:moveTo>
                      <a:pt x="96" y="371"/>
                    </a:moveTo>
                    <a:cubicBezTo>
                      <a:pt x="97" y="348"/>
                      <a:pt x="91" y="344"/>
                      <a:pt x="110" y="327"/>
                    </a:cubicBezTo>
                    <a:cubicBezTo>
                      <a:pt x="113" y="324"/>
                      <a:pt x="113" y="318"/>
                      <a:pt x="116" y="316"/>
                    </a:cubicBezTo>
                    <a:cubicBezTo>
                      <a:pt x="117" y="316"/>
                      <a:pt x="145" y="315"/>
                      <a:pt x="138" y="304"/>
                    </a:cubicBezTo>
                    <a:cubicBezTo>
                      <a:pt x="137" y="301"/>
                      <a:pt x="131" y="306"/>
                      <a:pt x="128" y="304"/>
                    </a:cubicBezTo>
                    <a:cubicBezTo>
                      <a:pt x="125" y="302"/>
                      <a:pt x="126" y="297"/>
                      <a:pt x="125" y="294"/>
                    </a:cubicBezTo>
                    <a:cubicBezTo>
                      <a:pt x="124" y="290"/>
                      <a:pt x="124" y="286"/>
                      <a:pt x="121" y="284"/>
                    </a:cubicBezTo>
                    <a:cubicBezTo>
                      <a:pt x="121" y="282"/>
                      <a:pt x="117" y="284"/>
                      <a:pt x="117" y="282"/>
                    </a:cubicBezTo>
                    <a:cubicBezTo>
                      <a:pt x="119" y="279"/>
                      <a:pt x="123" y="276"/>
                      <a:pt x="125" y="272"/>
                    </a:cubicBezTo>
                    <a:cubicBezTo>
                      <a:pt x="128" y="265"/>
                      <a:pt x="118" y="270"/>
                      <a:pt x="128" y="262"/>
                    </a:cubicBezTo>
                    <a:cubicBezTo>
                      <a:pt x="137" y="255"/>
                      <a:pt x="148" y="256"/>
                      <a:pt x="149" y="242"/>
                    </a:cubicBezTo>
                    <a:cubicBezTo>
                      <a:pt x="149" y="241"/>
                      <a:pt x="138" y="233"/>
                      <a:pt x="136" y="229"/>
                    </a:cubicBezTo>
                    <a:cubicBezTo>
                      <a:pt x="133" y="221"/>
                      <a:pt x="137" y="210"/>
                      <a:pt x="137" y="208"/>
                    </a:cubicBezTo>
                    <a:cubicBezTo>
                      <a:pt x="136" y="208"/>
                      <a:pt x="127" y="190"/>
                      <a:pt x="127" y="190"/>
                    </a:cubicBezTo>
                    <a:cubicBezTo>
                      <a:pt x="126" y="189"/>
                      <a:pt x="129" y="190"/>
                      <a:pt x="130" y="190"/>
                    </a:cubicBezTo>
                    <a:cubicBezTo>
                      <a:pt x="135" y="192"/>
                      <a:pt x="138" y="193"/>
                      <a:pt x="143" y="194"/>
                    </a:cubicBezTo>
                    <a:cubicBezTo>
                      <a:pt x="156" y="197"/>
                      <a:pt x="159" y="198"/>
                      <a:pt x="166" y="185"/>
                    </a:cubicBezTo>
                    <a:cubicBezTo>
                      <a:pt x="174" y="169"/>
                      <a:pt x="165" y="175"/>
                      <a:pt x="164" y="163"/>
                    </a:cubicBezTo>
                    <a:cubicBezTo>
                      <a:pt x="162" y="152"/>
                      <a:pt x="180" y="157"/>
                      <a:pt x="180" y="150"/>
                    </a:cubicBezTo>
                    <a:cubicBezTo>
                      <a:pt x="181" y="144"/>
                      <a:pt x="174" y="149"/>
                      <a:pt x="178" y="142"/>
                    </a:cubicBezTo>
                    <a:cubicBezTo>
                      <a:pt x="178" y="141"/>
                      <a:pt x="181" y="141"/>
                      <a:pt x="181" y="139"/>
                    </a:cubicBezTo>
                    <a:cubicBezTo>
                      <a:pt x="183" y="135"/>
                      <a:pt x="183" y="131"/>
                      <a:pt x="183" y="127"/>
                    </a:cubicBezTo>
                    <a:cubicBezTo>
                      <a:pt x="184" y="123"/>
                      <a:pt x="187" y="118"/>
                      <a:pt x="187" y="114"/>
                    </a:cubicBezTo>
                    <a:cubicBezTo>
                      <a:pt x="182" y="100"/>
                      <a:pt x="182" y="100"/>
                      <a:pt x="182" y="100"/>
                    </a:cubicBezTo>
                    <a:cubicBezTo>
                      <a:pt x="183" y="99"/>
                      <a:pt x="187" y="102"/>
                      <a:pt x="190" y="101"/>
                    </a:cubicBezTo>
                    <a:cubicBezTo>
                      <a:pt x="202" y="88"/>
                      <a:pt x="202" y="88"/>
                      <a:pt x="202" y="88"/>
                    </a:cubicBezTo>
                    <a:cubicBezTo>
                      <a:pt x="210" y="84"/>
                      <a:pt x="226" y="83"/>
                      <a:pt x="230" y="71"/>
                    </a:cubicBezTo>
                    <a:cubicBezTo>
                      <a:pt x="234" y="60"/>
                      <a:pt x="219" y="61"/>
                      <a:pt x="215" y="60"/>
                    </a:cubicBezTo>
                    <a:cubicBezTo>
                      <a:pt x="212" y="60"/>
                      <a:pt x="217" y="38"/>
                      <a:pt x="215" y="37"/>
                    </a:cubicBezTo>
                    <a:cubicBezTo>
                      <a:pt x="204" y="31"/>
                      <a:pt x="202" y="36"/>
                      <a:pt x="189" y="31"/>
                    </a:cubicBezTo>
                    <a:cubicBezTo>
                      <a:pt x="187" y="30"/>
                      <a:pt x="187" y="24"/>
                      <a:pt x="182" y="28"/>
                    </a:cubicBezTo>
                    <a:cubicBezTo>
                      <a:pt x="181" y="29"/>
                      <a:pt x="183" y="32"/>
                      <a:pt x="182" y="33"/>
                    </a:cubicBezTo>
                    <a:cubicBezTo>
                      <a:pt x="174" y="40"/>
                      <a:pt x="166" y="32"/>
                      <a:pt x="164" y="31"/>
                    </a:cubicBezTo>
                    <a:cubicBezTo>
                      <a:pt x="161" y="30"/>
                      <a:pt x="159" y="33"/>
                      <a:pt x="157" y="32"/>
                    </a:cubicBezTo>
                    <a:cubicBezTo>
                      <a:pt x="156" y="31"/>
                      <a:pt x="160" y="30"/>
                      <a:pt x="159" y="29"/>
                    </a:cubicBezTo>
                    <a:cubicBezTo>
                      <a:pt x="159" y="27"/>
                      <a:pt x="156" y="26"/>
                      <a:pt x="153" y="26"/>
                    </a:cubicBezTo>
                    <a:cubicBezTo>
                      <a:pt x="150" y="26"/>
                      <a:pt x="146" y="27"/>
                      <a:pt x="143" y="26"/>
                    </a:cubicBezTo>
                    <a:cubicBezTo>
                      <a:pt x="142" y="26"/>
                      <a:pt x="143" y="24"/>
                      <a:pt x="143" y="23"/>
                    </a:cubicBezTo>
                    <a:cubicBezTo>
                      <a:pt x="143" y="23"/>
                      <a:pt x="144" y="21"/>
                      <a:pt x="143" y="21"/>
                    </a:cubicBezTo>
                    <a:cubicBezTo>
                      <a:pt x="140" y="22"/>
                      <a:pt x="134" y="30"/>
                      <a:pt x="129" y="26"/>
                    </a:cubicBezTo>
                    <a:cubicBezTo>
                      <a:pt x="115" y="17"/>
                      <a:pt x="142" y="14"/>
                      <a:pt x="135" y="8"/>
                    </a:cubicBezTo>
                    <a:cubicBezTo>
                      <a:pt x="134" y="6"/>
                      <a:pt x="131" y="8"/>
                      <a:pt x="130" y="6"/>
                    </a:cubicBezTo>
                    <a:cubicBezTo>
                      <a:pt x="130" y="5"/>
                      <a:pt x="133" y="3"/>
                      <a:pt x="131" y="2"/>
                    </a:cubicBezTo>
                    <a:cubicBezTo>
                      <a:pt x="121" y="0"/>
                      <a:pt x="107" y="4"/>
                      <a:pt x="99" y="8"/>
                    </a:cubicBezTo>
                    <a:cubicBezTo>
                      <a:pt x="97" y="14"/>
                      <a:pt x="83" y="17"/>
                      <a:pt x="87" y="22"/>
                    </a:cubicBezTo>
                    <a:cubicBezTo>
                      <a:pt x="89" y="24"/>
                      <a:pt x="96" y="23"/>
                      <a:pt x="97" y="27"/>
                    </a:cubicBezTo>
                    <a:cubicBezTo>
                      <a:pt x="98" y="30"/>
                      <a:pt x="91" y="26"/>
                      <a:pt x="89" y="28"/>
                    </a:cubicBezTo>
                    <a:cubicBezTo>
                      <a:pt x="86" y="34"/>
                      <a:pt x="86" y="58"/>
                      <a:pt x="87" y="64"/>
                    </a:cubicBezTo>
                    <a:cubicBezTo>
                      <a:pt x="87" y="66"/>
                      <a:pt x="90" y="66"/>
                      <a:pt x="90" y="69"/>
                    </a:cubicBezTo>
                    <a:cubicBezTo>
                      <a:pt x="90" y="78"/>
                      <a:pt x="86" y="84"/>
                      <a:pt x="82" y="92"/>
                    </a:cubicBezTo>
                    <a:cubicBezTo>
                      <a:pt x="80" y="95"/>
                      <a:pt x="73" y="103"/>
                      <a:pt x="77" y="102"/>
                    </a:cubicBezTo>
                    <a:cubicBezTo>
                      <a:pt x="81" y="101"/>
                      <a:pt x="81" y="92"/>
                      <a:pt x="84" y="91"/>
                    </a:cubicBezTo>
                    <a:cubicBezTo>
                      <a:pt x="87" y="91"/>
                      <a:pt x="89" y="96"/>
                      <a:pt x="88" y="99"/>
                    </a:cubicBezTo>
                    <a:cubicBezTo>
                      <a:pt x="85" y="103"/>
                      <a:pt x="77" y="101"/>
                      <a:pt x="74" y="105"/>
                    </a:cubicBezTo>
                    <a:cubicBezTo>
                      <a:pt x="70" y="112"/>
                      <a:pt x="68" y="120"/>
                      <a:pt x="64" y="127"/>
                    </a:cubicBezTo>
                    <a:cubicBezTo>
                      <a:pt x="62" y="130"/>
                      <a:pt x="58" y="131"/>
                      <a:pt x="59" y="134"/>
                    </a:cubicBezTo>
                    <a:cubicBezTo>
                      <a:pt x="59" y="137"/>
                      <a:pt x="64" y="138"/>
                      <a:pt x="65" y="141"/>
                    </a:cubicBezTo>
                    <a:cubicBezTo>
                      <a:pt x="66" y="142"/>
                      <a:pt x="62" y="138"/>
                      <a:pt x="61" y="139"/>
                    </a:cubicBezTo>
                    <a:cubicBezTo>
                      <a:pt x="58" y="140"/>
                      <a:pt x="57" y="145"/>
                      <a:pt x="54" y="148"/>
                    </a:cubicBezTo>
                    <a:cubicBezTo>
                      <a:pt x="49" y="157"/>
                      <a:pt x="43" y="169"/>
                      <a:pt x="36" y="177"/>
                    </a:cubicBezTo>
                    <a:cubicBezTo>
                      <a:pt x="34" y="179"/>
                      <a:pt x="31" y="180"/>
                      <a:pt x="28" y="182"/>
                    </a:cubicBezTo>
                    <a:cubicBezTo>
                      <a:pt x="28" y="183"/>
                      <a:pt x="31" y="185"/>
                      <a:pt x="30" y="185"/>
                    </a:cubicBezTo>
                    <a:cubicBezTo>
                      <a:pt x="26" y="186"/>
                      <a:pt x="20" y="182"/>
                      <a:pt x="17" y="185"/>
                    </a:cubicBezTo>
                    <a:cubicBezTo>
                      <a:pt x="14" y="188"/>
                      <a:pt x="19" y="193"/>
                      <a:pt x="18" y="196"/>
                    </a:cubicBezTo>
                    <a:cubicBezTo>
                      <a:pt x="17" y="202"/>
                      <a:pt x="0" y="225"/>
                      <a:pt x="1" y="231"/>
                    </a:cubicBezTo>
                    <a:cubicBezTo>
                      <a:pt x="2" y="235"/>
                      <a:pt x="5" y="238"/>
                      <a:pt x="8" y="242"/>
                    </a:cubicBezTo>
                    <a:cubicBezTo>
                      <a:pt x="13" y="252"/>
                      <a:pt x="11" y="256"/>
                      <a:pt x="11" y="256"/>
                    </a:cubicBezTo>
                    <a:cubicBezTo>
                      <a:pt x="15" y="258"/>
                      <a:pt x="21" y="257"/>
                      <a:pt x="25" y="256"/>
                    </a:cubicBezTo>
                    <a:cubicBezTo>
                      <a:pt x="27" y="256"/>
                      <a:pt x="28" y="254"/>
                      <a:pt x="31" y="254"/>
                    </a:cubicBezTo>
                    <a:cubicBezTo>
                      <a:pt x="33" y="254"/>
                      <a:pt x="34" y="258"/>
                      <a:pt x="37" y="258"/>
                    </a:cubicBezTo>
                    <a:cubicBezTo>
                      <a:pt x="39" y="259"/>
                      <a:pt x="39" y="251"/>
                      <a:pt x="40" y="253"/>
                    </a:cubicBezTo>
                    <a:cubicBezTo>
                      <a:pt x="41" y="255"/>
                      <a:pt x="39" y="259"/>
                      <a:pt x="40" y="262"/>
                    </a:cubicBezTo>
                    <a:cubicBezTo>
                      <a:pt x="41" y="264"/>
                      <a:pt x="49" y="265"/>
                      <a:pt x="47" y="266"/>
                    </a:cubicBezTo>
                    <a:cubicBezTo>
                      <a:pt x="32" y="273"/>
                      <a:pt x="41" y="254"/>
                      <a:pt x="28" y="256"/>
                    </a:cubicBezTo>
                    <a:cubicBezTo>
                      <a:pt x="25" y="256"/>
                      <a:pt x="32" y="261"/>
                      <a:pt x="34" y="264"/>
                    </a:cubicBezTo>
                    <a:cubicBezTo>
                      <a:pt x="34" y="267"/>
                      <a:pt x="34" y="271"/>
                      <a:pt x="33" y="275"/>
                    </a:cubicBezTo>
                    <a:cubicBezTo>
                      <a:pt x="32" y="282"/>
                      <a:pt x="22" y="289"/>
                      <a:pt x="22" y="295"/>
                    </a:cubicBezTo>
                    <a:cubicBezTo>
                      <a:pt x="22" y="297"/>
                      <a:pt x="26" y="299"/>
                      <a:pt x="26" y="301"/>
                    </a:cubicBezTo>
                    <a:cubicBezTo>
                      <a:pt x="26" y="305"/>
                      <a:pt x="20" y="312"/>
                      <a:pt x="24" y="314"/>
                    </a:cubicBezTo>
                    <a:cubicBezTo>
                      <a:pt x="25" y="314"/>
                      <a:pt x="29" y="312"/>
                      <a:pt x="28" y="313"/>
                    </a:cubicBezTo>
                    <a:cubicBezTo>
                      <a:pt x="27" y="315"/>
                      <a:pt x="23" y="314"/>
                      <a:pt x="22" y="315"/>
                    </a:cubicBezTo>
                    <a:cubicBezTo>
                      <a:pt x="19" y="321"/>
                      <a:pt x="21" y="328"/>
                      <a:pt x="18" y="333"/>
                    </a:cubicBezTo>
                    <a:cubicBezTo>
                      <a:pt x="16" y="338"/>
                      <a:pt x="2" y="357"/>
                      <a:pt x="4" y="363"/>
                    </a:cubicBezTo>
                    <a:cubicBezTo>
                      <a:pt x="4" y="365"/>
                      <a:pt x="8" y="361"/>
                      <a:pt x="10" y="361"/>
                    </a:cubicBezTo>
                    <a:cubicBezTo>
                      <a:pt x="14" y="360"/>
                      <a:pt x="17" y="361"/>
                      <a:pt x="21" y="361"/>
                    </a:cubicBezTo>
                    <a:cubicBezTo>
                      <a:pt x="22" y="361"/>
                      <a:pt x="24" y="359"/>
                      <a:pt x="26" y="359"/>
                    </a:cubicBezTo>
                    <a:cubicBezTo>
                      <a:pt x="35" y="362"/>
                      <a:pt x="64" y="381"/>
                      <a:pt x="68" y="380"/>
                    </a:cubicBezTo>
                    <a:cubicBezTo>
                      <a:pt x="70" y="380"/>
                      <a:pt x="87" y="372"/>
                      <a:pt x="88" y="371"/>
                    </a:cubicBezTo>
                    <a:cubicBezTo>
                      <a:pt x="90" y="371"/>
                      <a:pt x="93" y="371"/>
                      <a:pt x="96" y="371"/>
                    </a:cubicBezTo>
                    <a:close/>
                  </a:path>
                </a:pathLst>
              </a:custGeom>
              <a:solidFill>
                <a:srgbClr val="405F9E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101" name="Spain" descr="{&quot;Key&quot;:&quot;spain&quot;,&quot;Name&quot;:&quot;Spain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2AE6C5A0-EE8A-7917-B0D9-4AE39D52E8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37795" y="5309170"/>
                <a:ext cx="1215878" cy="1231302"/>
              </a:xfrm>
              <a:custGeom>
                <a:avLst/>
                <a:gdLst>
                  <a:gd name="T0" fmla="*/ 622 w 727"/>
                  <a:gd name="T1" fmla="*/ 200 h 684"/>
                  <a:gd name="T2" fmla="*/ 674 w 727"/>
                  <a:gd name="T3" fmla="*/ 205 h 684"/>
                  <a:gd name="T4" fmla="*/ 634 w 727"/>
                  <a:gd name="T5" fmla="*/ 264 h 684"/>
                  <a:gd name="T6" fmla="*/ 520 w 727"/>
                  <a:gd name="T7" fmla="*/ 310 h 684"/>
                  <a:gd name="T8" fmla="*/ 450 w 727"/>
                  <a:gd name="T9" fmla="*/ 397 h 684"/>
                  <a:gd name="T10" fmla="*/ 454 w 727"/>
                  <a:gd name="T11" fmla="*/ 469 h 684"/>
                  <a:gd name="T12" fmla="*/ 428 w 727"/>
                  <a:gd name="T13" fmla="*/ 481 h 684"/>
                  <a:gd name="T14" fmla="*/ 402 w 727"/>
                  <a:gd name="T15" fmla="*/ 521 h 684"/>
                  <a:gd name="T16" fmla="*/ 352 w 727"/>
                  <a:gd name="T17" fmla="*/ 540 h 684"/>
                  <a:gd name="T18" fmla="*/ 260 w 727"/>
                  <a:gd name="T19" fmla="*/ 571 h 684"/>
                  <a:gd name="T20" fmla="*/ 165 w 727"/>
                  <a:gd name="T21" fmla="*/ 572 h 684"/>
                  <a:gd name="T22" fmla="*/ 101 w 727"/>
                  <a:gd name="T23" fmla="*/ 597 h 684"/>
                  <a:gd name="T24" fmla="*/ 77 w 727"/>
                  <a:gd name="T25" fmla="*/ 577 h 684"/>
                  <a:gd name="T26" fmla="*/ 72 w 727"/>
                  <a:gd name="T27" fmla="*/ 547 h 684"/>
                  <a:gd name="T28" fmla="*/ 63 w 727"/>
                  <a:gd name="T29" fmla="*/ 518 h 684"/>
                  <a:gd name="T30" fmla="*/ 40 w 727"/>
                  <a:gd name="T31" fmla="*/ 495 h 684"/>
                  <a:gd name="T32" fmla="*/ 32 w 727"/>
                  <a:gd name="T33" fmla="*/ 431 h 684"/>
                  <a:gd name="T34" fmla="*/ 37 w 727"/>
                  <a:gd name="T35" fmla="*/ 399 h 684"/>
                  <a:gd name="T36" fmla="*/ 65 w 727"/>
                  <a:gd name="T37" fmla="*/ 357 h 684"/>
                  <a:gd name="T38" fmla="*/ 46 w 727"/>
                  <a:gd name="T39" fmla="*/ 305 h 684"/>
                  <a:gd name="T40" fmla="*/ 96 w 727"/>
                  <a:gd name="T41" fmla="*/ 265 h 684"/>
                  <a:gd name="T42" fmla="*/ 103 w 727"/>
                  <a:gd name="T43" fmla="*/ 229 h 684"/>
                  <a:gd name="T44" fmla="*/ 146 w 727"/>
                  <a:gd name="T45" fmla="*/ 186 h 684"/>
                  <a:gd name="T46" fmla="*/ 98 w 727"/>
                  <a:gd name="T47" fmla="*/ 143 h 684"/>
                  <a:gd name="T48" fmla="*/ 75 w 727"/>
                  <a:gd name="T49" fmla="*/ 144 h 684"/>
                  <a:gd name="T50" fmla="*/ 59 w 727"/>
                  <a:gd name="T51" fmla="*/ 136 h 684"/>
                  <a:gd name="T52" fmla="*/ 47 w 727"/>
                  <a:gd name="T53" fmla="*/ 117 h 684"/>
                  <a:gd name="T54" fmla="*/ 13 w 727"/>
                  <a:gd name="T55" fmla="*/ 107 h 684"/>
                  <a:gd name="T56" fmla="*/ 16 w 727"/>
                  <a:gd name="T57" fmla="*/ 95 h 684"/>
                  <a:gd name="T58" fmla="*/ 19 w 727"/>
                  <a:gd name="T59" fmla="*/ 86 h 684"/>
                  <a:gd name="T60" fmla="*/ 17 w 727"/>
                  <a:gd name="T61" fmla="*/ 33 h 684"/>
                  <a:gd name="T62" fmla="*/ 75 w 727"/>
                  <a:gd name="T63" fmla="*/ 10 h 684"/>
                  <a:gd name="T64" fmla="*/ 131 w 727"/>
                  <a:gd name="T65" fmla="*/ 35 h 684"/>
                  <a:gd name="T66" fmla="*/ 184 w 727"/>
                  <a:gd name="T67" fmla="*/ 41 h 684"/>
                  <a:gd name="T68" fmla="*/ 217 w 727"/>
                  <a:gd name="T69" fmla="*/ 53 h 684"/>
                  <a:gd name="T70" fmla="*/ 302 w 727"/>
                  <a:gd name="T71" fmla="*/ 71 h 684"/>
                  <a:gd name="T72" fmla="*/ 342 w 727"/>
                  <a:gd name="T73" fmla="*/ 87 h 684"/>
                  <a:gd name="T74" fmla="*/ 377 w 727"/>
                  <a:gd name="T75" fmla="*/ 100 h 684"/>
                  <a:gd name="T76" fmla="*/ 430 w 727"/>
                  <a:gd name="T77" fmla="*/ 111 h 684"/>
                  <a:gd name="T78" fmla="*/ 462 w 727"/>
                  <a:gd name="T79" fmla="*/ 138 h 684"/>
                  <a:gd name="T80" fmla="*/ 509 w 727"/>
                  <a:gd name="T81" fmla="*/ 163 h 684"/>
                  <a:gd name="T82" fmla="*/ 541 w 727"/>
                  <a:gd name="T83" fmla="*/ 157 h 684"/>
                  <a:gd name="T84" fmla="*/ 578 w 727"/>
                  <a:gd name="T85" fmla="*/ 182 h 684"/>
                  <a:gd name="T86" fmla="*/ 103 w 727"/>
                  <a:gd name="T87" fmla="*/ 627 h 684"/>
                  <a:gd name="T88" fmla="*/ 119 w 727"/>
                  <a:gd name="T89" fmla="*/ 608 h 684"/>
                  <a:gd name="T90" fmla="*/ 254 w 727"/>
                  <a:gd name="T91" fmla="*/ 669 h 684"/>
                  <a:gd name="T92" fmla="*/ 256 w 727"/>
                  <a:gd name="T93" fmla="*/ 683 h 684"/>
                  <a:gd name="T94" fmla="*/ 643 w 727"/>
                  <a:gd name="T95" fmla="*/ 437 h 684"/>
                  <a:gd name="T96" fmla="*/ 615 w 727"/>
                  <a:gd name="T97" fmla="*/ 414 h 684"/>
                  <a:gd name="T98" fmla="*/ 714 w 727"/>
                  <a:gd name="T99" fmla="*/ 387 h 684"/>
                  <a:gd name="T100" fmla="*/ 613 w 727"/>
                  <a:gd name="T101" fmla="*/ 440 h 684"/>
                  <a:gd name="T102" fmla="*/ 620 w 727"/>
                  <a:gd name="T103" fmla="*/ 442 h 684"/>
                  <a:gd name="T104" fmla="*/ 592 w 727"/>
                  <a:gd name="T105" fmla="*/ 430 h 684"/>
                  <a:gd name="T106" fmla="*/ 605 w 727"/>
                  <a:gd name="T107" fmla="*/ 422 h 6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727" h="684">
                    <a:moveTo>
                      <a:pt x="592" y="192"/>
                    </a:moveTo>
                    <a:cubicBezTo>
                      <a:pt x="596" y="193"/>
                      <a:pt x="600" y="194"/>
                      <a:pt x="603" y="197"/>
                    </a:cubicBezTo>
                    <a:cubicBezTo>
                      <a:pt x="604" y="198"/>
                      <a:pt x="605" y="204"/>
                      <a:pt x="608" y="203"/>
                    </a:cubicBezTo>
                    <a:cubicBezTo>
                      <a:pt x="613" y="203"/>
                      <a:pt x="617" y="200"/>
                      <a:pt x="622" y="200"/>
                    </a:cubicBezTo>
                    <a:cubicBezTo>
                      <a:pt x="627" y="200"/>
                      <a:pt x="637" y="211"/>
                      <a:pt x="643" y="210"/>
                    </a:cubicBezTo>
                    <a:cubicBezTo>
                      <a:pt x="645" y="209"/>
                      <a:pt x="643" y="205"/>
                      <a:pt x="644" y="203"/>
                    </a:cubicBezTo>
                    <a:cubicBezTo>
                      <a:pt x="653" y="198"/>
                      <a:pt x="663" y="203"/>
                      <a:pt x="672" y="205"/>
                    </a:cubicBezTo>
                    <a:cubicBezTo>
                      <a:pt x="674" y="205"/>
                      <a:pt x="674" y="205"/>
                      <a:pt x="674" y="205"/>
                    </a:cubicBezTo>
                    <a:cubicBezTo>
                      <a:pt x="677" y="208"/>
                      <a:pt x="679" y="211"/>
                      <a:pt x="678" y="214"/>
                    </a:cubicBezTo>
                    <a:cubicBezTo>
                      <a:pt x="677" y="219"/>
                      <a:pt x="670" y="218"/>
                      <a:pt x="667" y="220"/>
                    </a:cubicBezTo>
                    <a:cubicBezTo>
                      <a:pt x="665" y="223"/>
                      <a:pt x="674" y="236"/>
                      <a:pt x="668" y="245"/>
                    </a:cubicBezTo>
                    <a:cubicBezTo>
                      <a:pt x="665" y="252"/>
                      <a:pt x="641" y="261"/>
                      <a:pt x="634" y="264"/>
                    </a:cubicBezTo>
                    <a:cubicBezTo>
                      <a:pt x="628" y="266"/>
                      <a:pt x="618" y="268"/>
                      <a:pt x="614" y="272"/>
                    </a:cubicBezTo>
                    <a:cubicBezTo>
                      <a:pt x="610" y="275"/>
                      <a:pt x="605" y="283"/>
                      <a:pt x="600" y="284"/>
                    </a:cubicBezTo>
                    <a:cubicBezTo>
                      <a:pt x="581" y="290"/>
                      <a:pt x="546" y="286"/>
                      <a:pt x="531" y="298"/>
                    </a:cubicBezTo>
                    <a:cubicBezTo>
                      <a:pt x="527" y="302"/>
                      <a:pt x="519" y="305"/>
                      <a:pt x="520" y="310"/>
                    </a:cubicBezTo>
                    <a:cubicBezTo>
                      <a:pt x="522" y="314"/>
                      <a:pt x="531" y="313"/>
                      <a:pt x="530" y="317"/>
                    </a:cubicBezTo>
                    <a:cubicBezTo>
                      <a:pt x="530" y="319"/>
                      <a:pt x="513" y="323"/>
                      <a:pt x="511" y="323"/>
                    </a:cubicBezTo>
                    <a:cubicBezTo>
                      <a:pt x="505" y="328"/>
                      <a:pt x="502" y="338"/>
                      <a:pt x="497" y="344"/>
                    </a:cubicBezTo>
                    <a:cubicBezTo>
                      <a:pt x="481" y="360"/>
                      <a:pt x="460" y="376"/>
                      <a:pt x="450" y="397"/>
                    </a:cubicBezTo>
                    <a:cubicBezTo>
                      <a:pt x="445" y="405"/>
                      <a:pt x="451" y="433"/>
                      <a:pt x="457" y="440"/>
                    </a:cubicBezTo>
                    <a:cubicBezTo>
                      <a:pt x="458" y="442"/>
                      <a:pt x="479" y="454"/>
                      <a:pt x="474" y="457"/>
                    </a:cubicBezTo>
                    <a:cubicBezTo>
                      <a:pt x="470" y="461"/>
                      <a:pt x="460" y="462"/>
                      <a:pt x="457" y="465"/>
                    </a:cubicBezTo>
                    <a:cubicBezTo>
                      <a:pt x="455" y="466"/>
                      <a:pt x="455" y="469"/>
                      <a:pt x="454" y="469"/>
                    </a:cubicBezTo>
                    <a:cubicBezTo>
                      <a:pt x="453" y="470"/>
                      <a:pt x="451" y="469"/>
                      <a:pt x="450" y="469"/>
                    </a:cubicBezTo>
                    <a:cubicBezTo>
                      <a:pt x="446" y="470"/>
                      <a:pt x="441" y="470"/>
                      <a:pt x="437" y="473"/>
                    </a:cubicBezTo>
                    <a:cubicBezTo>
                      <a:pt x="435" y="475"/>
                      <a:pt x="436" y="479"/>
                      <a:pt x="434" y="481"/>
                    </a:cubicBezTo>
                    <a:cubicBezTo>
                      <a:pt x="432" y="482"/>
                      <a:pt x="429" y="480"/>
                      <a:pt x="428" y="481"/>
                    </a:cubicBezTo>
                    <a:cubicBezTo>
                      <a:pt x="426" y="483"/>
                      <a:pt x="428" y="488"/>
                      <a:pt x="426" y="490"/>
                    </a:cubicBezTo>
                    <a:cubicBezTo>
                      <a:pt x="424" y="493"/>
                      <a:pt x="419" y="490"/>
                      <a:pt x="417" y="493"/>
                    </a:cubicBezTo>
                    <a:cubicBezTo>
                      <a:pt x="415" y="497"/>
                      <a:pt x="419" y="502"/>
                      <a:pt x="417" y="505"/>
                    </a:cubicBezTo>
                    <a:cubicBezTo>
                      <a:pt x="412" y="516"/>
                      <a:pt x="402" y="503"/>
                      <a:pt x="402" y="521"/>
                    </a:cubicBezTo>
                    <a:cubicBezTo>
                      <a:pt x="402" y="526"/>
                      <a:pt x="411" y="528"/>
                      <a:pt x="410" y="532"/>
                    </a:cubicBezTo>
                    <a:cubicBezTo>
                      <a:pt x="408" y="536"/>
                      <a:pt x="402" y="535"/>
                      <a:pt x="397" y="534"/>
                    </a:cubicBezTo>
                    <a:cubicBezTo>
                      <a:pt x="394" y="534"/>
                      <a:pt x="391" y="532"/>
                      <a:pt x="389" y="531"/>
                    </a:cubicBezTo>
                    <a:cubicBezTo>
                      <a:pt x="377" y="528"/>
                      <a:pt x="363" y="533"/>
                      <a:pt x="352" y="540"/>
                    </a:cubicBezTo>
                    <a:cubicBezTo>
                      <a:pt x="335" y="551"/>
                      <a:pt x="335" y="573"/>
                      <a:pt x="317" y="583"/>
                    </a:cubicBezTo>
                    <a:cubicBezTo>
                      <a:pt x="310" y="586"/>
                      <a:pt x="308" y="568"/>
                      <a:pt x="291" y="572"/>
                    </a:cubicBezTo>
                    <a:cubicBezTo>
                      <a:pt x="287" y="573"/>
                      <a:pt x="286" y="578"/>
                      <a:pt x="282" y="579"/>
                    </a:cubicBezTo>
                    <a:cubicBezTo>
                      <a:pt x="277" y="581"/>
                      <a:pt x="265" y="571"/>
                      <a:pt x="260" y="571"/>
                    </a:cubicBezTo>
                    <a:cubicBezTo>
                      <a:pt x="253" y="569"/>
                      <a:pt x="245" y="573"/>
                      <a:pt x="238" y="572"/>
                    </a:cubicBezTo>
                    <a:cubicBezTo>
                      <a:pt x="234" y="571"/>
                      <a:pt x="232" y="567"/>
                      <a:pt x="228" y="566"/>
                    </a:cubicBezTo>
                    <a:cubicBezTo>
                      <a:pt x="221" y="563"/>
                      <a:pt x="187" y="558"/>
                      <a:pt x="181" y="559"/>
                    </a:cubicBezTo>
                    <a:cubicBezTo>
                      <a:pt x="174" y="561"/>
                      <a:pt x="171" y="569"/>
                      <a:pt x="165" y="572"/>
                    </a:cubicBezTo>
                    <a:cubicBezTo>
                      <a:pt x="155" y="576"/>
                      <a:pt x="144" y="566"/>
                      <a:pt x="132" y="572"/>
                    </a:cubicBezTo>
                    <a:cubicBezTo>
                      <a:pt x="122" y="577"/>
                      <a:pt x="123" y="581"/>
                      <a:pt x="118" y="589"/>
                    </a:cubicBezTo>
                    <a:cubicBezTo>
                      <a:pt x="117" y="589"/>
                      <a:pt x="114" y="586"/>
                      <a:pt x="111" y="588"/>
                    </a:cubicBezTo>
                    <a:cubicBezTo>
                      <a:pt x="108" y="590"/>
                      <a:pt x="105" y="595"/>
                      <a:pt x="101" y="597"/>
                    </a:cubicBezTo>
                    <a:cubicBezTo>
                      <a:pt x="99" y="597"/>
                      <a:pt x="99" y="593"/>
                      <a:pt x="97" y="592"/>
                    </a:cubicBezTo>
                    <a:cubicBezTo>
                      <a:pt x="95" y="590"/>
                      <a:pt x="92" y="590"/>
                      <a:pt x="90" y="588"/>
                    </a:cubicBezTo>
                    <a:cubicBezTo>
                      <a:pt x="88" y="585"/>
                      <a:pt x="87" y="581"/>
                      <a:pt x="84" y="579"/>
                    </a:cubicBezTo>
                    <a:cubicBezTo>
                      <a:pt x="83" y="577"/>
                      <a:pt x="79" y="579"/>
                      <a:pt x="77" y="577"/>
                    </a:cubicBezTo>
                    <a:cubicBezTo>
                      <a:pt x="73" y="573"/>
                      <a:pt x="68" y="555"/>
                      <a:pt x="67" y="549"/>
                    </a:cubicBezTo>
                    <a:cubicBezTo>
                      <a:pt x="67" y="549"/>
                      <a:pt x="75" y="557"/>
                      <a:pt x="74" y="552"/>
                    </a:cubicBezTo>
                    <a:cubicBezTo>
                      <a:pt x="74" y="550"/>
                      <a:pt x="71" y="552"/>
                      <a:pt x="70" y="551"/>
                    </a:cubicBezTo>
                    <a:cubicBezTo>
                      <a:pt x="69" y="550"/>
                      <a:pt x="72" y="549"/>
                      <a:pt x="72" y="547"/>
                    </a:cubicBezTo>
                    <a:cubicBezTo>
                      <a:pt x="70" y="538"/>
                      <a:pt x="62" y="549"/>
                      <a:pt x="62" y="533"/>
                    </a:cubicBezTo>
                    <a:cubicBezTo>
                      <a:pt x="62" y="533"/>
                      <a:pt x="84" y="523"/>
                      <a:pt x="79" y="521"/>
                    </a:cubicBezTo>
                    <a:cubicBezTo>
                      <a:pt x="75" y="520"/>
                      <a:pt x="72" y="530"/>
                      <a:pt x="67" y="529"/>
                    </a:cubicBezTo>
                    <a:cubicBezTo>
                      <a:pt x="63" y="528"/>
                      <a:pt x="65" y="521"/>
                      <a:pt x="63" y="518"/>
                    </a:cubicBezTo>
                    <a:cubicBezTo>
                      <a:pt x="62" y="515"/>
                      <a:pt x="59" y="512"/>
                      <a:pt x="57" y="509"/>
                    </a:cubicBezTo>
                    <a:cubicBezTo>
                      <a:pt x="42" y="494"/>
                      <a:pt x="42" y="494"/>
                      <a:pt x="42" y="494"/>
                    </a:cubicBezTo>
                    <a:cubicBezTo>
                      <a:pt x="42" y="494"/>
                      <a:pt x="42" y="494"/>
                      <a:pt x="42" y="493"/>
                    </a:cubicBezTo>
                    <a:cubicBezTo>
                      <a:pt x="41" y="494"/>
                      <a:pt x="41" y="495"/>
                      <a:pt x="40" y="495"/>
                    </a:cubicBezTo>
                    <a:cubicBezTo>
                      <a:pt x="36" y="495"/>
                      <a:pt x="34" y="491"/>
                      <a:pt x="32" y="489"/>
                    </a:cubicBezTo>
                    <a:cubicBezTo>
                      <a:pt x="29" y="488"/>
                      <a:pt x="19" y="486"/>
                      <a:pt x="12" y="486"/>
                    </a:cubicBezTo>
                    <a:cubicBezTo>
                      <a:pt x="13" y="463"/>
                      <a:pt x="7" y="459"/>
                      <a:pt x="26" y="442"/>
                    </a:cubicBezTo>
                    <a:cubicBezTo>
                      <a:pt x="29" y="439"/>
                      <a:pt x="29" y="433"/>
                      <a:pt x="32" y="431"/>
                    </a:cubicBezTo>
                    <a:cubicBezTo>
                      <a:pt x="33" y="431"/>
                      <a:pt x="61" y="430"/>
                      <a:pt x="54" y="419"/>
                    </a:cubicBezTo>
                    <a:cubicBezTo>
                      <a:pt x="53" y="416"/>
                      <a:pt x="47" y="421"/>
                      <a:pt x="44" y="419"/>
                    </a:cubicBezTo>
                    <a:cubicBezTo>
                      <a:pt x="41" y="417"/>
                      <a:pt x="42" y="412"/>
                      <a:pt x="41" y="409"/>
                    </a:cubicBezTo>
                    <a:cubicBezTo>
                      <a:pt x="40" y="405"/>
                      <a:pt x="40" y="401"/>
                      <a:pt x="37" y="399"/>
                    </a:cubicBezTo>
                    <a:cubicBezTo>
                      <a:pt x="37" y="397"/>
                      <a:pt x="33" y="399"/>
                      <a:pt x="33" y="397"/>
                    </a:cubicBezTo>
                    <a:cubicBezTo>
                      <a:pt x="35" y="394"/>
                      <a:pt x="39" y="391"/>
                      <a:pt x="41" y="387"/>
                    </a:cubicBezTo>
                    <a:cubicBezTo>
                      <a:pt x="44" y="380"/>
                      <a:pt x="34" y="385"/>
                      <a:pt x="44" y="377"/>
                    </a:cubicBezTo>
                    <a:cubicBezTo>
                      <a:pt x="53" y="370"/>
                      <a:pt x="64" y="371"/>
                      <a:pt x="65" y="357"/>
                    </a:cubicBezTo>
                    <a:cubicBezTo>
                      <a:pt x="65" y="356"/>
                      <a:pt x="54" y="348"/>
                      <a:pt x="52" y="344"/>
                    </a:cubicBezTo>
                    <a:cubicBezTo>
                      <a:pt x="49" y="336"/>
                      <a:pt x="53" y="325"/>
                      <a:pt x="53" y="323"/>
                    </a:cubicBezTo>
                    <a:cubicBezTo>
                      <a:pt x="52" y="323"/>
                      <a:pt x="43" y="305"/>
                      <a:pt x="43" y="305"/>
                    </a:cubicBezTo>
                    <a:cubicBezTo>
                      <a:pt x="42" y="304"/>
                      <a:pt x="45" y="305"/>
                      <a:pt x="46" y="305"/>
                    </a:cubicBezTo>
                    <a:cubicBezTo>
                      <a:pt x="51" y="307"/>
                      <a:pt x="54" y="308"/>
                      <a:pt x="59" y="309"/>
                    </a:cubicBezTo>
                    <a:cubicBezTo>
                      <a:pt x="72" y="312"/>
                      <a:pt x="75" y="313"/>
                      <a:pt x="82" y="300"/>
                    </a:cubicBezTo>
                    <a:cubicBezTo>
                      <a:pt x="90" y="284"/>
                      <a:pt x="81" y="290"/>
                      <a:pt x="80" y="278"/>
                    </a:cubicBezTo>
                    <a:cubicBezTo>
                      <a:pt x="78" y="267"/>
                      <a:pt x="96" y="272"/>
                      <a:pt x="96" y="265"/>
                    </a:cubicBezTo>
                    <a:cubicBezTo>
                      <a:pt x="97" y="259"/>
                      <a:pt x="90" y="264"/>
                      <a:pt x="94" y="257"/>
                    </a:cubicBezTo>
                    <a:cubicBezTo>
                      <a:pt x="94" y="256"/>
                      <a:pt x="97" y="256"/>
                      <a:pt x="97" y="254"/>
                    </a:cubicBezTo>
                    <a:cubicBezTo>
                      <a:pt x="99" y="250"/>
                      <a:pt x="99" y="246"/>
                      <a:pt x="99" y="242"/>
                    </a:cubicBezTo>
                    <a:cubicBezTo>
                      <a:pt x="100" y="238"/>
                      <a:pt x="103" y="233"/>
                      <a:pt x="103" y="229"/>
                    </a:cubicBezTo>
                    <a:cubicBezTo>
                      <a:pt x="98" y="215"/>
                      <a:pt x="98" y="215"/>
                      <a:pt x="98" y="215"/>
                    </a:cubicBezTo>
                    <a:cubicBezTo>
                      <a:pt x="99" y="214"/>
                      <a:pt x="103" y="217"/>
                      <a:pt x="106" y="216"/>
                    </a:cubicBezTo>
                    <a:cubicBezTo>
                      <a:pt x="118" y="203"/>
                      <a:pt x="118" y="203"/>
                      <a:pt x="118" y="203"/>
                    </a:cubicBezTo>
                    <a:cubicBezTo>
                      <a:pt x="126" y="199"/>
                      <a:pt x="142" y="198"/>
                      <a:pt x="146" y="186"/>
                    </a:cubicBezTo>
                    <a:cubicBezTo>
                      <a:pt x="150" y="175"/>
                      <a:pt x="135" y="176"/>
                      <a:pt x="131" y="175"/>
                    </a:cubicBezTo>
                    <a:cubicBezTo>
                      <a:pt x="128" y="175"/>
                      <a:pt x="133" y="153"/>
                      <a:pt x="131" y="152"/>
                    </a:cubicBezTo>
                    <a:cubicBezTo>
                      <a:pt x="120" y="146"/>
                      <a:pt x="118" y="151"/>
                      <a:pt x="105" y="146"/>
                    </a:cubicBezTo>
                    <a:cubicBezTo>
                      <a:pt x="103" y="145"/>
                      <a:pt x="103" y="139"/>
                      <a:pt x="98" y="143"/>
                    </a:cubicBezTo>
                    <a:cubicBezTo>
                      <a:pt x="97" y="144"/>
                      <a:pt x="99" y="147"/>
                      <a:pt x="98" y="148"/>
                    </a:cubicBezTo>
                    <a:cubicBezTo>
                      <a:pt x="90" y="155"/>
                      <a:pt x="82" y="147"/>
                      <a:pt x="80" y="146"/>
                    </a:cubicBezTo>
                    <a:cubicBezTo>
                      <a:pt x="77" y="145"/>
                      <a:pt x="75" y="148"/>
                      <a:pt x="73" y="147"/>
                    </a:cubicBezTo>
                    <a:cubicBezTo>
                      <a:pt x="72" y="146"/>
                      <a:pt x="76" y="145"/>
                      <a:pt x="75" y="144"/>
                    </a:cubicBezTo>
                    <a:cubicBezTo>
                      <a:pt x="75" y="142"/>
                      <a:pt x="72" y="141"/>
                      <a:pt x="69" y="141"/>
                    </a:cubicBezTo>
                    <a:cubicBezTo>
                      <a:pt x="66" y="141"/>
                      <a:pt x="62" y="142"/>
                      <a:pt x="59" y="141"/>
                    </a:cubicBezTo>
                    <a:cubicBezTo>
                      <a:pt x="58" y="141"/>
                      <a:pt x="59" y="139"/>
                      <a:pt x="59" y="138"/>
                    </a:cubicBezTo>
                    <a:cubicBezTo>
                      <a:pt x="59" y="138"/>
                      <a:pt x="60" y="136"/>
                      <a:pt x="59" y="136"/>
                    </a:cubicBezTo>
                    <a:cubicBezTo>
                      <a:pt x="56" y="137"/>
                      <a:pt x="50" y="145"/>
                      <a:pt x="45" y="141"/>
                    </a:cubicBezTo>
                    <a:cubicBezTo>
                      <a:pt x="31" y="132"/>
                      <a:pt x="58" y="129"/>
                      <a:pt x="51" y="123"/>
                    </a:cubicBezTo>
                    <a:cubicBezTo>
                      <a:pt x="50" y="121"/>
                      <a:pt x="47" y="123"/>
                      <a:pt x="46" y="121"/>
                    </a:cubicBezTo>
                    <a:cubicBezTo>
                      <a:pt x="46" y="120"/>
                      <a:pt x="49" y="118"/>
                      <a:pt x="47" y="117"/>
                    </a:cubicBezTo>
                    <a:cubicBezTo>
                      <a:pt x="37" y="115"/>
                      <a:pt x="23" y="119"/>
                      <a:pt x="15" y="123"/>
                    </a:cubicBezTo>
                    <a:cubicBezTo>
                      <a:pt x="16" y="119"/>
                      <a:pt x="10" y="115"/>
                      <a:pt x="10" y="110"/>
                    </a:cubicBezTo>
                    <a:cubicBezTo>
                      <a:pt x="9" y="108"/>
                      <a:pt x="12" y="112"/>
                      <a:pt x="13" y="111"/>
                    </a:cubicBezTo>
                    <a:cubicBezTo>
                      <a:pt x="15" y="111"/>
                      <a:pt x="12" y="108"/>
                      <a:pt x="13" y="107"/>
                    </a:cubicBezTo>
                    <a:cubicBezTo>
                      <a:pt x="14" y="102"/>
                      <a:pt x="23" y="104"/>
                      <a:pt x="26" y="100"/>
                    </a:cubicBezTo>
                    <a:cubicBezTo>
                      <a:pt x="28" y="100"/>
                      <a:pt x="30" y="97"/>
                      <a:pt x="28" y="98"/>
                    </a:cubicBezTo>
                    <a:cubicBezTo>
                      <a:pt x="25" y="98"/>
                      <a:pt x="21" y="102"/>
                      <a:pt x="18" y="102"/>
                    </a:cubicBezTo>
                    <a:cubicBezTo>
                      <a:pt x="15" y="103"/>
                      <a:pt x="14" y="98"/>
                      <a:pt x="16" y="95"/>
                    </a:cubicBezTo>
                    <a:cubicBezTo>
                      <a:pt x="20" y="93"/>
                      <a:pt x="27" y="95"/>
                      <a:pt x="28" y="91"/>
                    </a:cubicBezTo>
                    <a:cubicBezTo>
                      <a:pt x="29" y="87"/>
                      <a:pt x="21" y="92"/>
                      <a:pt x="18" y="91"/>
                    </a:cubicBezTo>
                    <a:cubicBezTo>
                      <a:pt x="16" y="90"/>
                      <a:pt x="14" y="87"/>
                      <a:pt x="13" y="85"/>
                    </a:cubicBezTo>
                    <a:cubicBezTo>
                      <a:pt x="13" y="79"/>
                      <a:pt x="19" y="86"/>
                      <a:pt x="19" y="86"/>
                    </a:cubicBezTo>
                    <a:cubicBezTo>
                      <a:pt x="20" y="83"/>
                      <a:pt x="19" y="81"/>
                      <a:pt x="21" y="78"/>
                    </a:cubicBezTo>
                    <a:cubicBezTo>
                      <a:pt x="23" y="76"/>
                      <a:pt x="28" y="75"/>
                      <a:pt x="28" y="72"/>
                    </a:cubicBezTo>
                    <a:cubicBezTo>
                      <a:pt x="31" y="44"/>
                      <a:pt x="8" y="76"/>
                      <a:pt x="4" y="48"/>
                    </a:cubicBezTo>
                    <a:cubicBezTo>
                      <a:pt x="0" y="30"/>
                      <a:pt x="16" y="35"/>
                      <a:pt x="17" y="33"/>
                    </a:cubicBezTo>
                    <a:cubicBezTo>
                      <a:pt x="17" y="31"/>
                      <a:pt x="12" y="33"/>
                      <a:pt x="11" y="31"/>
                    </a:cubicBezTo>
                    <a:cubicBezTo>
                      <a:pt x="10" y="30"/>
                      <a:pt x="12" y="29"/>
                      <a:pt x="13" y="29"/>
                    </a:cubicBezTo>
                    <a:cubicBezTo>
                      <a:pt x="19" y="28"/>
                      <a:pt x="23" y="30"/>
                      <a:pt x="27" y="29"/>
                    </a:cubicBezTo>
                    <a:cubicBezTo>
                      <a:pt x="42" y="28"/>
                      <a:pt x="62" y="16"/>
                      <a:pt x="75" y="10"/>
                    </a:cubicBezTo>
                    <a:cubicBezTo>
                      <a:pt x="80" y="8"/>
                      <a:pt x="86" y="0"/>
                      <a:pt x="91" y="4"/>
                    </a:cubicBezTo>
                    <a:cubicBezTo>
                      <a:pt x="93" y="5"/>
                      <a:pt x="88" y="12"/>
                      <a:pt x="90" y="13"/>
                    </a:cubicBezTo>
                    <a:cubicBezTo>
                      <a:pt x="95" y="13"/>
                      <a:pt x="98" y="5"/>
                      <a:pt x="102" y="5"/>
                    </a:cubicBezTo>
                    <a:cubicBezTo>
                      <a:pt x="118" y="5"/>
                      <a:pt x="116" y="32"/>
                      <a:pt x="131" y="35"/>
                    </a:cubicBezTo>
                    <a:cubicBezTo>
                      <a:pt x="133" y="36"/>
                      <a:pt x="135" y="30"/>
                      <a:pt x="137" y="30"/>
                    </a:cubicBezTo>
                    <a:cubicBezTo>
                      <a:pt x="153" y="34"/>
                      <a:pt x="145" y="35"/>
                      <a:pt x="161" y="37"/>
                    </a:cubicBezTo>
                    <a:cubicBezTo>
                      <a:pt x="165" y="38"/>
                      <a:pt x="172" y="36"/>
                      <a:pt x="175" y="37"/>
                    </a:cubicBezTo>
                    <a:cubicBezTo>
                      <a:pt x="179" y="38"/>
                      <a:pt x="180" y="41"/>
                      <a:pt x="184" y="41"/>
                    </a:cubicBezTo>
                    <a:cubicBezTo>
                      <a:pt x="188" y="41"/>
                      <a:pt x="192" y="35"/>
                      <a:pt x="197" y="37"/>
                    </a:cubicBezTo>
                    <a:cubicBezTo>
                      <a:pt x="201" y="38"/>
                      <a:pt x="201" y="44"/>
                      <a:pt x="205" y="47"/>
                    </a:cubicBezTo>
                    <a:cubicBezTo>
                      <a:pt x="208" y="50"/>
                      <a:pt x="215" y="47"/>
                      <a:pt x="218" y="50"/>
                    </a:cubicBezTo>
                    <a:cubicBezTo>
                      <a:pt x="219" y="51"/>
                      <a:pt x="216" y="53"/>
                      <a:pt x="217" y="53"/>
                    </a:cubicBezTo>
                    <a:cubicBezTo>
                      <a:pt x="218" y="55"/>
                      <a:pt x="222" y="51"/>
                      <a:pt x="223" y="52"/>
                    </a:cubicBezTo>
                    <a:cubicBezTo>
                      <a:pt x="238" y="62"/>
                      <a:pt x="274" y="80"/>
                      <a:pt x="293" y="74"/>
                    </a:cubicBezTo>
                    <a:cubicBezTo>
                      <a:pt x="294" y="74"/>
                      <a:pt x="294" y="72"/>
                      <a:pt x="295" y="71"/>
                    </a:cubicBezTo>
                    <a:cubicBezTo>
                      <a:pt x="298" y="70"/>
                      <a:pt x="300" y="71"/>
                      <a:pt x="302" y="71"/>
                    </a:cubicBezTo>
                    <a:cubicBezTo>
                      <a:pt x="307" y="72"/>
                      <a:pt x="318" y="70"/>
                      <a:pt x="322" y="77"/>
                    </a:cubicBezTo>
                    <a:cubicBezTo>
                      <a:pt x="322" y="78"/>
                      <a:pt x="321" y="79"/>
                      <a:pt x="321" y="80"/>
                    </a:cubicBezTo>
                    <a:cubicBezTo>
                      <a:pt x="325" y="81"/>
                      <a:pt x="338" y="93"/>
                      <a:pt x="342" y="93"/>
                    </a:cubicBezTo>
                    <a:cubicBezTo>
                      <a:pt x="344" y="93"/>
                      <a:pt x="341" y="89"/>
                      <a:pt x="342" y="87"/>
                    </a:cubicBezTo>
                    <a:cubicBezTo>
                      <a:pt x="343" y="86"/>
                      <a:pt x="346" y="85"/>
                      <a:pt x="348" y="85"/>
                    </a:cubicBezTo>
                    <a:cubicBezTo>
                      <a:pt x="364" y="82"/>
                      <a:pt x="354" y="84"/>
                      <a:pt x="360" y="92"/>
                    </a:cubicBezTo>
                    <a:cubicBezTo>
                      <a:pt x="363" y="94"/>
                      <a:pt x="367" y="91"/>
                      <a:pt x="369" y="93"/>
                    </a:cubicBezTo>
                    <a:cubicBezTo>
                      <a:pt x="373" y="94"/>
                      <a:pt x="374" y="98"/>
                      <a:pt x="377" y="100"/>
                    </a:cubicBezTo>
                    <a:cubicBezTo>
                      <a:pt x="385" y="104"/>
                      <a:pt x="400" y="103"/>
                      <a:pt x="411" y="100"/>
                    </a:cubicBezTo>
                    <a:cubicBezTo>
                      <a:pt x="415" y="104"/>
                      <a:pt x="421" y="109"/>
                      <a:pt x="421" y="109"/>
                    </a:cubicBezTo>
                    <a:cubicBezTo>
                      <a:pt x="422" y="110"/>
                      <a:pt x="421" y="107"/>
                      <a:pt x="422" y="107"/>
                    </a:cubicBezTo>
                    <a:cubicBezTo>
                      <a:pt x="425" y="108"/>
                      <a:pt x="428" y="109"/>
                      <a:pt x="430" y="111"/>
                    </a:cubicBezTo>
                    <a:cubicBezTo>
                      <a:pt x="435" y="117"/>
                      <a:pt x="419" y="124"/>
                      <a:pt x="426" y="127"/>
                    </a:cubicBezTo>
                    <a:cubicBezTo>
                      <a:pt x="429" y="128"/>
                      <a:pt x="433" y="122"/>
                      <a:pt x="434" y="123"/>
                    </a:cubicBezTo>
                    <a:cubicBezTo>
                      <a:pt x="434" y="124"/>
                      <a:pt x="433" y="127"/>
                      <a:pt x="434" y="128"/>
                    </a:cubicBezTo>
                    <a:cubicBezTo>
                      <a:pt x="442" y="136"/>
                      <a:pt x="454" y="133"/>
                      <a:pt x="462" y="138"/>
                    </a:cubicBezTo>
                    <a:cubicBezTo>
                      <a:pt x="462" y="139"/>
                      <a:pt x="468" y="152"/>
                      <a:pt x="468" y="152"/>
                    </a:cubicBezTo>
                    <a:cubicBezTo>
                      <a:pt x="476" y="158"/>
                      <a:pt x="483" y="147"/>
                      <a:pt x="491" y="154"/>
                    </a:cubicBezTo>
                    <a:cubicBezTo>
                      <a:pt x="495" y="158"/>
                      <a:pt x="492" y="165"/>
                      <a:pt x="500" y="165"/>
                    </a:cubicBezTo>
                    <a:cubicBezTo>
                      <a:pt x="503" y="166"/>
                      <a:pt x="505" y="162"/>
                      <a:pt x="509" y="163"/>
                    </a:cubicBezTo>
                    <a:cubicBezTo>
                      <a:pt x="512" y="163"/>
                      <a:pt x="514" y="167"/>
                      <a:pt x="517" y="168"/>
                    </a:cubicBezTo>
                    <a:cubicBezTo>
                      <a:pt x="519" y="168"/>
                      <a:pt x="519" y="164"/>
                      <a:pt x="520" y="164"/>
                    </a:cubicBezTo>
                    <a:cubicBezTo>
                      <a:pt x="526" y="164"/>
                      <a:pt x="531" y="168"/>
                      <a:pt x="537" y="169"/>
                    </a:cubicBezTo>
                    <a:cubicBezTo>
                      <a:pt x="537" y="169"/>
                      <a:pt x="535" y="156"/>
                      <a:pt x="541" y="157"/>
                    </a:cubicBezTo>
                    <a:cubicBezTo>
                      <a:pt x="551" y="159"/>
                      <a:pt x="557" y="166"/>
                      <a:pt x="563" y="171"/>
                    </a:cubicBezTo>
                    <a:cubicBezTo>
                      <a:pt x="563" y="172"/>
                      <a:pt x="565" y="171"/>
                      <a:pt x="566" y="171"/>
                    </a:cubicBezTo>
                    <a:cubicBezTo>
                      <a:pt x="569" y="172"/>
                      <a:pt x="572" y="172"/>
                      <a:pt x="574" y="173"/>
                    </a:cubicBezTo>
                    <a:cubicBezTo>
                      <a:pt x="577" y="176"/>
                      <a:pt x="575" y="181"/>
                      <a:pt x="578" y="182"/>
                    </a:cubicBezTo>
                    <a:cubicBezTo>
                      <a:pt x="578" y="183"/>
                      <a:pt x="578" y="183"/>
                      <a:pt x="578" y="183"/>
                    </a:cubicBezTo>
                    <a:cubicBezTo>
                      <a:pt x="575" y="189"/>
                      <a:pt x="574" y="197"/>
                      <a:pt x="592" y="192"/>
                    </a:cubicBezTo>
                    <a:close/>
                    <a:moveTo>
                      <a:pt x="99" y="610"/>
                    </a:moveTo>
                    <a:cubicBezTo>
                      <a:pt x="103" y="627"/>
                      <a:pt x="103" y="627"/>
                      <a:pt x="103" y="627"/>
                    </a:cubicBezTo>
                    <a:cubicBezTo>
                      <a:pt x="115" y="627"/>
                      <a:pt x="115" y="627"/>
                      <a:pt x="115" y="627"/>
                    </a:cubicBezTo>
                    <a:cubicBezTo>
                      <a:pt x="115" y="625"/>
                      <a:pt x="115" y="624"/>
                      <a:pt x="115" y="622"/>
                    </a:cubicBezTo>
                    <a:cubicBezTo>
                      <a:pt x="114" y="619"/>
                      <a:pt x="113" y="615"/>
                      <a:pt x="114" y="612"/>
                    </a:cubicBezTo>
                    <a:cubicBezTo>
                      <a:pt x="115" y="610"/>
                      <a:pt x="120" y="610"/>
                      <a:pt x="119" y="608"/>
                    </a:cubicBezTo>
                    <a:cubicBezTo>
                      <a:pt x="116" y="600"/>
                      <a:pt x="100" y="610"/>
                      <a:pt x="99" y="610"/>
                    </a:cubicBezTo>
                    <a:close/>
                    <a:moveTo>
                      <a:pt x="245" y="679"/>
                    </a:moveTo>
                    <a:cubicBezTo>
                      <a:pt x="253" y="684"/>
                      <a:pt x="253" y="684"/>
                      <a:pt x="253" y="684"/>
                    </a:cubicBezTo>
                    <a:cubicBezTo>
                      <a:pt x="253" y="679"/>
                      <a:pt x="255" y="674"/>
                      <a:pt x="254" y="669"/>
                    </a:cubicBezTo>
                    <a:cubicBezTo>
                      <a:pt x="253" y="665"/>
                      <a:pt x="248" y="676"/>
                      <a:pt x="245" y="679"/>
                    </a:cubicBezTo>
                    <a:close/>
                    <a:moveTo>
                      <a:pt x="256" y="683"/>
                    </a:moveTo>
                    <a:cubicBezTo>
                      <a:pt x="257" y="682"/>
                      <a:pt x="257" y="682"/>
                      <a:pt x="257" y="682"/>
                    </a:cubicBezTo>
                    <a:cubicBezTo>
                      <a:pt x="256" y="682"/>
                      <a:pt x="256" y="682"/>
                      <a:pt x="256" y="683"/>
                    </a:cubicBezTo>
                    <a:cubicBezTo>
                      <a:pt x="256" y="683"/>
                      <a:pt x="256" y="683"/>
                      <a:pt x="256" y="683"/>
                    </a:cubicBezTo>
                    <a:close/>
                    <a:moveTo>
                      <a:pt x="655" y="386"/>
                    </a:moveTo>
                    <a:cubicBezTo>
                      <a:pt x="646" y="415"/>
                      <a:pt x="656" y="395"/>
                      <a:pt x="670" y="407"/>
                    </a:cubicBezTo>
                    <a:cubicBezTo>
                      <a:pt x="674" y="410"/>
                      <a:pt x="645" y="438"/>
                      <a:pt x="643" y="437"/>
                    </a:cubicBezTo>
                    <a:cubicBezTo>
                      <a:pt x="640" y="437"/>
                      <a:pt x="641" y="431"/>
                      <a:pt x="638" y="429"/>
                    </a:cubicBezTo>
                    <a:cubicBezTo>
                      <a:pt x="630" y="424"/>
                      <a:pt x="629" y="433"/>
                      <a:pt x="626" y="425"/>
                    </a:cubicBezTo>
                    <a:cubicBezTo>
                      <a:pt x="625" y="421"/>
                      <a:pt x="626" y="416"/>
                      <a:pt x="623" y="413"/>
                    </a:cubicBezTo>
                    <a:cubicBezTo>
                      <a:pt x="621" y="411"/>
                      <a:pt x="618" y="415"/>
                      <a:pt x="615" y="414"/>
                    </a:cubicBezTo>
                    <a:cubicBezTo>
                      <a:pt x="612" y="414"/>
                      <a:pt x="608" y="412"/>
                      <a:pt x="604" y="410"/>
                    </a:cubicBezTo>
                    <a:cubicBezTo>
                      <a:pt x="604" y="409"/>
                      <a:pt x="605" y="408"/>
                      <a:pt x="605" y="408"/>
                    </a:cubicBezTo>
                    <a:cubicBezTo>
                      <a:pt x="619" y="397"/>
                      <a:pt x="637" y="390"/>
                      <a:pt x="655" y="386"/>
                    </a:cubicBezTo>
                    <a:close/>
                    <a:moveTo>
                      <a:pt x="714" y="387"/>
                    </a:moveTo>
                    <a:cubicBezTo>
                      <a:pt x="727" y="420"/>
                      <a:pt x="712" y="397"/>
                      <a:pt x="704" y="393"/>
                    </a:cubicBezTo>
                    <a:cubicBezTo>
                      <a:pt x="700" y="392"/>
                      <a:pt x="696" y="395"/>
                      <a:pt x="692" y="392"/>
                    </a:cubicBezTo>
                    <a:cubicBezTo>
                      <a:pt x="678" y="383"/>
                      <a:pt x="697" y="379"/>
                      <a:pt x="714" y="387"/>
                    </a:cubicBezTo>
                    <a:close/>
                    <a:moveTo>
                      <a:pt x="613" y="440"/>
                    </a:moveTo>
                    <a:cubicBezTo>
                      <a:pt x="610" y="443"/>
                      <a:pt x="605" y="443"/>
                      <a:pt x="605" y="446"/>
                    </a:cubicBezTo>
                    <a:cubicBezTo>
                      <a:pt x="605" y="448"/>
                      <a:pt x="607" y="453"/>
                      <a:pt x="610" y="453"/>
                    </a:cubicBezTo>
                    <a:cubicBezTo>
                      <a:pt x="613" y="453"/>
                      <a:pt x="615" y="453"/>
                      <a:pt x="620" y="449"/>
                    </a:cubicBezTo>
                    <a:cubicBezTo>
                      <a:pt x="625" y="445"/>
                      <a:pt x="620" y="442"/>
                      <a:pt x="620" y="442"/>
                    </a:cubicBezTo>
                    <a:cubicBezTo>
                      <a:pt x="614" y="440"/>
                      <a:pt x="614" y="440"/>
                      <a:pt x="614" y="440"/>
                    </a:cubicBezTo>
                    <a:lnTo>
                      <a:pt x="613" y="440"/>
                    </a:lnTo>
                    <a:close/>
                    <a:moveTo>
                      <a:pt x="600" y="423"/>
                    </a:moveTo>
                    <a:cubicBezTo>
                      <a:pt x="595" y="424"/>
                      <a:pt x="594" y="427"/>
                      <a:pt x="592" y="430"/>
                    </a:cubicBezTo>
                    <a:cubicBezTo>
                      <a:pt x="589" y="433"/>
                      <a:pt x="586" y="438"/>
                      <a:pt x="591" y="440"/>
                    </a:cubicBezTo>
                    <a:cubicBezTo>
                      <a:pt x="594" y="442"/>
                      <a:pt x="602" y="438"/>
                      <a:pt x="604" y="434"/>
                    </a:cubicBezTo>
                    <a:cubicBezTo>
                      <a:pt x="605" y="431"/>
                      <a:pt x="609" y="431"/>
                      <a:pt x="609" y="427"/>
                    </a:cubicBezTo>
                    <a:cubicBezTo>
                      <a:pt x="609" y="425"/>
                      <a:pt x="605" y="422"/>
                      <a:pt x="605" y="422"/>
                    </a:cubicBezTo>
                    <a:lnTo>
                      <a:pt x="600" y="423"/>
                    </a:lnTo>
                    <a:close/>
                  </a:path>
                </a:pathLst>
              </a:custGeom>
              <a:solidFill>
                <a:srgbClr val="405F9E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102" name="Belgium" descr="{&quot;Key&quot;:&quot;belgium&quot;,&quot;Name&quot;:&quot;Belgium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F81CD571-1218-8AF7-0C87-FEA84C3AA0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4801" y="4474498"/>
                <a:ext cx="305081" cy="281943"/>
              </a:xfrm>
              <a:custGeom>
                <a:avLst/>
                <a:gdLst>
                  <a:gd name="T0" fmla="*/ 146 w 182"/>
                  <a:gd name="T1" fmla="*/ 154 h 156"/>
                  <a:gd name="T2" fmla="*/ 140 w 182"/>
                  <a:gd name="T3" fmla="*/ 153 h 156"/>
                  <a:gd name="T4" fmla="*/ 129 w 182"/>
                  <a:gd name="T5" fmla="*/ 154 h 156"/>
                  <a:gd name="T6" fmla="*/ 127 w 182"/>
                  <a:gd name="T7" fmla="*/ 146 h 156"/>
                  <a:gd name="T8" fmla="*/ 121 w 182"/>
                  <a:gd name="T9" fmla="*/ 144 h 156"/>
                  <a:gd name="T10" fmla="*/ 123 w 182"/>
                  <a:gd name="T11" fmla="*/ 142 h 156"/>
                  <a:gd name="T12" fmla="*/ 121 w 182"/>
                  <a:gd name="T13" fmla="*/ 139 h 156"/>
                  <a:gd name="T14" fmla="*/ 118 w 182"/>
                  <a:gd name="T15" fmla="*/ 140 h 156"/>
                  <a:gd name="T16" fmla="*/ 113 w 182"/>
                  <a:gd name="T17" fmla="*/ 133 h 156"/>
                  <a:gd name="T18" fmla="*/ 101 w 182"/>
                  <a:gd name="T19" fmla="*/ 130 h 156"/>
                  <a:gd name="T20" fmla="*/ 103 w 182"/>
                  <a:gd name="T21" fmla="*/ 122 h 156"/>
                  <a:gd name="T22" fmla="*/ 99 w 182"/>
                  <a:gd name="T23" fmla="*/ 116 h 156"/>
                  <a:gd name="T24" fmla="*/ 102 w 182"/>
                  <a:gd name="T25" fmla="*/ 109 h 156"/>
                  <a:gd name="T26" fmla="*/ 104 w 182"/>
                  <a:gd name="T27" fmla="*/ 105 h 156"/>
                  <a:gd name="T28" fmla="*/ 93 w 182"/>
                  <a:gd name="T29" fmla="*/ 115 h 156"/>
                  <a:gd name="T30" fmla="*/ 68 w 182"/>
                  <a:gd name="T31" fmla="*/ 114 h 156"/>
                  <a:gd name="T32" fmla="*/ 73 w 182"/>
                  <a:gd name="T33" fmla="*/ 107 h 156"/>
                  <a:gd name="T34" fmla="*/ 69 w 182"/>
                  <a:gd name="T35" fmla="*/ 103 h 156"/>
                  <a:gd name="T36" fmla="*/ 73 w 182"/>
                  <a:gd name="T37" fmla="*/ 93 h 156"/>
                  <a:gd name="T38" fmla="*/ 48 w 182"/>
                  <a:gd name="T39" fmla="*/ 85 h 156"/>
                  <a:gd name="T40" fmla="*/ 48 w 182"/>
                  <a:gd name="T41" fmla="*/ 77 h 156"/>
                  <a:gd name="T42" fmla="*/ 31 w 182"/>
                  <a:gd name="T43" fmla="*/ 69 h 156"/>
                  <a:gd name="T44" fmla="*/ 24 w 182"/>
                  <a:gd name="T45" fmla="*/ 49 h 156"/>
                  <a:gd name="T46" fmla="*/ 14 w 182"/>
                  <a:gd name="T47" fmla="*/ 55 h 156"/>
                  <a:gd name="T48" fmla="*/ 0 w 182"/>
                  <a:gd name="T49" fmla="*/ 26 h 156"/>
                  <a:gd name="T50" fmla="*/ 0 w 182"/>
                  <a:gd name="T51" fmla="*/ 25 h 156"/>
                  <a:gd name="T52" fmla="*/ 39 w 182"/>
                  <a:gd name="T53" fmla="*/ 6 h 156"/>
                  <a:gd name="T54" fmla="*/ 40 w 182"/>
                  <a:gd name="T55" fmla="*/ 8 h 156"/>
                  <a:gd name="T56" fmla="*/ 60 w 182"/>
                  <a:gd name="T57" fmla="*/ 17 h 156"/>
                  <a:gd name="T58" fmla="*/ 60 w 182"/>
                  <a:gd name="T59" fmla="*/ 21 h 156"/>
                  <a:gd name="T60" fmla="*/ 76 w 182"/>
                  <a:gd name="T61" fmla="*/ 14 h 156"/>
                  <a:gd name="T62" fmla="*/ 84 w 182"/>
                  <a:gd name="T63" fmla="*/ 19 h 156"/>
                  <a:gd name="T64" fmla="*/ 84 w 182"/>
                  <a:gd name="T65" fmla="*/ 13 h 156"/>
                  <a:gd name="T66" fmla="*/ 89 w 182"/>
                  <a:gd name="T67" fmla="*/ 13 h 156"/>
                  <a:gd name="T68" fmla="*/ 96 w 182"/>
                  <a:gd name="T69" fmla="*/ 4 h 156"/>
                  <a:gd name="T70" fmla="*/ 95 w 182"/>
                  <a:gd name="T71" fmla="*/ 8 h 156"/>
                  <a:gd name="T72" fmla="*/ 109 w 182"/>
                  <a:gd name="T73" fmla="*/ 4 h 156"/>
                  <a:gd name="T74" fmla="*/ 106 w 182"/>
                  <a:gd name="T75" fmla="*/ 10 h 156"/>
                  <a:gd name="T76" fmla="*/ 118 w 182"/>
                  <a:gd name="T77" fmla="*/ 6 h 156"/>
                  <a:gd name="T78" fmla="*/ 126 w 182"/>
                  <a:gd name="T79" fmla="*/ 23 h 156"/>
                  <a:gd name="T80" fmla="*/ 155 w 182"/>
                  <a:gd name="T81" fmla="*/ 33 h 156"/>
                  <a:gd name="T82" fmla="*/ 152 w 182"/>
                  <a:gd name="T83" fmla="*/ 37 h 156"/>
                  <a:gd name="T84" fmla="*/ 147 w 182"/>
                  <a:gd name="T85" fmla="*/ 46 h 156"/>
                  <a:gd name="T86" fmla="*/ 149 w 182"/>
                  <a:gd name="T87" fmla="*/ 48 h 156"/>
                  <a:gd name="T88" fmla="*/ 146 w 182"/>
                  <a:gd name="T89" fmla="*/ 53 h 156"/>
                  <a:gd name="T90" fmla="*/ 160 w 182"/>
                  <a:gd name="T91" fmla="*/ 63 h 156"/>
                  <a:gd name="T92" fmla="*/ 161 w 182"/>
                  <a:gd name="T93" fmla="*/ 63 h 156"/>
                  <a:gd name="T94" fmla="*/ 167 w 182"/>
                  <a:gd name="T95" fmla="*/ 73 h 156"/>
                  <a:gd name="T96" fmla="*/ 172 w 182"/>
                  <a:gd name="T97" fmla="*/ 74 h 156"/>
                  <a:gd name="T98" fmla="*/ 168 w 182"/>
                  <a:gd name="T99" fmla="*/ 81 h 156"/>
                  <a:gd name="T100" fmla="*/ 176 w 182"/>
                  <a:gd name="T101" fmla="*/ 86 h 156"/>
                  <a:gd name="T102" fmla="*/ 163 w 182"/>
                  <a:gd name="T103" fmla="*/ 109 h 156"/>
                  <a:gd name="T104" fmla="*/ 143 w 182"/>
                  <a:gd name="T105" fmla="*/ 126 h 156"/>
                  <a:gd name="T106" fmla="*/ 146 w 182"/>
                  <a:gd name="T107" fmla="*/ 152 h 156"/>
                  <a:gd name="T108" fmla="*/ 146 w 182"/>
                  <a:gd name="T109" fmla="*/ 154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82" h="156">
                    <a:moveTo>
                      <a:pt x="146" y="154"/>
                    </a:moveTo>
                    <a:cubicBezTo>
                      <a:pt x="144" y="153"/>
                      <a:pt x="142" y="153"/>
                      <a:pt x="140" y="153"/>
                    </a:cubicBezTo>
                    <a:cubicBezTo>
                      <a:pt x="136" y="152"/>
                      <a:pt x="133" y="156"/>
                      <a:pt x="129" y="154"/>
                    </a:cubicBezTo>
                    <a:cubicBezTo>
                      <a:pt x="126" y="153"/>
                      <a:pt x="129" y="148"/>
                      <a:pt x="127" y="146"/>
                    </a:cubicBezTo>
                    <a:cubicBezTo>
                      <a:pt x="126" y="144"/>
                      <a:pt x="123" y="145"/>
                      <a:pt x="121" y="144"/>
                    </a:cubicBezTo>
                    <a:cubicBezTo>
                      <a:pt x="121" y="144"/>
                      <a:pt x="123" y="142"/>
                      <a:pt x="123" y="142"/>
                    </a:cubicBezTo>
                    <a:cubicBezTo>
                      <a:pt x="123" y="141"/>
                      <a:pt x="122" y="140"/>
                      <a:pt x="121" y="139"/>
                    </a:cubicBezTo>
                    <a:cubicBezTo>
                      <a:pt x="120" y="139"/>
                      <a:pt x="118" y="141"/>
                      <a:pt x="118" y="140"/>
                    </a:cubicBezTo>
                    <a:cubicBezTo>
                      <a:pt x="116" y="139"/>
                      <a:pt x="115" y="135"/>
                      <a:pt x="113" y="133"/>
                    </a:cubicBezTo>
                    <a:cubicBezTo>
                      <a:pt x="109" y="132"/>
                      <a:pt x="103" y="133"/>
                      <a:pt x="101" y="130"/>
                    </a:cubicBezTo>
                    <a:cubicBezTo>
                      <a:pt x="99" y="128"/>
                      <a:pt x="103" y="124"/>
                      <a:pt x="103" y="122"/>
                    </a:cubicBezTo>
                    <a:cubicBezTo>
                      <a:pt x="103" y="119"/>
                      <a:pt x="99" y="119"/>
                      <a:pt x="99" y="116"/>
                    </a:cubicBezTo>
                    <a:cubicBezTo>
                      <a:pt x="99" y="114"/>
                      <a:pt x="101" y="111"/>
                      <a:pt x="102" y="109"/>
                    </a:cubicBezTo>
                    <a:cubicBezTo>
                      <a:pt x="103" y="107"/>
                      <a:pt x="105" y="106"/>
                      <a:pt x="104" y="105"/>
                    </a:cubicBezTo>
                    <a:cubicBezTo>
                      <a:pt x="100" y="101"/>
                      <a:pt x="97" y="111"/>
                      <a:pt x="93" y="115"/>
                    </a:cubicBezTo>
                    <a:cubicBezTo>
                      <a:pt x="85" y="122"/>
                      <a:pt x="66" y="118"/>
                      <a:pt x="68" y="114"/>
                    </a:cubicBezTo>
                    <a:cubicBezTo>
                      <a:pt x="70" y="111"/>
                      <a:pt x="73" y="110"/>
                      <a:pt x="73" y="107"/>
                    </a:cubicBezTo>
                    <a:cubicBezTo>
                      <a:pt x="73" y="105"/>
                      <a:pt x="68" y="105"/>
                      <a:pt x="69" y="103"/>
                    </a:cubicBezTo>
                    <a:cubicBezTo>
                      <a:pt x="69" y="99"/>
                      <a:pt x="73" y="97"/>
                      <a:pt x="73" y="93"/>
                    </a:cubicBezTo>
                    <a:cubicBezTo>
                      <a:pt x="72" y="84"/>
                      <a:pt x="49" y="89"/>
                      <a:pt x="48" y="85"/>
                    </a:cubicBezTo>
                    <a:cubicBezTo>
                      <a:pt x="47" y="83"/>
                      <a:pt x="49" y="80"/>
                      <a:pt x="48" y="77"/>
                    </a:cubicBezTo>
                    <a:cubicBezTo>
                      <a:pt x="47" y="68"/>
                      <a:pt x="34" y="77"/>
                      <a:pt x="31" y="69"/>
                    </a:cubicBezTo>
                    <a:cubicBezTo>
                      <a:pt x="28" y="65"/>
                      <a:pt x="32" y="52"/>
                      <a:pt x="24" y="49"/>
                    </a:cubicBezTo>
                    <a:cubicBezTo>
                      <a:pt x="21" y="47"/>
                      <a:pt x="18" y="55"/>
                      <a:pt x="14" y="55"/>
                    </a:cubicBezTo>
                    <a:cubicBezTo>
                      <a:pt x="1" y="55"/>
                      <a:pt x="1" y="34"/>
                      <a:pt x="0" y="26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10" y="23"/>
                      <a:pt x="26" y="10"/>
                      <a:pt x="39" y="6"/>
                    </a:cubicBezTo>
                    <a:cubicBezTo>
                      <a:pt x="40" y="8"/>
                      <a:pt x="40" y="8"/>
                      <a:pt x="40" y="8"/>
                    </a:cubicBezTo>
                    <a:cubicBezTo>
                      <a:pt x="39" y="23"/>
                      <a:pt x="51" y="13"/>
                      <a:pt x="60" y="17"/>
                    </a:cubicBezTo>
                    <a:cubicBezTo>
                      <a:pt x="61" y="18"/>
                      <a:pt x="58" y="20"/>
                      <a:pt x="60" y="21"/>
                    </a:cubicBezTo>
                    <a:cubicBezTo>
                      <a:pt x="66" y="26"/>
                      <a:pt x="72" y="18"/>
                      <a:pt x="76" y="14"/>
                    </a:cubicBezTo>
                    <a:cubicBezTo>
                      <a:pt x="80" y="17"/>
                      <a:pt x="83" y="19"/>
                      <a:pt x="84" y="19"/>
                    </a:cubicBezTo>
                    <a:cubicBezTo>
                      <a:pt x="86" y="17"/>
                      <a:pt x="86" y="15"/>
                      <a:pt x="84" y="13"/>
                    </a:cubicBezTo>
                    <a:cubicBezTo>
                      <a:pt x="86" y="13"/>
                      <a:pt x="87" y="14"/>
                      <a:pt x="89" y="13"/>
                    </a:cubicBezTo>
                    <a:cubicBezTo>
                      <a:pt x="93" y="13"/>
                      <a:pt x="82" y="0"/>
                      <a:pt x="96" y="4"/>
                    </a:cubicBezTo>
                    <a:cubicBezTo>
                      <a:pt x="97" y="4"/>
                      <a:pt x="95" y="7"/>
                      <a:pt x="95" y="8"/>
                    </a:cubicBezTo>
                    <a:cubicBezTo>
                      <a:pt x="102" y="13"/>
                      <a:pt x="104" y="0"/>
                      <a:pt x="109" y="4"/>
                    </a:cubicBezTo>
                    <a:cubicBezTo>
                      <a:pt x="110" y="6"/>
                      <a:pt x="104" y="9"/>
                      <a:pt x="106" y="10"/>
                    </a:cubicBezTo>
                    <a:cubicBezTo>
                      <a:pt x="119" y="17"/>
                      <a:pt x="108" y="8"/>
                      <a:pt x="118" y="6"/>
                    </a:cubicBezTo>
                    <a:cubicBezTo>
                      <a:pt x="119" y="6"/>
                      <a:pt x="122" y="22"/>
                      <a:pt x="126" y="23"/>
                    </a:cubicBezTo>
                    <a:cubicBezTo>
                      <a:pt x="135" y="24"/>
                      <a:pt x="147" y="24"/>
                      <a:pt x="155" y="33"/>
                    </a:cubicBezTo>
                    <a:cubicBezTo>
                      <a:pt x="155" y="34"/>
                      <a:pt x="152" y="36"/>
                      <a:pt x="152" y="37"/>
                    </a:cubicBezTo>
                    <a:cubicBezTo>
                      <a:pt x="151" y="40"/>
                      <a:pt x="148" y="43"/>
                      <a:pt x="147" y="46"/>
                    </a:cubicBezTo>
                    <a:cubicBezTo>
                      <a:pt x="147" y="47"/>
                      <a:pt x="150" y="47"/>
                      <a:pt x="149" y="48"/>
                    </a:cubicBezTo>
                    <a:cubicBezTo>
                      <a:pt x="149" y="50"/>
                      <a:pt x="146" y="50"/>
                      <a:pt x="146" y="53"/>
                    </a:cubicBezTo>
                    <a:cubicBezTo>
                      <a:pt x="142" y="67"/>
                      <a:pt x="151" y="63"/>
                      <a:pt x="160" y="63"/>
                    </a:cubicBezTo>
                    <a:cubicBezTo>
                      <a:pt x="161" y="63"/>
                      <a:pt x="161" y="63"/>
                      <a:pt x="161" y="63"/>
                    </a:cubicBezTo>
                    <a:cubicBezTo>
                      <a:pt x="163" y="67"/>
                      <a:pt x="166" y="73"/>
                      <a:pt x="167" y="73"/>
                    </a:cubicBezTo>
                    <a:cubicBezTo>
                      <a:pt x="168" y="75"/>
                      <a:pt x="172" y="72"/>
                      <a:pt x="172" y="74"/>
                    </a:cubicBezTo>
                    <a:cubicBezTo>
                      <a:pt x="172" y="76"/>
                      <a:pt x="168" y="79"/>
                      <a:pt x="168" y="81"/>
                    </a:cubicBezTo>
                    <a:cubicBezTo>
                      <a:pt x="169" y="84"/>
                      <a:pt x="174" y="84"/>
                      <a:pt x="176" y="86"/>
                    </a:cubicBezTo>
                    <a:cubicBezTo>
                      <a:pt x="182" y="97"/>
                      <a:pt x="167" y="98"/>
                      <a:pt x="163" y="109"/>
                    </a:cubicBezTo>
                    <a:cubicBezTo>
                      <a:pt x="157" y="98"/>
                      <a:pt x="146" y="119"/>
                      <a:pt x="143" y="126"/>
                    </a:cubicBezTo>
                    <a:cubicBezTo>
                      <a:pt x="142" y="131"/>
                      <a:pt x="159" y="153"/>
                      <a:pt x="146" y="152"/>
                    </a:cubicBezTo>
                    <a:lnTo>
                      <a:pt x="146" y="154"/>
                    </a:lnTo>
                    <a:close/>
                  </a:path>
                </a:pathLst>
              </a:custGeom>
              <a:solidFill>
                <a:srgbClr val="405F9E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103" name="Belarus" descr="{&quot;Key&quot;:&quot;belarus&quot;,&quot;Name&quot;:&quot;Belarus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E8E9BD27-BBF2-3CEB-398D-4386573D91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59822" y="3686020"/>
                <a:ext cx="684209" cy="700870"/>
              </a:xfrm>
              <a:custGeom>
                <a:avLst/>
                <a:gdLst>
                  <a:gd name="T0" fmla="*/ 46 w 409"/>
                  <a:gd name="T1" fmla="*/ 378 h 389"/>
                  <a:gd name="T2" fmla="*/ 59 w 409"/>
                  <a:gd name="T3" fmla="*/ 381 h 389"/>
                  <a:gd name="T4" fmla="*/ 89 w 409"/>
                  <a:gd name="T5" fmla="*/ 352 h 389"/>
                  <a:gd name="T6" fmla="*/ 117 w 409"/>
                  <a:gd name="T7" fmla="*/ 342 h 389"/>
                  <a:gd name="T8" fmla="*/ 150 w 409"/>
                  <a:gd name="T9" fmla="*/ 336 h 389"/>
                  <a:gd name="T10" fmla="*/ 198 w 409"/>
                  <a:gd name="T11" fmla="*/ 335 h 389"/>
                  <a:gd name="T12" fmla="*/ 208 w 409"/>
                  <a:gd name="T13" fmla="*/ 341 h 389"/>
                  <a:gd name="T14" fmla="*/ 218 w 409"/>
                  <a:gd name="T15" fmla="*/ 341 h 389"/>
                  <a:gd name="T16" fmla="*/ 231 w 409"/>
                  <a:gd name="T17" fmla="*/ 350 h 389"/>
                  <a:gd name="T18" fmla="*/ 245 w 409"/>
                  <a:gd name="T19" fmla="*/ 339 h 389"/>
                  <a:gd name="T20" fmla="*/ 258 w 409"/>
                  <a:gd name="T21" fmla="*/ 338 h 389"/>
                  <a:gd name="T22" fmla="*/ 277 w 409"/>
                  <a:gd name="T23" fmla="*/ 342 h 389"/>
                  <a:gd name="T24" fmla="*/ 291 w 409"/>
                  <a:gd name="T25" fmla="*/ 321 h 389"/>
                  <a:gd name="T26" fmla="*/ 317 w 409"/>
                  <a:gd name="T27" fmla="*/ 324 h 389"/>
                  <a:gd name="T28" fmla="*/ 339 w 409"/>
                  <a:gd name="T29" fmla="*/ 319 h 389"/>
                  <a:gd name="T30" fmla="*/ 352 w 409"/>
                  <a:gd name="T31" fmla="*/ 307 h 389"/>
                  <a:gd name="T32" fmla="*/ 362 w 409"/>
                  <a:gd name="T33" fmla="*/ 265 h 389"/>
                  <a:gd name="T34" fmla="*/ 378 w 409"/>
                  <a:gd name="T35" fmla="*/ 258 h 389"/>
                  <a:gd name="T36" fmla="*/ 395 w 409"/>
                  <a:gd name="T37" fmla="*/ 248 h 389"/>
                  <a:gd name="T38" fmla="*/ 384 w 409"/>
                  <a:gd name="T39" fmla="*/ 236 h 389"/>
                  <a:gd name="T40" fmla="*/ 381 w 409"/>
                  <a:gd name="T41" fmla="*/ 223 h 389"/>
                  <a:gd name="T42" fmla="*/ 374 w 409"/>
                  <a:gd name="T43" fmla="*/ 210 h 389"/>
                  <a:gd name="T44" fmla="*/ 355 w 409"/>
                  <a:gd name="T45" fmla="*/ 180 h 389"/>
                  <a:gd name="T46" fmla="*/ 400 w 409"/>
                  <a:gd name="T47" fmla="*/ 159 h 389"/>
                  <a:gd name="T48" fmla="*/ 408 w 409"/>
                  <a:gd name="T49" fmla="*/ 151 h 389"/>
                  <a:gd name="T50" fmla="*/ 390 w 409"/>
                  <a:gd name="T51" fmla="*/ 137 h 389"/>
                  <a:gd name="T52" fmla="*/ 367 w 409"/>
                  <a:gd name="T53" fmla="*/ 129 h 389"/>
                  <a:gd name="T54" fmla="*/ 354 w 409"/>
                  <a:gd name="T55" fmla="*/ 112 h 389"/>
                  <a:gd name="T56" fmla="*/ 313 w 409"/>
                  <a:gd name="T57" fmla="*/ 92 h 389"/>
                  <a:gd name="T58" fmla="*/ 295 w 409"/>
                  <a:gd name="T59" fmla="*/ 74 h 389"/>
                  <a:gd name="T60" fmla="*/ 299 w 409"/>
                  <a:gd name="T61" fmla="*/ 53 h 389"/>
                  <a:gd name="T62" fmla="*/ 283 w 409"/>
                  <a:gd name="T63" fmla="*/ 15 h 389"/>
                  <a:gd name="T64" fmla="*/ 258 w 409"/>
                  <a:gd name="T65" fmla="*/ 6 h 389"/>
                  <a:gd name="T66" fmla="*/ 236 w 409"/>
                  <a:gd name="T67" fmla="*/ 9 h 389"/>
                  <a:gd name="T68" fmla="*/ 216 w 409"/>
                  <a:gd name="T69" fmla="*/ 7 h 389"/>
                  <a:gd name="T70" fmla="*/ 182 w 409"/>
                  <a:gd name="T71" fmla="*/ 7 h 389"/>
                  <a:gd name="T72" fmla="*/ 149 w 409"/>
                  <a:gd name="T73" fmla="*/ 20 h 389"/>
                  <a:gd name="T74" fmla="*/ 134 w 409"/>
                  <a:gd name="T75" fmla="*/ 38 h 389"/>
                  <a:gd name="T76" fmla="*/ 126 w 409"/>
                  <a:gd name="T77" fmla="*/ 40 h 389"/>
                  <a:gd name="T78" fmla="*/ 108 w 409"/>
                  <a:gd name="T79" fmla="*/ 58 h 389"/>
                  <a:gd name="T80" fmla="*/ 123 w 409"/>
                  <a:gd name="T81" fmla="*/ 85 h 389"/>
                  <a:gd name="T82" fmla="*/ 118 w 409"/>
                  <a:gd name="T83" fmla="*/ 97 h 389"/>
                  <a:gd name="T84" fmla="*/ 101 w 409"/>
                  <a:gd name="T85" fmla="*/ 112 h 389"/>
                  <a:gd name="T86" fmla="*/ 86 w 409"/>
                  <a:gd name="T87" fmla="*/ 130 h 389"/>
                  <a:gd name="T88" fmla="*/ 86 w 409"/>
                  <a:gd name="T89" fmla="*/ 164 h 389"/>
                  <a:gd name="T90" fmla="*/ 87 w 409"/>
                  <a:gd name="T91" fmla="*/ 177 h 389"/>
                  <a:gd name="T92" fmla="*/ 73 w 409"/>
                  <a:gd name="T93" fmla="*/ 174 h 389"/>
                  <a:gd name="T94" fmla="*/ 58 w 409"/>
                  <a:gd name="T95" fmla="*/ 188 h 389"/>
                  <a:gd name="T96" fmla="*/ 52 w 409"/>
                  <a:gd name="T97" fmla="*/ 199 h 389"/>
                  <a:gd name="T98" fmla="*/ 33 w 409"/>
                  <a:gd name="T99" fmla="*/ 205 h 389"/>
                  <a:gd name="T100" fmla="*/ 42 w 409"/>
                  <a:gd name="T101" fmla="*/ 298 h 389"/>
                  <a:gd name="T102" fmla="*/ 17 w 409"/>
                  <a:gd name="T103" fmla="*/ 341 h 389"/>
                  <a:gd name="T104" fmla="*/ 35 w 409"/>
                  <a:gd name="T105" fmla="*/ 345 h 389"/>
                  <a:gd name="T106" fmla="*/ 43 w 409"/>
                  <a:gd name="T107" fmla="*/ 389 h 3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09" h="389">
                    <a:moveTo>
                      <a:pt x="43" y="388"/>
                    </a:moveTo>
                    <a:cubicBezTo>
                      <a:pt x="50" y="386"/>
                      <a:pt x="36" y="381"/>
                      <a:pt x="46" y="378"/>
                    </a:cubicBezTo>
                    <a:cubicBezTo>
                      <a:pt x="48" y="377"/>
                      <a:pt x="52" y="377"/>
                      <a:pt x="56" y="378"/>
                    </a:cubicBezTo>
                    <a:cubicBezTo>
                      <a:pt x="57" y="378"/>
                      <a:pt x="57" y="381"/>
                      <a:pt x="59" y="381"/>
                    </a:cubicBezTo>
                    <a:cubicBezTo>
                      <a:pt x="64" y="383"/>
                      <a:pt x="72" y="356"/>
                      <a:pt x="74" y="355"/>
                    </a:cubicBezTo>
                    <a:cubicBezTo>
                      <a:pt x="79" y="352"/>
                      <a:pt x="85" y="354"/>
                      <a:pt x="89" y="352"/>
                    </a:cubicBezTo>
                    <a:cubicBezTo>
                      <a:pt x="96" y="349"/>
                      <a:pt x="101" y="343"/>
                      <a:pt x="108" y="341"/>
                    </a:cubicBezTo>
                    <a:cubicBezTo>
                      <a:pt x="111" y="341"/>
                      <a:pt x="114" y="342"/>
                      <a:pt x="117" y="342"/>
                    </a:cubicBezTo>
                    <a:cubicBezTo>
                      <a:pt x="120" y="342"/>
                      <a:pt x="123" y="342"/>
                      <a:pt x="125" y="342"/>
                    </a:cubicBezTo>
                    <a:cubicBezTo>
                      <a:pt x="134" y="341"/>
                      <a:pt x="142" y="335"/>
                      <a:pt x="150" y="336"/>
                    </a:cubicBezTo>
                    <a:cubicBezTo>
                      <a:pt x="151" y="336"/>
                      <a:pt x="152" y="338"/>
                      <a:pt x="154" y="339"/>
                    </a:cubicBezTo>
                    <a:cubicBezTo>
                      <a:pt x="168" y="341"/>
                      <a:pt x="185" y="339"/>
                      <a:pt x="198" y="335"/>
                    </a:cubicBezTo>
                    <a:cubicBezTo>
                      <a:pt x="205" y="334"/>
                      <a:pt x="200" y="339"/>
                      <a:pt x="203" y="342"/>
                    </a:cubicBezTo>
                    <a:cubicBezTo>
                      <a:pt x="205" y="343"/>
                      <a:pt x="207" y="340"/>
                      <a:pt x="208" y="341"/>
                    </a:cubicBezTo>
                    <a:cubicBezTo>
                      <a:pt x="209" y="342"/>
                      <a:pt x="206" y="346"/>
                      <a:pt x="207" y="346"/>
                    </a:cubicBezTo>
                    <a:cubicBezTo>
                      <a:pt x="222" y="352"/>
                      <a:pt x="211" y="343"/>
                      <a:pt x="218" y="341"/>
                    </a:cubicBezTo>
                    <a:cubicBezTo>
                      <a:pt x="241" y="335"/>
                      <a:pt x="220" y="345"/>
                      <a:pt x="228" y="349"/>
                    </a:cubicBezTo>
                    <a:cubicBezTo>
                      <a:pt x="229" y="350"/>
                      <a:pt x="231" y="351"/>
                      <a:pt x="231" y="350"/>
                    </a:cubicBezTo>
                    <a:cubicBezTo>
                      <a:pt x="234" y="349"/>
                      <a:pt x="231" y="338"/>
                      <a:pt x="234" y="338"/>
                    </a:cubicBezTo>
                    <a:cubicBezTo>
                      <a:pt x="237" y="338"/>
                      <a:pt x="242" y="343"/>
                      <a:pt x="245" y="339"/>
                    </a:cubicBezTo>
                    <a:cubicBezTo>
                      <a:pt x="248" y="337"/>
                      <a:pt x="248" y="328"/>
                      <a:pt x="251" y="330"/>
                    </a:cubicBezTo>
                    <a:cubicBezTo>
                      <a:pt x="256" y="333"/>
                      <a:pt x="244" y="338"/>
                      <a:pt x="258" y="338"/>
                    </a:cubicBezTo>
                    <a:cubicBezTo>
                      <a:pt x="263" y="338"/>
                      <a:pt x="260" y="327"/>
                      <a:pt x="268" y="333"/>
                    </a:cubicBezTo>
                    <a:cubicBezTo>
                      <a:pt x="283" y="343"/>
                      <a:pt x="265" y="339"/>
                      <a:pt x="277" y="342"/>
                    </a:cubicBezTo>
                    <a:cubicBezTo>
                      <a:pt x="280" y="343"/>
                      <a:pt x="276" y="334"/>
                      <a:pt x="278" y="332"/>
                    </a:cubicBezTo>
                    <a:cubicBezTo>
                      <a:pt x="281" y="327"/>
                      <a:pt x="287" y="319"/>
                      <a:pt x="291" y="321"/>
                    </a:cubicBezTo>
                    <a:cubicBezTo>
                      <a:pt x="296" y="324"/>
                      <a:pt x="300" y="339"/>
                      <a:pt x="305" y="338"/>
                    </a:cubicBezTo>
                    <a:cubicBezTo>
                      <a:pt x="313" y="336"/>
                      <a:pt x="308" y="326"/>
                      <a:pt x="317" y="324"/>
                    </a:cubicBezTo>
                    <a:cubicBezTo>
                      <a:pt x="320" y="324"/>
                      <a:pt x="323" y="328"/>
                      <a:pt x="326" y="327"/>
                    </a:cubicBezTo>
                    <a:cubicBezTo>
                      <a:pt x="344" y="324"/>
                      <a:pt x="313" y="317"/>
                      <a:pt x="339" y="319"/>
                    </a:cubicBezTo>
                    <a:cubicBezTo>
                      <a:pt x="352" y="320"/>
                      <a:pt x="345" y="334"/>
                      <a:pt x="360" y="331"/>
                    </a:cubicBezTo>
                    <a:cubicBezTo>
                      <a:pt x="374" y="328"/>
                      <a:pt x="352" y="313"/>
                      <a:pt x="352" y="307"/>
                    </a:cubicBezTo>
                    <a:cubicBezTo>
                      <a:pt x="352" y="302"/>
                      <a:pt x="353" y="291"/>
                      <a:pt x="353" y="287"/>
                    </a:cubicBezTo>
                    <a:cubicBezTo>
                      <a:pt x="356" y="272"/>
                      <a:pt x="360" y="266"/>
                      <a:pt x="362" y="265"/>
                    </a:cubicBezTo>
                    <a:cubicBezTo>
                      <a:pt x="366" y="264"/>
                      <a:pt x="371" y="266"/>
                      <a:pt x="374" y="264"/>
                    </a:cubicBezTo>
                    <a:cubicBezTo>
                      <a:pt x="377" y="263"/>
                      <a:pt x="375" y="259"/>
                      <a:pt x="378" y="258"/>
                    </a:cubicBezTo>
                    <a:cubicBezTo>
                      <a:pt x="383" y="255"/>
                      <a:pt x="390" y="255"/>
                      <a:pt x="396" y="253"/>
                    </a:cubicBezTo>
                    <a:cubicBezTo>
                      <a:pt x="395" y="252"/>
                      <a:pt x="396" y="250"/>
                      <a:pt x="395" y="248"/>
                    </a:cubicBezTo>
                    <a:cubicBezTo>
                      <a:pt x="395" y="248"/>
                      <a:pt x="383" y="241"/>
                      <a:pt x="383" y="240"/>
                    </a:cubicBezTo>
                    <a:cubicBezTo>
                      <a:pt x="382" y="239"/>
                      <a:pt x="384" y="238"/>
                      <a:pt x="384" y="236"/>
                    </a:cubicBezTo>
                    <a:cubicBezTo>
                      <a:pt x="382" y="233"/>
                      <a:pt x="378" y="230"/>
                      <a:pt x="378" y="227"/>
                    </a:cubicBezTo>
                    <a:cubicBezTo>
                      <a:pt x="377" y="225"/>
                      <a:pt x="381" y="225"/>
                      <a:pt x="381" y="223"/>
                    </a:cubicBezTo>
                    <a:cubicBezTo>
                      <a:pt x="379" y="219"/>
                      <a:pt x="371" y="219"/>
                      <a:pt x="371" y="214"/>
                    </a:cubicBezTo>
                    <a:cubicBezTo>
                      <a:pt x="370" y="213"/>
                      <a:pt x="374" y="212"/>
                      <a:pt x="374" y="210"/>
                    </a:cubicBezTo>
                    <a:cubicBezTo>
                      <a:pt x="376" y="204"/>
                      <a:pt x="356" y="200"/>
                      <a:pt x="354" y="195"/>
                    </a:cubicBezTo>
                    <a:cubicBezTo>
                      <a:pt x="352" y="191"/>
                      <a:pt x="356" y="185"/>
                      <a:pt x="355" y="180"/>
                    </a:cubicBezTo>
                    <a:cubicBezTo>
                      <a:pt x="355" y="171"/>
                      <a:pt x="382" y="183"/>
                      <a:pt x="390" y="178"/>
                    </a:cubicBezTo>
                    <a:cubicBezTo>
                      <a:pt x="395" y="175"/>
                      <a:pt x="400" y="165"/>
                      <a:pt x="400" y="159"/>
                    </a:cubicBezTo>
                    <a:cubicBezTo>
                      <a:pt x="400" y="158"/>
                      <a:pt x="397" y="159"/>
                      <a:pt x="398" y="158"/>
                    </a:cubicBezTo>
                    <a:cubicBezTo>
                      <a:pt x="401" y="156"/>
                      <a:pt x="406" y="154"/>
                      <a:pt x="408" y="151"/>
                    </a:cubicBezTo>
                    <a:cubicBezTo>
                      <a:pt x="409" y="149"/>
                      <a:pt x="408" y="144"/>
                      <a:pt x="405" y="143"/>
                    </a:cubicBezTo>
                    <a:cubicBezTo>
                      <a:pt x="396" y="139"/>
                      <a:pt x="395" y="143"/>
                      <a:pt x="390" y="137"/>
                    </a:cubicBezTo>
                    <a:cubicBezTo>
                      <a:pt x="388" y="135"/>
                      <a:pt x="394" y="127"/>
                      <a:pt x="387" y="128"/>
                    </a:cubicBezTo>
                    <a:cubicBezTo>
                      <a:pt x="381" y="128"/>
                      <a:pt x="377" y="126"/>
                      <a:pt x="367" y="129"/>
                    </a:cubicBezTo>
                    <a:cubicBezTo>
                      <a:pt x="364" y="130"/>
                      <a:pt x="361" y="133"/>
                      <a:pt x="357" y="132"/>
                    </a:cubicBezTo>
                    <a:cubicBezTo>
                      <a:pt x="354" y="131"/>
                      <a:pt x="360" y="115"/>
                      <a:pt x="354" y="112"/>
                    </a:cubicBezTo>
                    <a:cubicBezTo>
                      <a:pt x="353" y="111"/>
                      <a:pt x="335" y="111"/>
                      <a:pt x="330" y="107"/>
                    </a:cubicBezTo>
                    <a:cubicBezTo>
                      <a:pt x="321" y="101"/>
                      <a:pt x="326" y="96"/>
                      <a:pt x="313" y="92"/>
                    </a:cubicBezTo>
                    <a:cubicBezTo>
                      <a:pt x="311" y="90"/>
                      <a:pt x="317" y="81"/>
                      <a:pt x="314" y="80"/>
                    </a:cubicBezTo>
                    <a:cubicBezTo>
                      <a:pt x="306" y="80"/>
                      <a:pt x="304" y="80"/>
                      <a:pt x="295" y="74"/>
                    </a:cubicBezTo>
                    <a:cubicBezTo>
                      <a:pt x="291" y="71"/>
                      <a:pt x="298" y="59"/>
                      <a:pt x="297" y="57"/>
                    </a:cubicBezTo>
                    <a:cubicBezTo>
                      <a:pt x="293" y="52"/>
                      <a:pt x="301" y="56"/>
                      <a:pt x="299" y="53"/>
                    </a:cubicBezTo>
                    <a:cubicBezTo>
                      <a:pt x="297" y="50"/>
                      <a:pt x="284" y="39"/>
                      <a:pt x="284" y="36"/>
                    </a:cubicBezTo>
                    <a:cubicBezTo>
                      <a:pt x="287" y="28"/>
                      <a:pt x="288" y="23"/>
                      <a:pt x="283" y="15"/>
                    </a:cubicBezTo>
                    <a:cubicBezTo>
                      <a:pt x="282" y="12"/>
                      <a:pt x="279" y="17"/>
                      <a:pt x="276" y="17"/>
                    </a:cubicBezTo>
                    <a:cubicBezTo>
                      <a:pt x="276" y="17"/>
                      <a:pt x="258" y="6"/>
                      <a:pt x="258" y="6"/>
                    </a:cubicBezTo>
                    <a:cubicBezTo>
                      <a:pt x="244" y="0"/>
                      <a:pt x="254" y="4"/>
                      <a:pt x="246" y="8"/>
                    </a:cubicBezTo>
                    <a:cubicBezTo>
                      <a:pt x="245" y="8"/>
                      <a:pt x="238" y="7"/>
                      <a:pt x="236" y="9"/>
                    </a:cubicBezTo>
                    <a:cubicBezTo>
                      <a:pt x="233" y="13"/>
                      <a:pt x="229" y="24"/>
                      <a:pt x="224" y="26"/>
                    </a:cubicBezTo>
                    <a:cubicBezTo>
                      <a:pt x="215" y="31"/>
                      <a:pt x="216" y="7"/>
                      <a:pt x="216" y="7"/>
                    </a:cubicBezTo>
                    <a:cubicBezTo>
                      <a:pt x="198" y="3"/>
                      <a:pt x="202" y="6"/>
                      <a:pt x="190" y="15"/>
                    </a:cubicBezTo>
                    <a:cubicBezTo>
                      <a:pt x="187" y="17"/>
                      <a:pt x="185" y="9"/>
                      <a:pt x="182" y="7"/>
                    </a:cubicBezTo>
                    <a:cubicBezTo>
                      <a:pt x="172" y="0"/>
                      <a:pt x="175" y="19"/>
                      <a:pt x="161" y="7"/>
                    </a:cubicBezTo>
                    <a:cubicBezTo>
                      <a:pt x="161" y="8"/>
                      <a:pt x="150" y="16"/>
                      <a:pt x="149" y="20"/>
                    </a:cubicBezTo>
                    <a:cubicBezTo>
                      <a:pt x="148" y="21"/>
                      <a:pt x="145" y="38"/>
                      <a:pt x="145" y="38"/>
                    </a:cubicBezTo>
                    <a:cubicBezTo>
                      <a:pt x="142" y="41"/>
                      <a:pt x="138" y="37"/>
                      <a:pt x="134" y="38"/>
                    </a:cubicBezTo>
                    <a:cubicBezTo>
                      <a:pt x="133" y="39"/>
                      <a:pt x="134" y="43"/>
                      <a:pt x="133" y="43"/>
                    </a:cubicBezTo>
                    <a:cubicBezTo>
                      <a:pt x="130" y="43"/>
                      <a:pt x="129" y="40"/>
                      <a:pt x="126" y="40"/>
                    </a:cubicBezTo>
                    <a:cubicBezTo>
                      <a:pt x="119" y="39"/>
                      <a:pt x="117" y="55"/>
                      <a:pt x="108" y="58"/>
                    </a:cubicBezTo>
                    <a:cubicBezTo>
                      <a:pt x="108" y="58"/>
                      <a:pt x="108" y="58"/>
                      <a:pt x="108" y="58"/>
                    </a:cubicBezTo>
                    <a:cubicBezTo>
                      <a:pt x="111" y="67"/>
                      <a:pt x="107" y="74"/>
                      <a:pt x="107" y="83"/>
                    </a:cubicBezTo>
                    <a:cubicBezTo>
                      <a:pt x="106" y="88"/>
                      <a:pt x="125" y="77"/>
                      <a:pt x="123" y="85"/>
                    </a:cubicBezTo>
                    <a:cubicBezTo>
                      <a:pt x="122" y="87"/>
                      <a:pt x="119" y="87"/>
                      <a:pt x="118" y="89"/>
                    </a:cubicBezTo>
                    <a:cubicBezTo>
                      <a:pt x="117" y="91"/>
                      <a:pt x="120" y="94"/>
                      <a:pt x="118" y="97"/>
                    </a:cubicBezTo>
                    <a:cubicBezTo>
                      <a:pt x="115" y="101"/>
                      <a:pt x="106" y="95"/>
                      <a:pt x="103" y="99"/>
                    </a:cubicBezTo>
                    <a:cubicBezTo>
                      <a:pt x="101" y="103"/>
                      <a:pt x="104" y="109"/>
                      <a:pt x="101" y="112"/>
                    </a:cubicBezTo>
                    <a:cubicBezTo>
                      <a:pt x="90" y="129"/>
                      <a:pt x="95" y="107"/>
                      <a:pt x="89" y="128"/>
                    </a:cubicBezTo>
                    <a:cubicBezTo>
                      <a:pt x="89" y="129"/>
                      <a:pt x="86" y="129"/>
                      <a:pt x="86" y="130"/>
                    </a:cubicBezTo>
                    <a:cubicBezTo>
                      <a:pt x="91" y="145"/>
                      <a:pt x="91" y="145"/>
                      <a:pt x="91" y="145"/>
                    </a:cubicBezTo>
                    <a:cubicBezTo>
                      <a:pt x="91" y="146"/>
                      <a:pt x="86" y="162"/>
                      <a:pt x="86" y="164"/>
                    </a:cubicBezTo>
                    <a:cubicBezTo>
                      <a:pt x="86" y="166"/>
                      <a:pt x="104" y="163"/>
                      <a:pt x="99" y="175"/>
                    </a:cubicBezTo>
                    <a:cubicBezTo>
                      <a:pt x="98" y="178"/>
                      <a:pt x="86" y="182"/>
                      <a:pt x="87" y="177"/>
                    </a:cubicBezTo>
                    <a:cubicBezTo>
                      <a:pt x="87" y="175"/>
                      <a:pt x="90" y="174"/>
                      <a:pt x="89" y="173"/>
                    </a:cubicBezTo>
                    <a:cubicBezTo>
                      <a:pt x="88" y="165"/>
                      <a:pt x="75" y="171"/>
                      <a:pt x="73" y="174"/>
                    </a:cubicBezTo>
                    <a:cubicBezTo>
                      <a:pt x="67" y="180"/>
                      <a:pt x="79" y="179"/>
                      <a:pt x="70" y="184"/>
                    </a:cubicBezTo>
                    <a:cubicBezTo>
                      <a:pt x="66" y="186"/>
                      <a:pt x="61" y="185"/>
                      <a:pt x="58" y="188"/>
                    </a:cubicBezTo>
                    <a:cubicBezTo>
                      <a:pt x="56" y="191"/>
                      <a:pt x="64" y="197"/>
                      <a:pt x="61" y="198"/>
                    </a:cubicBezTo>
                    <a:cubicBezTo>
                      <a:pt x="58" y="199"/>
                      <a:pt x="55" y="197"/>
                      <a:pt x="52" y="199"/>
                    </a:cubicBezTo>
                    <a:cubicBezTo>
                      <a:pt x="48" y="201"/>
                      <a:pt x="48" y="206"/>
                      <a:pt x="44" y="209"/>
                    </a:cubicBezTo>
                    <a:cubicBezTo>
                      <a:pt x="39" y="213"/>
                      <a:pt x="37" y="203"/>
                      <a:pt x="33" y="205"/>
                    </a:cubicBezTo>
                    <a:cubicBezTo>
                      <a:pt x="28" y="207"/>
                      <a:pt x="12" y="216"/>
                      <a:pt x="5" y="212"/>
                    </a:cubicBezTo>
                    <a:cubicBezTo>
                      <a:pt x="15" y="240"/>
                      <a:pt x="40" y="267"/>
                      <a:pt x="42" y="298"/>
                    </a:cubicBezTo>
                    <a:cubicBezTo>
                      <a:pt x="42" y="299"/>
                      <a:pt x="40" y="300"/>
                      <a:pt x="40" y="301"/>
                    </a:cubicBezTo>
                    <a:cubicBezTo>
                      <a:pt x="36" y="305"/>
                      <a:pt x="0" y="335"/>
                      <a:pt x="17" y="341"/>
                    </a:cubicBezTo>
                    <a:cubicBezTo>
                      <a:pt x="18" y="342"/>
                      <a:pt x="19" y="339"/>
                      <a:pt x="20" y="339"/>
                    </a:cubicBezTo>
                    <a:cubicBezTo>
                      <a:pt x="25" y="340"/>
                      <a:pt x="31" y="342"/>
                      <a:pt x="35" y="345"/>
                    </a:cubicBezTo>
                    <a:cubicBezTo>
                      <a:pt x="47" y="354"/>
                      <a:pt x="35" y="373"/>
                      <a:pt x="39" y="384"/>
                    </a:cubicBezTo>
                    <a:cubicBezTo>
                      <a:pt x="40" y="385"/>
                      <a:pt x="42" y="387"/>
                      <a:pt x="43" y="389"/>
                    </a:cubicBezTo>
                    <a:lnTo>
                      <a:pt x="43" y="388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104" name="Poland" descr="{&quot;Key&quot;:&quot;poland&quot;,&quot;Name&quot;:&quot;Poland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2D13724B-E214-D826-744D-D9B50B499C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74132" y="4007783"/>
                <a:ext cx="823421" cy="742285"/>
              </a:xfrm>
              <a:custGeom>
                <a:avLst/>
                <a:gdLst>
                  <a:gd name="T0" fmla="*/ 78 w 492"/>
                  <a:gd name="T1" fmla="*/ 310 h 413"/>
                  <a:gd name="T2" fmla="*/ 106 w 492"/>
                  <a:gd name="T3" fmla="*/ 322 h 413"/>
                  <a:gd name="T4" fmla="*/ 127 w 492"/>
                  <a:gd name="T5" fmla="*/ 323 h 413"/>
                  <a:gd name="T6" fmla="*/ 149 w 492"/>
                  <a:gd name="T7" fmla="*/ 362 h 413"/>
                  <a:gd name="T8" fmla="*/ 154 w 492"/>
                  <a:gd name="T9" fmla="*/ 336 h 413"/>
                  <a:gd name="T10" fmla="*/ 192 w 492"/>
                  <a:gd name="T11" fmla="*/ 345 h 413"/>
                  <a:gd name="T12" fmla="*/ 190 w 492"/>
                  <a:gd name="T13" fmla="*/ 353 h 413"/>
                  <a:gd name="T14" fmla="*/ 204 w 492"/>
                  <a:gd name="T15" fmla="*/ 365 h 413"/>
                  <a:gd name="T16" fmla="*/ 225 w 492"/>
                  <a:gd name="T17" fmla="*/ 364 h 413"/>
                  <a:gd name="T18" fmla="*/ 252 w 492"/>
                  <a:gd name="T19" fmla="*/ 383 h 413"/>
                  <a:gd name="T20" fmla="*/ 262 w 492"/>
                  <a:gd name="T21" fmla="*/ 401 h 413"/>
                  <a:gd name="T22" fmla="*/ 294 w 492"/>
                  <a:gd name="T23" fmla="*/ 393 h 413"/>
                  <a:gd name="T24" fmla="*/ 302 w 492"/>
                  <a:gd name="T25" fmla="*/ 410 h 413"/>
                  <a:gd name="T26" fmla="*/ 332 w 492"/>
                  <a:gd name="T27" fmla="*/ 391 h 413"/>
                  <a:gd name="T28" fmla="*/ 356 w 492"/>
                  <a:gd name="T29" fmla="*/ 396 h 413"/>
                  <a:gd name="T30" fmla="*/ 368 w 492"/>
                  <a:gd name="T31" fmla="*/ 386 h 413"/>
                  <a:gd name="T32" fmla="*/ 410 w 492"/>
                  <a:gd name="T33" fmla="*/ 393 h 413"/>
                  <a:gd name="T34" fmla="*/ 451 w 492"/>
                  <a:gd name="T35" fmla="*/ 400 h 413"/>
                  <a:gd name="T36" fmla="*/ 445 w 492"/>
                  <a:gd name="T37" fmla="*/ 382 h 413"/>
                  <a:gd name="T38" fmla="*/ 492 w 492"/>
                  <a:gd name="T39" fmla="*/ 277 h 413"/>
                  <a:gd name="T40" fmla="*/ 458 w 492"/>
                  <a:gd name="T41" fmla="*/ 227 h 413"/>
                  <a:gd name="T42" fmla="*/ 445 w 492"/>
                  <a:gd name="T43" fmla="*/ 167 h 413"/>
                  <a:gd name="T44" fmla="*/ 450 w 492"/>
                  <a:gd name="T45" fmla="*/ 123 h 413"/>
                  <a:gd name="T46" fmla="*/ 411 w 492"/>
                  <a:gd name="T47" fmla="*/ 21 h 413"/>
                  <a:gd name="T48" fmla="*/ 378 w 492"/>
                  <a:gd name="T49" fmla="*/ 9 h 413"/>
                  <a:gd name="T50" fmla="*/ 192 w 492"/>
                  <a:gd name="T51" fmla="*/ 13 h 413"/>
                  <a:gd name="T52" fmla="*/ 184 w 492"/>
                  <a:gd name="T53" fmla="*/ 4 h 413"/>
                  <a:gd name="T54" fmla="*/ 96 w 492"/>
                  <a:gd name="T55" fmla="*/ 55 h 413"/>
                  <a:gd name="T56" fmla="*/ 13 w 492"/>
                  <a:gd name="T57" fmla="*/ 86 h 413"/>
                  <a:gd name="T58" fmla="*/ 14 w 492"/>
                  <a:gd name="T59" fmla="*/ 168 h 413"/>
                  <a:gd name="T60" fmla="*/ 43 w 492"/>
                  <a:gd name="T61" fmla="*/ 211 h 413"/>
                  <a:gd name="T62" fmla="*/ 40 w 492"/>
                  <a:gd name="T63" fmla="*/ 240 h 413"/>
                  <a:gd name="T64" fmla="*/ 56 w 492"/>
                  <a:gd name="T65" fmla="*/ 266 h 413"/>
                  <a:gd name="T66" fmla="*/ 1 w 492"/>
                  <a:gd name="T67" fmla="*/ 99 h 413"/>
                  <a:gd name="T68" fmla="*/ 1 w 492"/>
                  <a:gd name="T69" fmla="*/ 99 h 413"/>
                  <a:gd name="T70" fmla="*/ 3 w 492"/>
                  <a:gd name="T71" fmla="*/ 100 h 413"/>
                  <a:gd name="T72" fmla="*/ 5 w 492"/>
                  <a:gd name="T73" fmla="*/ 100 h 413"/>
                  <a:gd name="T74" fmla="*/ 6 w 492"/>
                  <a:gd name="T75" fmla="*/ 101 h 413"/>
                  <a:gd name="T76" fmla="*/ 6 w 492"/>
                  <a:gd name="T77" fmla="*/ 101 h 413"/>
                  <a:gd name="T78" fmla="*/ 7 w 492"/>
                  <a:gd name="T79" fmla="*/ 101 h 413"/>
                  <a:gd name="T80" fmla="*/ 7 w 492"/>
                  <a:gd name="T81" fmla="*/ 101 h 413"/>
                  <a:gd name="T82" fmla="*/ 7 w 492"/>
                  <a:gd name="T83" fmla="*/ 101 h 413"/>
                  <a:gd name="T84" fmla="*/ 13 w 492"/>
                  <a:gd name="T85" fmla="*/ 103 h 413"/>
                  <a:gd name="T86" fmla="*/ 207 w 492"/>
                  <a:gd name="T87" fmla="*/ 16 h 4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492" h="413">
                    <a:moveTo>
                      <a:pt x="57" y="312"/>
                    </a:moveTo>
                    <a:cubicBezTo>
                      <a:pt x="72" y="310"/>
                      <a:pt x="54" y="297"/>
                      <a:pt x="70" y="300"/>
                    </a:cubicBezTo>
                    <a:cubicBezTo>
                      <a:pt x="80" y="301"/>
                      <a:pt x="71" y="306"/>
                      <a:pt x="78" y="310"/>
                    </a:cubicBezTo>
                    <a:cubicBezTo>
                      <a:pt x="87" y="318"/>
                      <a:pt x="94" y="313"/>
                      <a:pt x="101" y="317"/>
                    </a:cubicBezTo>
                    <a:cubicBezTo>
                      <a:pt x="104" y="319"/>
                      <a:pt x="103" y="322"/>
                      <a:pt x="104" y="323"/>
                    </a:cubicBezTo>
                    <a:cubicBezTo>
                      <a:pt x="105" y="324"/>
                      <a:pt x="106" y="322"/>
                      <a:pt x="106" y="322"/>
                    </a:cubicBezTo>
                    <a:cubicBezTo>
                      <a:pt x="108" y="322"/>
                      <a:pt x="110" y="320"/>
                      <a:pt x="110" y="322"/>
                    </a:cubicBezTo>
                    <a:cubicBezTo>
                      <a:pt x="112" y="323"/>
                      <a:pt x="110" y="326"/>
                      <a:pt x="112" y="328"/>
                    </a:cubicBezTo>
                    <a:cubicBezTo>
                      <a:pt x="112" y="328"/>
                      <a:pt x="125" y="321"/>
                      <a:pt x="127" y="323"/>
                    </a:cubicBezTo>
                    <a:cubicBezTo>
                      <a:pt x="143" y="330"/>
                      <a:pt x="121" y="333"/>
                      <a:pt x="122" y="340"/>
                    </a:cubicBezTo>
                    <a:cubicBezTo>
                      <a:pt x="135" y="348"/>
                      <a:pt x="135" y="348"/>
                      <a:pt x="135" y="348"/>
                    </a:cubicBezTo>
                    <a:cubicBezTo>
                      <a:pt x="137" y="350"/>
                      <a:pt x="140" y="365"/>
                      <a:pt x="149" y="362"/>
                    </a:cubicBezTo>
                    <a:cubicBezTo>
                      <a:pt x="151" y="361"/>
                      <a:pt x="151" y="357"/>
                      <a:pt x="152" y="355"/>
                    </a:cubicBezTo>
                    <a:cubicBezTo>
                      <a:pt x="155" y="353"/>
                      <a:pt x="161" y="354"/>
                      <a:pt x="162" y="350"/>
                    </a:cubicBezTo>
                    <a:cubicBezTo>
                      <a:pt x="163" y="349"/>
                      <a:pt x="151" y="337"/>
                      <a:pt x="154" y="336"/>
                    </a:cubicBezTo>
                    <a:cubicBezTo>
                      <a:pt x="162" y="335"/>
                      <a:pt x="172" y="344"/>
                      <a:pt x="177" y="345"/>
                    </a:cubicBezTo>
                    <a:cubicBezTo>
                      <a:pt x="179" y="346"/>
                      <a:pt x="182" y="345"/>
                      <a:pt x="185" y="345"/>
                    </a:cubicBezTo>
                    <a:cubicBezTo>
                      <a:pt x="187" y="345"/>
                      <a:pt x="190" y="346"/>
                      <a:pt x="192" y="345"/>
                    </a:cubicBezTo>
                    <a:cubicBezTo>
                      <a:pt x="193" y="344"/>
                      <a:pt x="192" y="342"/>
                      <a:pt x="193" y="341"/>
                    </a:cubicBezTo>
                    <a:cubicBezTo>
                      <a:pt x="194" y="340"/>
                      <a:pt x="195" y="340"/>
                      <a:pt x="195" y="341"/>
                    </a:cubicBezTo>
                    <a:cubicBezTo>
                      <a:pt x="202" y="354"/>
                      <a:pt x="197" y="346"/>
                      <a:pt x="190" y="353"/>
                    </a:cubicBezTo>
                    <a:cubicBezTo>
                      <a:pt x="187" y="354"/>
                      <a:pt x="195" y="355"/>
                      <a:pt x="198" y="357"/>
                    </a:cubicBezTo>
                    <a:cubicBezTo>
                      <a:pt x="199" y="358"/>
                      <a:pt x="199" y="361"/>
                      <a:pt x="200" y="363"/>
                    </a:cubicBezTo>
                    <a:cubicBezTo>
                      <a:pt x="202" y="364"/>
                      <a:pt x="203" y="365"/>
                      <a:pt x="204" y="365"/>
                    </a:cubicBezTo>
                    <a:cubicBezTo>
                      <a:pt x="221" y="363"/>
                      <a:pt x="202" y="362"/>
                      <a:pt x="212" y="358"/>
                    </a:cubicBezTo>
                    <a:cubicBezTo>
                      <a:pt x="213" y="357"/>
                      <a:pt x="213" y="359"/>
                      <a:pt x="214" y="360"/>
                    </a:cubicBezTo>
                    <a:cubicBezTo>
                      <a:pt x="216" y="362"/>
                      <a:pt x="222" y="363"/>
                      <a:pt x="225" y="364"/>
                    </a:cubicBezTo>
                    <a:cubicBezTo>
                      <a:pt x="229" y="365"/>
                      <a:pt x="234" y="363"/>
                      <a:pt x="237" y="366"/>
                    </a:cubicBezTo>
                    <a:cubicBezTo>
                      <a:pt x="237" y="366"/>
                      <a:pt x="242" y="380"/>
                      <a:pt x="243" y="380"/>
                    </a:cubicBezTo>
                    <a:cubicBezTo>
                      <a:pt x="245" y="382"/>
                      <a:pt x="250" y="380"/>
                      <a:pt x="252" y="383"/>
                    </a:cubicBezTo>
                    <a:cubicBezTo>
                      <a:pt x="254" y="386"/>
                      <a:pt x="252" y="391"/>
                      <a:pt x="255" y="393"/>
                    </a:cubicBezTo>
                    <a:cubicBezTo>
                      <a:pt x="256" y="395"/>
                      <a:pt x="260" y="392"/>
                      <a:pt x="261" y="394"/>
                    </a:cubicBezTo>
                    <a:cubicBezTo>
                      <a:pt x="263" y="396"/>
                      <a:pt x="260" y="400"/>
                      <a:pt x="262" y="401"/>
                    </a:cubicBezTo>
                    <a:cubicBezTo>
                      <a:pt x="271" y="409"/>
                      <a:pt x="278" y="380"/>
                      <a:pt x="284" y="384"/>
                    </a:cubicBezTo>
                    <a:cubicBezTo>
                      <a:pt x="288" y="386"/>
                      <a:pt x="288" y="391"/>
                      <a:pt x="290" y="394"/>
                    </a:cubicBezTo>
                    <a:cubicBezTo>
                      <a:pt x="291" y="395"/>
                      <a:pt x="293" y="393"/>
                      <a:pt x="294" y="393"/>
                    </a:cubicBezTo>
                    <a:cubicBezTo>
                      <a:pt x="294" y="395"/>
                      <a:pt x="292" y="397"/>
                      <a:pt x="293" y="397"/>
                    </a:cubicBezTo>
                    <a:cubicBezTo>
                      <a:pt x="296" y="398"/>
                      <a:pt x="299" y="395"/>
                      <a:pt x="301" y="396"/>
                    </a:cubicBezTo>
                    <a:cubicBezTo>
                      <a:pt x="305" y="398"/>
                      <a:pt x="302" y="409"/>
                      <a:pt x="302" y="410"/>
                    </a:cubicBezTo>
                    <a:cubicBezTo>
                      <a:pt x="302" y="413"/>
                      <a:pt x="307" y="408"/>
                      <a:pt x="310" y="408"/>
                    </a:cubicBezTo>
                    <a:cubicBezTo>
                      <a:pt x="312" y="407"/>
                      <a:pt x="314" y="412"/>
                      <a:pt x="316" y="410"/>
                    </a:cubicBezTo>
                    <a:cubicBezTo>
                      <a:pt x="317" y="410"/>
                      <a:pt x="324" y="392"/>
                      <a:pt x="332" y="391"/>
                    </a:cubicBezTo>
                    <a:cubicBezTo>
                      <a:pt x="334" y="390"/>
                      <a:pt x="336" y="392"/>
                      <a:pt x="338" y="392"/>
                    </a:cubicBezTo>
                    <a:cubicBezTo>
                      <a:pt x="341" y="392"/>
                      <a:pt x="342" y="388"/>
                      <a:pt x="344" y="389"/>
                    </a:cubicBezTo>
                    <a:cubicBezTo>
                      <a:pt x="349" y="389"/>
                      <a:pt x="351" y="396"/>
                      <a:pt x="356" y="396"/>
                    </a:cubicBezTo>
                    <a:cubicBezTo>
                      <a:pt x="359" y="396"/>
                      <a:pt x="362" y="392"/>
                      <a:pt x="364" y="389"/>
                    </a:cubicBezTo>
                    <a:cubicBezTo>
                      <a:pt x="364" y="388"/>
                      <a:pt x="361" y="388"/>
                      <a:pt x="361" y="387"/>
                    </a:cubicBezTo>
                    <a:cubicBezTo>
                      <a:pt x="363" y="379"/>
                      <a:pt x="366" y="387"/>
                      <a:pt x="368" y="386"/>
                    </a:cubicBezTo>
                    <a:cubicBezTo>
                      <a:pt x="370" y="386"/>
                      <a:pt x="370" y="382"/>
                      <a:pt x="372" y="382"/>
                    </a:cubicBezTo>
                    <a:cubicBezTo>
                      <a:pt x="380" y="380"/>
                      <a:pt x="400" y="380"/>
                      <a:pt x="407" y="386"/>
                    </a:cubicBezTo>
                    <a:cubicBezTo>
                      <a:pt x="409" y="388"/>
                      <a:pt x="408" y="392"/>
                      <a:pt x="410" y="393"/>
                    </a:cubicBezTo>
                    <a:cubicBezTo>
                      <a:pt x="414" y="395"/>
                      <a:pt x="418" y="395"/>
                      <a:pt x="422" y="396"/>
                    </a:cubicBezTo>
                    <a:cubicBezTo>
                      <a:pt x="429" y="399"/>
                      <a:pt x="436" y="399"/>
                      <a:pt x="443" y="400"/>
                    </a:cubicBezTo>
                    <a:cubicBezTo>
                      <a:pt x="445" y="400"/>
                      <a:pt x="448" y="399"/>
                      <a:pt x="451" y="400"/>
                    </a:cubicBezTo>
                    <a:cubicBezTo>
                      <a:pt x="452" y="400"/>
                      <a:pt x="454" y="403"/>
                      <a:pt x="454" y="402"/>
                    </a:cubicBezTo>
                    <a:cubicBezTo>
                      <a:pt x="447" y="380"/>
                      <a:pt x="453" y="403"/>
                      <a:pt x="443" y="391"/>
                    </a:cubicBezTo>
                    <a:cubicBezTo>
                      <a:pt x="441" y="389"/>
                      <a:pt x="445" y="385"/>
                      <a:pt x="445" y="382"/>
                    </a:cubicBezTo>
                    <a:cubicBezTo>
                      <a:pt x="443" y="376"/>
                      <a:pt x="437" y="372"/>
                      <a:pt x="436" y="366"/>
                    </a:cubicBezTo>
                    <a:cubicBezTo>
                      <a:pt x="435" y="361"/>
                      <a:pt x="469" y="297"/>
                      <a:pt x="474" y="293"/>
                    </a:cubicBezTo>
                    <a:cubicBezTo>
                      <a:pt x="484" y="285"/>
                      <a:pt x="490" y="297"/>
                      <a:pt x="492" y="277"/>
                    </a:cubicBezTo>
                    <a:cubicBezTo>
                      <a:pt x="492" y="272"/>
                      <a:pt x="480" y="262"/>
                      <a:pt x="480" y="262"/>
                    </a:cubicBezTo>
                    <a:cubicBezTo>
                      <a:pt x="477" y="256"/>
                      <a:pt x="490" y="257"/>
                      <a:pt x="488" y="255"/>
                    </a:cubicBezTo>
                    <a:cubicBezTo>
                      <a:pt x="479" y="248"/>
                      <a:pt x="463" y="237"/>
                      <a:pt x="458" y="227"/>
                    </a:cubicBezTo>
                    <a:cubicBezTo>
                      <a:pt x="457" y="224"/>
                      <a:pt x="459" y="220"/>
                      <a:pt x="458" y="216"/>
                    </a:cubicBezTo>
                    <a:cubicBezTo>
                      <a:pt x="456" y="212"/>
                      <a:pt x="451" y="210"/>
                      <a:pt x="449" y="206"/>
                    </a:cubicBezTo>
                    <a:cubicBezTo>
                      <a:pt x="445" y="195"/>
                      <a:pt x="457" y="176"/>
                      <a:pt x="445" y="167"/>
                    </a:cubicBezTo>
                    <a:cubicBezTo>
                      <a:pt x="441" y="164"/>
                      <a:pt x="435" y="162"/>
                      <a:pt x="430" y="161"/>
                    </a:cubicBezTo>
                    <a:cubicBezTo>
                      <a:pt x="429" y="161"/>
                      <a:pt x="428" y="164"/>
                      <a:pt x="427" y="163"/>
                    </a:cubicBezTo>
                    <a:cubicBezTo>
                      <a:pt x="410" y="157"/>
                      <a:pt x="446" y="127"/>
                      <a:pt x="450" y="123"/>
                    </a:cubicBezTo>
                    <a:cubicBezTo>
                      <a:pt x="450" y="122"/>
                      <a:pt x="452" y="121"/>
                      <a:pt x="452" y="120"/>
                    </a:cubicBezTo>
                    <a:cubicBezTo>
                      <a:pt x="450" y="89"/>
                      <a:pt x="425" y="62"/>
                      <a:pt x="415" y="34"/>
                    </a:cubicBezTo>
                    <a:cubicBezTo>
                      <a:pt x="411" y="31"/>
                      <a:pt x="415" y="25"/>
                      <a:pt x="411" y="21"/>
                    </a:cubicBezTo>
                    <a:cubicBezTo>
                      <a:pt x="401" y="6"/>
                      <a:pt x="407" y="18"/>
                      <a:pt x="392" y="12"/>
                    </a:cubicBezTo>
                    <a:cubicBezTo>
                      <a:pt x="386" y="9"/>
                      <a:pt x="390" y="2"/>
                      <a:pt x="381" y="5"/>
                    </a:cubicBezTo>
                    <a:cubicBezTo>
                      <a:pt x="380" y="5"/>
                      <a:pt x="380" y="8"/>
                      <a:pt x="378" y="9"/>
                    </a:cubicBezTo>
                    <a:cubicBezTo>
                      <a:pt x="352" y="25"/>
                      <a:pt x="276" y="27"/>
                      <a:pt x="243" y="23"/>
                    </a:cubicBezTo>
                    <a:cubicBezTo>
                      <a:pt x="233" y="34"/>
                      <a:pt x="217" y="40"/>
                      <a:pt x="204" y="35"/>
                    </a:cubicBezTo>
                    <a:cubicBezTo>
                      <a:pt x="193" y="30"/>
                      <a:pt x="195" y="19"/>
                      <a:pt x="192" y="13"/>
                    </a:cubicBezTo>
                    <a:cubicBezTo>
                      <a:pt x="191" y="11"/>
                      <a:pt x="187" y="6"/>
                      <a:pt x="189" y="7"/>
                    </a:cubicBezTo>
                    <a:cubicBezTo>
                      <a:pt x="191" y="7"/>
                      <a:pt x="192" y="7"/>
                      <a:pt x="194" y="8"/>
                    </a:cubicBezTo>
                    <a:cubicBezTo>
                      <a:pt x="191" y="6"/>
                      <a:pt x="187" y="4"/>
                      <a:pt x="184" y="4"/>
                    </a:cubicBezTo>
                    <a:cubicBezTo>
                      <a:pt x="164" y="0"/>
                      <a:pt x="141" y="18"/>
                      <a:pt x="126" y="27"/>
                    </a:cubicBezTo>
                    <a:cubicBezTo>
                      <a:pt x="121" y="30"/>
                      <a:pt x="114" y="29"/>
                      <a:pt x="110" y="32"/>
                    </a:cubicBezTo>
                    <a:cubicBezTo>
                      <a:pt x="101" y="41"/>
                      <a:pt x="99" y="55"/>
                      <a:pt x="96" y="55"/>
                    </a:cubicBezTo>
                    <a:cubicBezTo>
                      <a:pt x="75" y="60"/>
                      <a:pt x="55" y="69"/>
                      <a:pt x="35" y="77"/>
                    </a:cubicBezTo>
                    <a:cubicBezTo>
                      <a:pt x="30" y="79"/>
                      <a:pt x="27" y="86"/>
                      <a:pt x="22" y="87"/>
                    </a:cubicBezTo>
                    <a:cubicBezTo>
                      <a:pt x="19" y="88"/>
                      <a:pt x="16" y="85"/>
                      <a:pt x="13" y="86"/>
                    </a:cubicBezTo>
                    <a:cubicBezTo>
                      <a:pt x="8" y="89"/>
                      <a:pt x="20" y="101"/>
                      <a:pt x="15" y="103"/>
                    </a:cubicBezTo>
                    <a:cubicBezTo>
                      <a:pt x="16" y="112"/>
                      <a:pt x="25" y="129"/>
                      <a:pt x="26" y="135"/>
                    </a:cubicBezTo>
                    <a:cubicBezTo>
                      <a:pt x="28" y="148"/>
                      <a:pt x="10" y="157"/>
                      <a:pt x="14" y="168"/>
                    </a:cubicBezTo>
                    <a:cubicBezTo>
                      <a:pt x="16" y="175"/>
                      <a:pt x="37" y="178"/>
                      <a:pt x="37" y="186"/>
                    </a:cubicBezTo>
                    <a:cubicBezTo>
                      <a:pt x="37" y="195"/>
                      <a:pt x="31" y="198"/>
                      <a:pt x="36" y="204"/>
                    </a:cubicBezTo>
                    <a:cubicBezTo>
                      <a:pt x="37" y="207"/>
                      <a:pt x="41" y="208"/>
                      <a:pt x="43" y="211"/>
                    </a:cubicBezTo>
                    <a:cubicBezTo>
                      <a:pt x="44" y="214"/>
                      <a:pt x="42" y="218"/>
                      <a:pt x="43" y="221"/>
                    </a:cubicBezTo>
                    <a:cubicBezTo>
                      <a:pt x="43" y="223"/>
                      <a:pt x="45" y="222"/>
                      <a:pt x="46" y="223"/>
                    </a:cubicBezTo>
                    <a:cubicBezTo>
                      <a:pt x="49" y="227"/>
                      <a:pt x="42" y="237"/>
                      <a:pt x="40" y="240"/>
                    </a:cubicBezTo>
                    <a:cubicBezTo>
                      <a:pt x="37" y="245"/>
                      <a:pt x="45" y="248"/>
                      <a:pt x="47" y="253"/>
                    </a:cubicBezTo>
                    <a:cubicBezTo>
                      <a:pt x="48" y="256"/>
                      <a:pt x="44" y="259"/>
                      <a:pt x="46" y="262"/>
                    </a:cubicBezTo>
                    <a:cubicBezTo>
                      <a:pt x="48" y="265"/>
                      <a:pt x="53" y="264"/>
                      <a:pt x="56" y="266"/>
                    </a:cubicBezTo>
                    <a:cubicBezTo>
                      <a:pt x="62" y="272"/>
                      <a:pt x="61" y="301"/>
                      <a:pt x="57" y="312"/>
                    </a:cubicBezTo>
                    <a:close/>
                    <a:moveTo>
                      <a:pt x="0" y="99"/>
                    </a:moveTo>
                    <a:cubicBezTo>
                      <a:pt x="1" y="99"/>
                      <a:pt x="1" y="99"/>
                      <a:pt x="1" y="99"/>
                    </a:cubicBezTo>
                    <a:moveTo>
                      <a:pt x="1" y="99"/>
                    </a:moveTo>
                    <a:cubicBezTo>
                      <a:pt x="1" y="99"/>
                      <a:pt x="2" y="99"/>
                      <a:pt x="2" y="100"/>
                    </a:cubicBezTo>
                    <a:cubicBezTo>
                      <a:pt x="2" y="99"/>
                      <a:pt x="1" y="99"/>
                      <a:pt x="1" y="99"/>
                    </a:cubicBezTo>
                    <a:close/>
                    <a:moveTo>
                      <a:pt x="3" y="100"/>
                    </a:moveTo>
                    <a:cubicBezTo>
                      <a:pt x="3" y="100"/>
                      <a:pt x="3" y="100"/>
                      <a:pt x="3" y="100"/>
                    </a:cubicBezTo>
                    <a:cubicBezTo>
                      <a:pt x="3" y="100"/>
                      <a:pt x="3" y="100"/>
                      <a:pt x="3" y="100"/>
                    </a:cubicBezTo>
                    <a:cubicBezTo>
                      <a:pt x="4" y="100"/>
                      <a:pt x="4" y="100"/>
                      <a:pt x="4" y="100"/>
                    </a:cubicBezTo>
                    <a:moveTo>
                      <a:pt x="4" y="100"/>
                    </a:moveTo>
                    <a:cubicBezTo>
                      <a:pt x="4" y="100"/>
                      <a:pt x="4" y="100"/>
                      <a:pt x="5" y="100"/>
                    </a:cubicBezTo>
                    <a:cubicBezTo>
                      <a:pt x="4" y="100"/>
                      <a:pt x="4" y="100"/>
                      <a:pt x="4" y="100"/>
                    </a:cubicBezTo>
                    <a:close/>
                    <a:moveTo>
                      <a:pt x="5" y="100"/>
                    </a:moveTo>
                    <a:cubicBezTo>
                      <a:pt x="5" y="100"/>
                      <a:pt x="5" y="101"/>
                      <a:pt x="6" y="101"/>
                    </a:cubicBezTo>
                    <a:cubicBezTo>
                      <a:pt x="5" y="101"/>
                      <a:pt x="5" y="100"/>
                      <a:pt x="5" y="100"/>
                    </a:cubicBezTo>
                    <a:close/>
                    <a:moveTo>
                      <a:pt x="6" y="101"/>
                    </a:moveTo>
                    <a:cubicBezTo>
                      <a:pt x="6" y="101"/>
                      <a:pt x="6" y="101"/>
                      <a:pt x="6" y="101"/>
                    </a:cubicBezTo>
                    <a:cubicBezTo>
                      <a:pt x="6" y="101"/>
                      <a:pt x="6" y="101"/>
                      <a:pt x="6" y="101"/>
                    </a:cubicBezTo>
                    <a:moveTo>
                      <a:pt x="6" y="101"/>
                    </a:moveTo>
                    <a:cubicBezTo>
                      <a:pt x="7" y="101"/>
                      <a:pt x="7" y="101"/>
                      <a:pt x="7" y="101"/>
                    </a:cubicBezTo>
                    <a:cubicBezTo>
                      <a:pt x="7" y="101"/>
                      <a:pt x="7" y="101"/>
                      <a:pt x="6" y="101"/>
                    </a:cubicBezTo>
                    <a:close/>
                    <a:moveTo>
                      <a:pt x="7" y="101"/>
                    </a:moveTo>
                    <a:cubicBezTo>
                      <a:pt x="7" y="101"/>
                      <a:pt x="7" y="101"/>
                      <a:pt x="7" y="101"/>
                    </a:cubicBezTo>
                    <a:moveTo>
                      <a:pt x="7" y="101"/>
                    </a:moveTo>
                    <a:cubicBezTo>
                      <a:pt x="8" y="101"/>
                      <a:pt x="8" y="101"/>
                      <a:pt x="8" y="101"/>
                    </a:cubicBezTo>
                    <a:cubicBezTo>
                      <a:pt x="8" y="101"/>
                      <a:pt x="8" y="101"/>
                      <a:pt x="7" y="101"/>
                    </a:cubicBezTo>
                    <a:close/>
                    <a:moveTo>
                      <a:pt x="13" y="103"/>
                    </a:moveTo>
                    <a:cubicBezTo>
                      <a:pt x="13" y="103"/>
                      <a:pt x="13" y="103"/>
                      <a:pt x="13" y="103"/>
                    </a:cubicBezTo>
                    <a:moveTo>
                      <a:pt x="13" y="103"/>
                    </a:moveTo>
                    <a:cubicBezTo>
                      <a:pt x="13" y="103"/>
                      <a:pt x="13" y="103"/>
                      <a:pt x="13" y="103"/>
                    </a:cubicBezTo>
                    <a:close/>
                    <a:moveTo>
                      <a:pt x="201" y="12"/>
                    </a:moveTo>
                    <a:cubicBezTo>
                      <a:pt x="203" y="13"/>
                      <a:pt x="205" y="14"/>
                      <a:pt x="207" y="16"/>
                    </a:cubicBezTo>
                    <a:cubicBezTo>
                      <a:pt x="208" y="17"/>
                      <a:pt x="208" y="19"/>
                      <a:pt x="207" y="18"/>
                    </a:cubicBezTo>
                    <a:cubicBezTo>
                      <a:pt x="203" y="15"/>
                      <a:pt x="202" y="13"/>
                      <a:pt x="201" y="12"/>
                    </a:cubicBezTo>
                    <a:close/>
                  </a:path>
                </a:pathLst>
              </a:custGeom>
              <a:solidFill>
                <a:srgbClr val="405F9E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105" name="Greece" descr="{&quot;Key&quot;:&quot;greece&quot;,&quot;Name&quot;:&quot;Greece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D5BD2A77-0FCB-3EAC-9C33-3D1B76CED21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47974" y="5618192"/>
                <a:ext cx="713829" cy="928653"/>
              </a:xfrm>
              <a:custGeom>
                <a:avLst/>
                <a:gdLst>
                  <a:gd name="T0" fmla="*/ 331 w 427"/>
                  <a:gd name="T1" fmla="*/ 513 h 516"/>
                  <a:gd name="T2" fmla="*/ 272 w 427"/>
                  <a:gd name="T3" fmla="*/ 500 h 516"/>
                  <a:gd name="T4" fmla="*/ 270 w 427"/>
                  <a:gd name="T5" fmla="*/ 481 h 516"/>
                  <a:gd name="T6" fmla="*/ 292 w 427"/>
                  <a:gd name="T7" fmla="*/ 482 h 516"/>
                  <a:gd name="T8" fmla="*/ 342 w 427"/>
                  <a:gd name="T9" fmla="*/ 474 h 516"/>
                  <a:gd name="T10" fmla="*/ 388 w 427"/>
                  <a:gd name="T11" fmla="*/ 470 h 516"/>
                  <a:gd name="T12" fmla="*/ 305 w 427"/>
                  <a:gd name="T13" fmla="*/ 37 h 516"/>
                  <a:gd name="T14" fmla="*/ 323 w 427"/>
                  <a:gd name="T15" fmla="*/ 0 h 516"/>
                  <a:gd name="T16" fmla="*/ 326 w 427"/>
                  <a:gd name="T17" fmla="*/ 0 h 516"/>
                  <a:gd name="T18" fmla="*/ 337 w 427"/>
                  <a:gd name="T19" fmla="*/ 40 h 516"/>
                  <a:gd name="T20" fmla="*/ 328 w 427"/>
                  <a:gd name="T21" fmla="*/ 69 h 516"/>
                  <a:gd name="T22" fmla="*/ 235 w 427"/>
                  <a:gd name="T23" fmla="*/ 81 h 516"/>
                  <a:gd name="T24" fmla="*/ 212 w 427"/>
                  <a:gd name="T25" fmla="*/ 126 h 516"/>
                  <a:gd name="T26" fmla="*/ 223 w 427"/>
                  <a:gd name="T27" fmla="*/ 126 h 516"/>
                  <a:gd name="T28" fmla="*/ 222 w 427"/>
                  <a:gd name="T29" fmla="*/ 145 h 516"/>
                  <a:gd name="T30" fmla="*/ 187 w 427"/>
                  <a:gd name="T31" fmla="*/ 139 h 516"/>
                  <a:gd name="T32" fmla="*/ 157 w 427"/>
                  <a:gd name="T33" fmla="*/ 137 h 516"/>
                  <a:gd name="T34" fmla="*/ 145 w 427"/>
                  <a:gd name="T35" fmla="*/ 141 h 516"/>
                  <a:gd name="T36" fmla="*/ 197 w 427"/>
                  <a:gd name="T37" fmla="*/ 220 h 516"/>
                  <a:gd name="T38" fmla="*/ 171 w 427"/>
                  <a:gd name="T39" fmla="*/ 225 h 516"/>
                  <a:gd name="T40" fmla="*/ 159 w 427"/>
                  <a:gd name="T41" fmla="*/ 254 h 516"/>
                  <a:gd name="T42" fmla="*/ 184 w 427"/>
                  <a:gd name="T43" fmla="*/ 255 h 516"/>
                  <a:gd name="T44" fmla="*/ 219 w 427"/>
                  <a:gd name="T45" fmla="*/ 267 h 516"/>
                  <a:gd name="T46" fmla="*/ 251 w 427"/>
                  <a:gd name="T47" fmla="*/ 298 h 516"/>
                  <a:gd name="T48" fmla="*/ 250 w 427"/>
                  <a:gd name="T49" fmla="*/ 320 h 516"/>
                  <a:gd name="T50" fmla="*/ 216 w 427"/>
                  <a:gd name="T51" fmla="*/ 308 h 516"/>
                  <a:gd name="T52" fmla="*/ 204 w 427"/>
                  <a:gd name="T53" fmla="*/ 328 h 516"/>
                  <a:gd name="T54" fmla="*/ 197 w 427"/>
                  <a:gd name="T55" fmla="*/ 350 h 516"/>
                  <a:gd name="T56" fmla="*/ 196 w 427"/>
                  <a:gd name="T57" fmla="*/ 369 h 516"/>
                  <a:gd name="T58" fmla="*/ 208 w 427"/>
                  <a:gd name="T59" fmla="*/ 401 h 516"/>
                  <a:gd name="T60" fmla="*/ 214 w 427"/>
                  <a:gd name="T61" fmla="*/ 423 h 516"/>
                  <a:gd name="T62" fmla="*/ 180 w 427"/>
                  <a:gd name="T63" fmla="*/ 427 h 516"/>
                  <a:gd name="T64" fmla="*/ 158 w 427"/>
                  <a:gd name="T65" fmla="*/ 399 h 516"/>
                  <a:gd name="T66" fmla="*/ 125 w 427"/>
                  <a:gd name="T67" fmla="*/ 398 h 516"/>
                  <a:gd name="T68" fmla="*/ 97 w 427"/>
                  <a:gd name="T69" fmla="*/ 353 h 516"/>
                  <a:gd name="T70" fmla="*/ 94 w 427"/>
                  <a:gd name="T71" fmla="*/ 310 h 516"/>
                  <a:gd name="T72" fmla="*/ 120 w 427"/>
                  <a:gd name="T73" fmla="*/ 297 h 516"/>
                  <a:gd name="T74" fmla="*/ 191 w 427"/>
                  <a:gd name="T75" fmla="*/ 311 h 516"/>
                  <a:gd name="T76" fmla="*/ 196 w 427"/>
                  <a:gd name="T77" fmla="*/ 293 h 516"/>
                  <a:gd name="T78" fmla="*/ 162 w 427"/>
                  <a:gd name="T79" fmla="*/ 294 h 516"/>
                  <a:gd name="T80" fmla="*/ 102 w 427"/>
                  <a:gd name="T81" fmla="*/ 302 h 516"/>
                  <a:gd name="T82" fmla="*/ 79 w 427"/>
                  <a:gd name="T83" fmla="*/ 304 h 516"/>
                  <a:gd name="T84" fmla="*/ 59 w 427"/>
                  <a:gd name="T85" fmla="*/ 272 h 516"/>
                  <a:gd name="T86" fmla="*/ 17 w 427"/>
                  <a:gd name="T87" fmla="*/ 233 h 516"/>
                  <a:gd name="T88" fmla="*/ 2 w 427"/>
                  <a:gd name="T89" fmla="*/ 213 h 516"/>
                  <a:gd name="T90" fmla="*/ 35 w 427"/>
                  <a:gd name="T91" fmla="*/ 179 h 516"/>
                  <a:gd name="T92" fmla="*/ 89 w 427"/>
                  <a:gd name="T93" fmla="*/ 108 h 516"/>
                  <a:gd name="T94" fmla="*/ 139 w 427"/>
                  <a:gd name="T95" fmla="*/ 83 h 516"/>
                  <a:gd name="T96" fmla="*/ 149 w 427"/>
                  <a:gd name="T97" fmla="*/ 66 h 516"/>
                  <a:gd name="T98" fmla="*/ 167 w 427"/>
                  <a:gd name="T99" fmla="*/ 59 h 516"/>
                  <a:gd name="T100" fmla="*/ 234 w 427"/>
                  <a:gd name="T101" fmla="*/ 34 h 516"/>
                  <a:gd name="T102" fmla="*/ 256 w 427"/>
                  <a:gd name="T103" fmla="*/ 40 h 516"/>
                  <a:gd name="T104" fmla="*/ 75 w 427"/>
                  <a:gd name="T105" fmla="*/ 255 h 516"/>
                  <a:gd name="T106" fmla="*/ 75 w 427"/>
                  <a:gd name="T107" fmla="*/ 255 h 516"/>
                  <a:gd name="T108" fmla="*/ 42 w 427"/>
                  <a:gd name="T109" fmla="*/ 311 h 516"/>
                  <a:gd name="T110" fmla="*/ 54 w 427"/>
                  <a:gd name="T111" fmla="*/ 311 h 516"/>
                  <a:gd name="T112" fmla="*/ 223 w 427"/>
                  <a:gd name="T113" fmla="*/ 268 h 516"/>
                  <a:gd name="T114" fmla="*/ 178 w 427"/>
                  <a:gd name="T115" fmla="*/ 245 h 516"/>
                  <a:gd name="T116" fmla="*/ 218 w 427"/>
                  <a:gd name="T117" fmla="*/ 244 h 516"/>
                  <a:gd name="T118" fmla="*/ 253 w 427"/>
                  <a:gd name="T119" fmla="*/ 247 h 516"/>
                  <a:gd name="T120" fmla="*/ 264 w 427"/>
                  <a:gd name="T121" fmla="*/ 278 h 516"/>
                  <a:gd name="T122" fmla="*/ 259 w 427"/>
                  <a:gd name="T123" fmla="*/ 277 h 5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27" h="516">
                    <a:moveTo>
                      <a:pt x="421" y="465"/>
                    </a:moveTo>
                    <a:cubicBezTo>
                      <a:pt x="415" y="477"/>
                      <a:pt x="427" y="469"/>
                      <a:pt x="420" y="486"/>
                    </a:cubicBezTo>
                    <a:cubicBezTo>
                      <a:pt x="420" y="488"/>
                      <a:pt x="374" y="498"/>
                      <a:pt x="369" y="500"/>
                    </a:cubicBezTo>
                    <a:cubicBezTo>
                      <a:pt x="366" y="501"/>
                      <a:pt x="334" y="516"/>
                      <a:pt x="331" y="513"/>
                    </a:cubicBezTo>
                    <a:cubicBezTo>
                      <a:pt x="321" y="502"/>
                      <a:pt x="339" y="503"/>
                      <a:pt x="307" y="499"/>
                    </a:cubicBezTo>
                    <a:cubicBezTo>
                      <a:pt x="274" y="495"/>
                      <a:pt x="315" y="503"/>
                      <a:pt x="287" y="503"/>
                    </a:cubicBezTo>
                    <a:cubicBezTo>
                      <a:pt x="285" y="503"/>
                      <a:pt x="285" y="500"/>
                      <a:pt x="283" y="500"/>
                    </a:cubicBezTo>
                    <a:cubicBezTo>
                      <a:pt x="279" y="499"/>
                      <a:pt x="275" y="500"/>
                      <a:pt x="272" y="500"/>
                    </a:cubicBezTo>
                    <a:cubicBezTo>
                      <a:pt x="268" y="502"/>
                      <a:pt x="263" y="504"/>
                      <a:pt x="259" y="504"/>
                    </a:cubicBezTo>
                    <a:cubicBezTo>
                      <a:pt x="251" y="504"/>
                      <a:pt x="254" y="494"/>
                      <a:pt x="255" y="490"/>
                    </a:cubicBezTo>
                    <a:cubicBezTo>
                      <a:pt x="255" y="486"/>
                      <a:pt x="253" y="481"/>
                      <a:pt x="255" y="477"/>
                    </a:cubicBezTo>
                    <a:cubicBezTo>
                      <a:pt x="261" y="459"/>
                      <a:pt x="266" y="479"/>
                      <a:pt x="270" y="481"/>
                    </a:cubicBezTo>
                    <a:cubicBezTo>
                      <a:pt x="274" y="482"/>
                      <a:pt x="279" y="480"/>
                      <a:pt x="283" y="478"/>
                    </a:cubicBezTo>
                    <a:cubicBezTo>
                      <a:pt x="286" y="477"/>
                      <a:pt x="287" y="470"/>
                      <a:pt x="290" y="472"/>
                    </a:cubicBezTo>
                    <a:cubicBezTo>
                      <a:pt x="292" y="474"/>
                      <a:pt x="283" y="477"/>
                      <a:pt x="284" y="480"/>
                    </a:cubicBezTo>
                    <a:cubicBezTo>
                      <a:pt x="285" y="482"/>
                      <a:pt x="290" y="481"/>
                      <a:pt x="292" y="482"/>
                    </a:cubicBezTo>
                    <a:cubicBezTo>
                      <a:pt x="295" y="483"/>
                      <a:pt x="298" y="487"/>
                      <a:pt x="301" y="487"/>
                    </a:cubicBezTo>
                    <a:cubicBezTo>
                      <a:pt x="304" y="488"/>
                      <a:pt x="306" y="486"/>
                      <a:pt x="309" y="485"/>
                    </a:cubicBezTo>
                    <a:cubicBezTo>
                      <a:pt x="315" y="483"/>
                      <a:pt x="318" y="478"/>
                      <a:pt x="324" y="477"/>
                    </a:cubicBezTo>
                    <a:cubicBezTo>
                      <a:pt x="330" y="475"/>
                      <a:pt x="336" y="476"/>
                      <a:pt x="342" y="474"/>
                    </a:cubicBezTo>
                    <a:cubicBezTo>
                      <a:pt x="346" y="473"/>
                      <a:pt x="343" y="478"/>
                      <a:pt x="346" y="478"/>
                    </a:cubicBezTo>
                    <a:cubicBezTo>
                      <a:pt x="352" y="480"/>
                      <a:pt x="359" y="475"/>
                      <a:pt x="365" y="476"/>
                    </a:cubicBezTo>
                    <a:cubicBezTo>
                      <a:pt x="367" y="476"/>
                      <a:pt x="368" y="479"/>
                      <a:pt x="370" y="478"/>
                    </a:cubicBezTo>
                    <a:cubicBezTo>
                      <a:pt x="373" y="478"/>
                      <a:pt x="383" y="469"/>
                      <a:pt x="388" y="470"/>
                    </a:cubicBezTo>
                    <a:cubicBezTo>
                      <a:pt x="389" y="471"/>
                      <a:pt x="380" y="483"/>
                      <a:pt x="393" y="487"/>
                    </a:cubicBezTo>
                    <a:cubicBezTo>
                      <a:pt x="396" y="488"/>
                      <a:pt x="396" y="482"/>
                      <a:pt x="398" y="480"/>
                    </a:cubicBezTo>
                    <a:cubicBezTo>
                      <a:pt x="410" y="468"/>
                      <a:pt x="408" y="483"/>
                      <a:pt x="421" y="465"/>
                    </a:cubicBezTo>
                    <a:moveTo>
                      <a:pt x="305" y="37"/>
                    </a:moveTo>
                    <a:cubicBezTo>
                      <a:pt x="305" y="36"/>
                      <a:pt x="305" y="36"/>
                      <a:pt x="305" y="36"/>
                    </a:cubicBezTo>
                    <a:cubicBezTo>
                      <a:pt x="306" y="36"/>
                      <a:pt x="306" y="36"/>
                      <a:pt x="306" y="36"/>
                    </a:cubicBezTo>
                    <a:cubicBezTo>
                      <a:pt x="307" y="36"/>
                      <a:pt x="324" y="30"/>
                      <a:pt x="324" y="30"/>
                    </a:cubicBezTo>
                    <a:cubicBezTo>
                      <a:pt x="337" y="21"/>
                      <a:pt x="301" y="5"/>
                      <a:pt x="323" y="0"/>
                    </a:cubicBezTo>
                    <a:cubicBezTo>
                      <a:pt x="323" y="0"/>
                      <a:pt x="323" y="0"/>
                      <a:pt x="324" y="0"/>
                    </a:cubicBezTo>
                    <a:cubicBezTo>
                      <a:pt x="325" y="0"/>
                      <a:pt x="325" y="0"/>
                      <a:pt x="325" y="0"/>
                    </a:cubicBezTo>
                    <a:cubicBezTo>
                      <a:pt x="326" y="0"/>
                      <a:pt x="326" y="0"/>
                      <a:pt x="326" y="0"/>
                    </a:cubicBezTo>
                    <a:cubicBezTo>
                      <a:pt x="326" y="0"/>
                      <a:pt x="326" y="0"/>
                      <a:pt x="326" y="0"/>
                    </a:cubicBezTo>
                    <a:cubicBezTo>
                      <a:pt x="328" y="0"/>
                      <a:pt x="329" y="0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43" y="4"/>
                      <a:pt x="360" y="16"/>
                      <a:pt x="351" y="26"/>
                    </a:cubicBezTo>
                    <a:cubicBezTo>
                      <a:pt x="345" y="33"/>
                      <a:pt x="339" y="29"/>
                      <a:pt x="337" y="40"/>
                    </a:cubicBezTo>
                    <a:cubicBezTo>
                      <a:pt x="341" y="57"/>
                      <a:pt x="341" y="57"/>
                      <a:pt x="341" y="57"/>
                    </a:cubicBezTo>
                    <a:cubicBezTo>
                      <a:pt x="341" y="61"/>
                      <a:pt x="333" y="74"/>
                      <a:pt x="329" y="76"/>
                    </a:cubicBezTo>
                    <a:cubicBezTo>
                      <a:pt x="328" y="82"/>
                      <a:pt x="328" y="82"/>
                      <a:pt x="328" y="82"/>
                    </a:cubicBezTo>
                    <a:cubicBezTo>
                      <a:pt x="318" y="77"/>
                      <a:pt x="337" y="77"/>
                      <a:pt x="328" y="69"/>
                    </a:cubicBezTo>
                    <a:cubicBezTo>
                      <a:pt x="323" y="65"/>
                      <a:pt x="305" y="73"/>
                      <a:pt x="299" y="73"/>
                    </a:cubicBezTo>
                    <a:cubicBezTo>
                      <a:pt x="281" y="72"/>
                      <a:pt x="279" y="60"/>
                      <a:pt x="267" y="74"/>
                    </a:cubicBezTo>
                    <a:cubicBezTo>
                      <a:pt x="264" y="78"/>
                      <a:pt x="261" y="81"/>
                      <a:pt x="258" y="83"/>
                    </a:cubicBezTo>
                    <a:cubicBezTo>
                      <a:pt x="242" y="91"/>
                      <a:pt x="251" y="72"/>
                      <a:pt x="235" y="81"/>
                    </a:cubicBezTo>
                    <a:cubicBezTo>
                      <a:pt x="229" y="85"/>
                      <a:pt x="233" y="95"/>
                      <a:pt x="221" y="100"/>
                    </a:cubicBezTo>
                    <a:cubicBezTo>
                      <a:pt x="210" y="105"/>
                      <a:pt x="209" y="91"/>
                      <a:pt x="199" y="104"/>
                    </a:cubicBezTo>
                    <a:cubicBezTo>
                      <a:pt x="195" y="109"/>
                      <a:pt x="201" y="109"/>
                      <a:pt x="203" y="110"/>
                    </a:cubicBezTo>
                    <a:cubicBezTo>
                      <a:pt x="208" y="113"/>
                      <a:pt x="208" y="121"/>
                      <a:pt x="212" y="126"/>
                    </a:cubicBezTo>
                    <a:cubicBezTo>
                      <a:pt x="213" y="127"/>
                      <a:pt x="216" y="126"/>
                      <a:pt x="218" y="126"/>
                    </a:cubicBezTo>
                    <a:cubicBezTo>
                      <a:pt x="218" y="126"/>
                      <a:pt x="219" y="125"/>
                      <a:pt x="219" y="124"/>
                    </a:cubicBezTo>
                    <a:cubicBezTo>
                      <a:pt x="219" y="123"/>
                      <a:pt x="217" y="121"/>
                      <a:pt x="219" y="121"/>
                    </a:cubicBezTo>
                    <a:cubicBezTo>
                      <a:pt x="221" y="120"/>
                      <a:pt x="221" y="125"/>
                      <a:pt x="223" y="126"/>
                    </a:cubicBezTo>
                    <a:cubicBezTo>
                      <a:pt x="230" y="128"/>
                      <a:pt x="243" y="130"/>
                      <a:pt x="245" y="138"/>
                    </a:cubicBezTo>
                    <a:cubicBezTo>
                      <a:pt x="249" y="155"/>
                      <a:pt x="230" y="131"/>
                      <a:pt x="230" y="131"/>
                    </a:cubicBezTo>
                    <a:cubicBezTo>
                      <a:pt x="224" y="128"/>
                      <a:pt x="206" y="125"/>
                      <a:pt x="204" y="136"/>
                    </a:cubicBezTo>
                    <a:cubicBezTo>
                      <a:pt x="202" y="143"/>
                      <a:pt x="217" y="141"/>
                      <a:pt x="222" y="145"/>
                    </a:cubicBezTo>
                    <a:cubicBezTo>
                      <a:pt x="225" y="149"/>
                      <a:pt x="225" y="160"/>
                      <a:pt x="221" y="158"/>
                    </a:cubicBezTo>
                    <a:cubicBezTo>
                      <a:pt x="212" y="155"/>
                      <a:pt x="211" y="145"/>
                      <a:pt x="202" y="140"/>
                    </a:cubicBezTo>
                    <a:cubicBezTo>
                      <a:pt x="200" y="139"/>
                      <a:pt x="197" y="141"/>
                      <a:pt x="195" y="140"/>
                    </a:cubicBezTo>
                    <a:cubicBezTo>
                      <a:pt x="192" y="140"/>
                      <a:pt x="189" y="137"/>
                      <a:pt x="187" y="139"/>
                    </a:cubicBezTo>
                    <a:cubicBezTo>
                      <a:pt x="174" y="154"/>
                      <a:pt x="212" y="158"/>
                      <a:pt x="209" y="163"/>
                    </a:cubicBezTo>
                    <a:cubicBezTo>
                      <a:pt x="208" y="164"/>
                      <a:pt x="193" y="164"/>
                      <a:pt x="189" y="163"/>
                    </a:cubicBezTo>
                    <a:cubicBezTo>
                      <a:pt x="187" y="162"/>
                      <a:pt x="183" y="144"/>
                      <a:pt x="183" y="144"/>
                    </a:cubicBezTo>
                    <a:cubicBezTo>
                      <a:pt x="179" y="138"/>
                      <a:pt x="163" y="142"/>
                      <a:pt x="157" y="137"/>
                    </a:cubicBezTo>
                    <a:cubicBezTo>
                      <a:pt x="145" y="128"/>
                      <a:pt x="157" y="130"/>
                      <a:pt x="157" y="119"/>
                    </a:cubicBezTo>
                    <a:cubicBezTo>
                      <a:pt x="157" y="116"/>
                      <a:pt x="150" y="123"/>
                      <a:pt x="147" y="125"/>
                    </a:cubicBezTo>
                    <a:cubicBezTo>
                      <a:pt x="144" y="128"/>
                      <a:pt x="140" y="130"/>
                      <a:pt x="139" y="134"/>
                    </a:cubicBezTo>
                    <a:cubicBezTo>
                      <a:pt x="139" y="137"/>
                      <a:pt x="144" y="138"/>
                      <a:pt x="145" y="141"/>
                    </a:cubicBezTo>
                    <a:cubicBezTo>
                      <a:pt x="141" y="158"/>
                      <a:pt x="141" y="158"/>
                      <a:pt x="141" y="158"/>
                    </a:cubicBezTo>
                    <a:cubicBezTo>
                      <a:pt x="143" y="168"/>
                      <a:pt x="156" y="173"/>
                      <a:pt x="162" y="180"/>
                    </a:cubicBezTo>
                    <a:cubicBezTo>
                      <a:pt x="169" y="195"/>
                      <a:pt x="169" y="195"/>
                      <a:pt x="169" y="195"/>
                    </a:cubicBezTo>
                    <a:cubicBezTo>
                      <a:pt x="173" y="199"/>
                      <a:pt x="202" y="213"/>
                      <a:pt x="197" y="220"/>
                    </a:cubicBezTo>
                    <a:cubicBezTo>
                      <a:pt x="196" y="222"/>
                      <a:pt x="174" y="210"/>
                      <a:pt x="173" y="211"/>
                    </a:cubicBezTo>
                    <a:cubicBezTo>
                      <a:pt x="171" y="211"/>
                      <a:pt x="173" y="214"/>
                      <a:pt x="173" y="216"/>
                    </a:cubicBezTo>
                    <a:cubicBezTo>
                      <a:pt x="171" y="220"/>
                      <a:pt x="165" y="228"/>
                      <a:pt x="169" y="228"/>
                    </a:cubicBezTo>
                    <a:cubicBezTo>
                      <a:pt x="170" y="227"/>
                      <a:pt x="170" y="224"/>
                      <a:pt x="171" y="225"/>
                    </a:cubicBezTo>
                    <a:cubicBezTo>
                      <a:pt x="173" y="225"/>
                      <a:pt x="172" y="228"/>
                      <a:pt x="174" y="229"/>
                    </a:cubicBezTo>
                    <a:cubicBezTo>
                      <a:pt x="178" y="232"/>
                      <a:pt x="190" y="232"/>
                      <a:pt x="180" y="241"/>
                    </a:cubicBezTo>
                    <a:cubicBezTo>
                      <a:pt x="173" y="248"/>
                      <a:pt x="165" y="248"/>
                      <a:pt x="154" y="253"/>
                    </a:cubicBezTo>
                    <a:cubicBezTo>
                      <a:pt x="152" y="253"/>
                      <a:pt x="157" y="255"/>
                      <a:pt x="159" y="254"/>
                    </a:cubicBezTo>
                    <a:cubicBezTo>
                      <a:pt x="161" y="254"/>
                      <a:pt x="162" y="251"/>
                      <a:pt x="164" y="251"/>
                    </a:cubicBezTo>
                    <a:cubicBezTo>
                      <a:pt x="166" y="251"/>
                      <a:pt x="166" y="254"/>
                      <a:pt x="168" y="255"/>
                    </a:cubicBezTo>
                    <a:cubicBezTo>
                      <a:pt x="169" y="256"/>
                      <a:pt x="170" y="255"/>
                      <a:pt x="171" y="254"/>
                    </a:cubicBezTo>
                    <a:cubicBezTo>
                      <a:pt x="176" y="254"/>
                      <a:pt x="180" y="253"/>
                      <a:pt x="184" y="255"/>
                    </a:cubicBezTo>
                    <a:cubicBezTo>
                      <a:pt x="188" y="256"/>
                      <a:pt x="187" y="262"/>
                      <a:pt x="191" y="262"/>
                    </a:cubicBezTo>
                    <a:cubicBezTo>
                      <a:pt x="195" y="263"/>
                      <a:pt x="199" y="257"/>
                      <a:pt x="202" y="259"/>
                    </a:cubicBezTo>
                    <a:cubicBezTo>
                      <a:pt x="205" y="261"/>
                      <a:pt x="201" y="268"/>
                      <a:pt x="205" y="270"/>
                    </a:cubicBezTo>
                    <a:cubicBezTo>
                      <a:pt x="209" y="272"/>
                      <a:pt x="215" y="265"/>
                      <a:pt x="219" y="267"/>
                    </a:cubicBezTo>
                    <a:cubicBezTo>
                      <a:pt x="221" y="268"/>
                      <a:pt x="219" y="278"/>
                      <a:pt x="228" y="278"/>
                    </a:cubicBezTo>
                    <a:cubicBezTo>
                      <a:pt x="239" y="279"/>
                      <a:pt x="243" y="275"/>
                      <a:pt x="251" y="284"/>
                    </a:cubicBezTo>
                    <a:cubicBezTo>
                      <a:pt x="257" y="291"/>
                      <a:pt x="247" y="288"/>
                      <a:pt x="247" y="292"/>
                    </a:cubicBezTo>
                    <a:cubicBezTo>
                      <a:pt x="247" y="295"/>
                      <a:pt x="251" y="296"/>
                      <a:pt x="251" y="298"/>
                    </a:cubicBezTo>
                    <a:cubicBezTo>
                      <a:pt x="252" y="301"/>
                      <a:pt x="251" y="305"/>
                      <a:pt x="252" y="307"/>
                    </a:cubicBezTo>
                    <a:cubicBezTo>
                      <a:pt x="255" y="312"/>
                      <a:pt x="262" y="314"/>
                      <a:pt x="256" y="324"/>
                    </a:cubicBezTo>
                    <a:cubicBezTo>
                      <a:pt x="255" y="326"/>
                      <a:pt x="252" y="325"/>
                      <a:pt x="251" y="324"/>
                    </a:cubicBezTo>
                    <a:cubicBezTo>
                      <a:pt x="249" y="323"/>
                      <a:pt x="251" y="321"/>
                      <a:pt x="250" y="320"/>
                    </a:cubicBezTo>
                    <a:cubicBezTo>
                      <a:pt x="249" y="319"/>
                      <a:pt x="243" y="314"/>
                      <a:pt x="242" y="314"/>
                    </a:cubicBezTo>
                    <a:cubicBezTo>
                      <a:pt x="241" y="314"/>
                      <a:pt x="240" y="317"/>
                      <a:pt x="239" y="316"/>
                    </a:cubicBezTo>
                    <a:cubicBezTo>
                      <a:pt x="235" y="313"/>
                      <a:pt x="229" y="302"/>
                      <a:pt x="223" y="300"/>
                    </a:cubicBezTo>
                    <a:cubicBezTo>
                      <a:pt x="216" y="298"/>
                      <a:pt x="220" y="306"/>
                      <a:pt x="216" y="308"/>
                    </a:cubicBezTo>
                    <a:cubicBezTo>
                      <a:pt x="209" y="310"/>
                      <a:pt x="190" y="315"/>
                      <a:pt x="192" y="318"/>
                    </a:cubicBezTo>
                    <a:cubicBezTo>
                      <a:pt x="193" y="322"/>
                      <a:pt x="200" y="321"/>
                      <a:pt x="204" y="322"/>
                    </a:cubicBezTo>
                    <a:cubicBezTo>
                      <a:pt x="206" y="323"/>
                      <a:pt x="201" y="324"/>
                      <a:pt x="201" y="326"/>
                    </a:cubicBezTo>
                    <a:cubicBezTo>
                      <a:pt x="201" y="327"/>
                      <a:pt x="204" y="327"/>
                      <a:pt x="204" y="328"/>
                    </a:cubicBezTo>
                    <a:cubicBezTo>
                      <a:pt x="205" y="331"/>
                      <a:pt x="204" y="334"/>
                      <a:pt x="205" y="336"/>
                    </a:cubicBezTo>
                    <a:cubicBezTo>
                      <a:pt x="212" y="342"/>
                      <a:pt x="222" y="339"/>
                      <a:pt x="228" y="345"/>
                    </a:cubicBezTo>
                    <a:cubicBezTo>
                      <a:pt x="231" y="349"/>
                      <a:pt x="219" y="351"/>
                      <a:pt x="214" y="351"/>
                    </a:cubicBezTo>
                    <a:cubicBezTo>
                      <a:pt x="206" y="351"/>
                      <a:pt x="200" y="351"/>
                      <a:pt x="197" y="350"/>
                    </a:cubicBezTo>
                    <a:cubicBezTo>
                      <a:pt x="196" y="349"/>
                      <a:pt x="197" y="347"/>
                      <a:pt x="196" y="345"/>
                    </a:cubicBezTo>
                    <a:cubicBezTo>
                      <a:pt x="195" y="344"/>
                      <a:pt x="193" y="344"/>
                      <a:pt x="193" y="344"/>
                    </a:cubicBezTo>
                    <a:cubicBezTo>
                      <a:pt x="188" y="344"/>
                      <a:pt x="182" y="341"/>
                      <a:pt x="179" y="344"/>
                    </a:cubicBezTo>
                    <a:cubicBezTo>
                      <a:pt x="175" y="351"/>
                      <a:pt x="193" y="365"/>
                      <a:pt x="196" y="369"/>
                    </a:cubicBezTo>
                    <a:cubicBezTo>
                      <a:pt x="196" y="371"/>
                      <a:pt x="195" y="373"/>
                      <a:pt x="195" y="375"/>
                    </a:cubicBezTo>
                    <a:cubicBezTo>
                      <a:pt x="196" y="377"/>
                      <a:pt x="200" y="375"/>
                      <a:pt x="201" y="377"/>
                    </a:cubicBezTo>
                    <a:cubicBezTo>
                      <a:pt x="203" y="381"/>
                      <a:pt x="210" y="393"/>
                      <a:pt x="212" y="398"/>
                    </a:cubicBezTo>
                    <a:cubicBezTo>
                      <a:pt x="214" y="403"/>
                      <a:pt x="208" y="400"/>
                      <a:pt x="208" y="401"/>
                    </a:cubicBezTo>
                    <a:cubicBezTo>
                      <a:pt x="208" y="403"/>
                      <a:pt x="210" y="404"/>
                      <a:pt x="210" y="405"/>
                    </a:cubicBezTo>
                    <a:cubicBezTo>
                      <a:pt x="210" y="406"/>
                      <a:pt x="208" y="408"/>
                      <a:pt x="209" y="409"/>
                    </a:cubicBezTo>
                    <a:cubicBezTo>
                      <a:pt x="209" y="410"/>
                      <a:pt x="222" y="417"/>
                      <a:pt x="221" y="422"/>
                    </a:cubicBezTo>
                    <a:cubicBezTo>
                      <a:pt x="220" y="424"/>
                      <a:pt x="216" y="424"/>
                      <a:pt x="214" y="423"/>
                    </a:cubicBezTo>
                    <a:cubicBezTo>
                      <a:pt x="212" y="422"/>
                      <a:pt x="213" y="418"/>
                      <a:pt x="211" y="417"/>
                    </a:cubicBezTo>
                    <a:cubicBezTo>
                      <a:pt x="210" y="416"/>
                      <a:pt x="208" y="419"/>
                      <a:pt x="206" y="418"/>
                    </a:cubicBezTo>
                    <a:cubicBezTo>
                      <a:pt x="196" y="411"/>
                      <a:pt x="192" y="388"/>
                      <a:pt x="178" y="408"/>
                    </a:cubicBezTo>
                    <a:cubicBezTo>
                      <a:pt x="178" y="409"/>
                      <a:pt x="179" y="421"/>
                      <a:pt x="180" y="427"/>
                    </a:cubicBezTo>
                    <a:cubicBezTo>
                      <a:pt x="180" y="429"/>
                      <a:pt x="180" y="433"/>
                      <a:pt x="179" y="433"/>
                    </a:cubicBezTo>
                    <a:cubicBezTo>
                      <a:pt x="165" y="431"/>
                      <a:pt x="174" y="417"/>
                      <a:pt x="169" y="411"/>
                    </a:cubicBezTo>
                    <a:cubicBezTo>
                      <a:pt x="169" y="410"/>
                      <a:pt x="167" y="411"/>
                      <a:pt x="166" y="410"/>
                    </a:cubicBezTo>
                    <a:cubicBezTo>
                      <a:pt x="163" y="407"/>
                      <a:pt x="161" y="403"/>
                      <a:pt x="158" y="399"/>
                    </a:cubicBezTo>
                    <a:cubicBezTo>
                      <a:pt x="157" y="396"/>
                      <a:pt x="156" y="391"/>
                      <a:pt x="152" y="390"/>
                    </a:cubicBezTo>
                    <a:cubicBezTo>
                      <a:pt x="125" y="384"/>
                      <a:pt x="149" y="410"/>
                      <a:pt x="140" y="414"/>
                    </a:cubicBezTo>
                    <a:cubicBezTo>
                      <a:pt x="123" y="422"/>
                      <a:pt x="128" y="403"/>
                      <a:pt x="127" y="399"/>
                    </a:cubicBezTo>
                    <a:cubicBezTo>
                      <a:pt x="127" y="398"/>
                      <a:pt x="126" y="398"/>
                      <a:pt x="125" y="398"/>
                    </a:cubicBezTo>
                    <a:cubicBezTo>
                      <a:pt x="120" y="399"/>
                      <a:pt x="117" y="392"/>
                      <a:pt x="116" y="386"/>
                    </a:cubicBezTo>
                    <a:cubicBezTo>
                      <a:pt x="115" y="377"/>
                      <a:pt x="122" y="387"/>
                      <a:pt x="123" y="374"/>
                    </a:cubicBezTo>
                    <a:cubicBezTo>
                      <a:pt x="123" y="365"/>
                      <a:pt x="109" y="353"/>
                      <a:pt x="101" y="351"/>
                    </a:cubicBezTo>
                    <a:cubicBezTo>
                      <a:pt x="100" y="351"/>
                      <a:pt x="98" y="354"/>
                      <a:pt x="97" y="353"/>
                    </a:cubicBezTo>
                    <a:cubicBezTo>
                      <a:pt x="94" y="350"/>
                      <a:pt x="97" y="345"/>
                      <a:pt x="94" y="342"/>
                    </a:cubicBezTo>
                    <a:cubicBezTo>
                      <a:pt x="90" y="339"/>
                      <a:pt x="75" y="343"/>
                      <a:pt x="83" y="332"/>
                    </a:cubicBezTo>
                    <a:cubicBezTo>
                      <a:pt x="84" y="332"/>
                      <a:pt x="86" y="333"/>
                      <a:pt x="86" y="332"/>
                    </a:cubicBezTo>
                    <a:cubicBezTo>
                      <a:pt x="96" y="326"/>
                      <a:pt x="91" y="321"/>
                      <a:pt x="94" y="310"/>
                    </a:cubicBezTo>
                    <a:cubicBezTo>
                      <a:pt x="94" y="309"/>
                      <a:pt x="95" y="312"/>
                      <a:pt x="96" y="312"/>
                    </a:cubicBezTo>
                    <a:cubicBezTo>
                      <a:pt x="97" y="312"/>
                      <a:pt x="95" y="310"/>
                      <a:pt x="96" y="310"/>
                    </a:cubicBezTo>
                    <a:cubicBezTo>
                      <a:pt x="101" y="310"/>
                      <a:pt x="107" y="315"/>
                      <a:pt x="111" y="311"/>
                    </a:cubicBezTo>
                    <a:cubicBezTo>
                      <a:pt x="118" y="305"/>
                      <a:pt x="109" y="304"/>
                      <a:pt x="120" y="297"/>
                    </a:cubicBezTo>
                    <a:cubicBezTo>
                      <a:pt x="128" y="292"/>
                      <a:pt x="134" y="300"/>
                      <a:pt x="140" y="302"/>
                    </a:cubicBezTo>
                    <a:cubicBezTo>
                      <a:pt x="149" y="306"/>
                      <a:pt x="160" y="305"/>
                      <a:pt x="170" y="308"/>
                    </a:cubicBezTo>
                    <a:cubicBezTo>
                      <a:pt x="175" y="309"/>
                      <a:pt x="179" y="315"/>
                      <a:pt x="184" y="316"/>
                    </a:cubicBezTo>
                    <a:cubicBezTo>
                      <a:pt x="187" y="317"/>
                      <a:pt x="191" y="314"/>
                      <a:pt x="191" y="311"/>
                    </a:cubicBezTo>
                    <a:cubicBezTo>
                      <a:pt x="189" y="309"/>
                      <a:pt x="183" y="311"/>
                      <a:pt x="182" y="309"/>
                    </a:cubicBezTo>
                    <a:cubicBezTo>
                      <a:pt x="176" y="296"/>
                      <a:pt x="196" y="315"/>
                      <a:pt x="203" y="296"/>
                    </a:cubicBezTo>
                    <a:cubicBezTo>
                      <a:pt x="204" y="295"/>
                      <a:pt x="199" y="297"/>
                      <a:pt x="197" y="296"/>
                    </a:cubicBezTo>
                    <a:cubicBezTo>
                      <a:pt x="196" y="296"/>
                      <a:pt x="197" y="293"/>
                      <a:pt x="196" y="293"/>
                    </a:cubicBezTo>
                    <a:cubicBezTo>
                      <a:pt x="195" y="293"/>
                      <a:pt x="194" y="300"/>
                      <a:pt x="191" y="296"/>
                    </a:cubicBezTo>
                    <a:cubicBezTo>
                      <a:pt x="187" y="291"/>
                      <a:pt x="183" y="298"/>
                      <a:pt x="176" y="295"/>
                    </a:cubicBezTo>
                    <a:cubicBezTo>
                      <a:pt x="172" y="293"/>
                      <a:pt x="171" y="286"/>
                      <a:pt x="166" y="285"/>
                    </a:cubicBezTo>
                    <a:cubicBezTo>
                      <a:pt x="163" y="285"/>
                      <a:pt x="165" y="294"/>
                      <a:pt x="162" y="294"/>
                    </a:cubicBezTo>
                    <a:cubicBezTo>
                      <a:pt x="152" y="293"/>
                      <a:pt x="158" y="270"/>
                      <a:pt x="151" y="283"/>
                    </a:cubicBezTo>
                    <a:cubicBezTo>
                      <a:pt x="150" y="285"/>
                      <a:pt x="154" y="290"/>
                      <a:pt x="152" y="292"/>
                    </a:cubicBezTo>
                    <a:cubicBezTo>
                      <a:pt x="148" y="296"/>
                      <a:pt x="130" y="288"/>
                      <a:pt x="126" y="290"/>
                    </a:cubicBezTo>
                    <a:cubicBezTo>
                      <a:pt x="118" y="293"/>
                      <a:pt x="113" y="300"/>
                      <a:pt x="102" y="302"/>
                    </a:cubicBezTo>
                    <a:cubicBezTo>
                      <a:pt x="96" y="304"/>
                      <a:pt x="94" y="295"/>
                      <a:pt x="90" y="293"/>
                    </a:cubicBezTo>
                    <a:cubicBezTo>
                      <a:pt x="89" y="292"/>
                      <a:pt x="91" y="297"/>
                      <a:pt x="90" y="298"/>
                    </a:cubicBezTo>
                    <a:cubicBezTo>
                      <a:pt x="88" y="301"/>
                      <a:pt x="84" y="304"/>
                      <a:pt x="80" y="306"/>
                    </a:cubicBezTo>
                    <a:cubicBezTo>
                      <a:pt x="79" y="306"/>
                      <a:pt x="80" y="304"/>
                      <a:pt x="79" y="304"/>
                    </a:cubicBezTo>
                    <a:cubicBezTo>
                      <a:pt x="73" y="301"/>
                      <a:pt x="79" y="296"/>
                      <a:pt x="75" y="289"/>
                    </a:cubicBezTo>
                    <a:cubicBezTo>
                      <a:pt x="73" y="286"/>
                      <a:pt x="70" y="283"/>
                      <a:pt x="67" y="280"/>
                    </a:cubicBezTo>
                    <a:cubicBezTo>
                      <a:pt x="66" y="280"/>
                      <a:pt x="64" y="282"/>
                      <a:pt x="63" y="281"/>
                    </a:cubicBezTo>
                    <a:cubicBezTo>
                      <a:pt x="60" y="279"/>
                      <a:pt x="62" y="274"/>
                      <a:pt x="59" y="272"/>
                    </a:cubicBezTo>
                    <a:cubicBezTo>
                      <a:pt x="53" y="268"/>
                      <a:pt x="43" y="283"/>
                      <a:pt x="51" y="262"/>
                    </a:cubicBezTo>
                    <a:cubicBezTo>
                      <a:pt x="50" y="262"/>
                      <a:pt x="49" y="261"/>
                      <a:pt x="47" y="260"/>
                    </a:cubicBezTo>
                    <a:cubicBezTo>
                      <a:pt x="46" y="258"/>
                      <a:pt x="47" y="255"/>
                      <a:pt x="46" y="254"/>
                    </a:cubicBezTo>
                    <a:cubicBezTo>
                      <a:pt x="40" y="246"/>
                      <a:pt x="24" y="239"/>
                      <a:pt x="17" y="233"/>
                    </a:cubicBezTo>
                    <a:cubicBezTo>
                      <a:pt x="15" y="232"/>
                      <a:pt x="18" y="226"/>
                      <a:pt x="16" y="224"/>
                    </a:cubicBezTo>
                    <a:cubicBezTo>
                      <a:pt x="15" y="223"/>
                      <a:pt x="6" y="229"/>
                      <a:pt x="0" y="215"/>
                    </a:cubicBezTo>
                    <a:cubicBezTo>
                      <a:pt x="1" y="215"/>
                      <a:pt x="1" y="215"/>
                      <a:pt x="2" y="214"/>
                    </a:cubicBezTo>
                    <a:cubicBezTo>
                      <a:pt x="2" y="214"/>
                      <a:pt x="1" y="213"/>
                      <a:pt x="2" y="213"/>
                    </a:cubicBezTo>
                    <a:cubicBezTo>
                      <a:pt x="11" y="211"/>
                      <a:pt x="17" y="219"/>
                      <a:pt x="17" y="205"/>
                    </a:cubicBezTo>
                    <a:cubicBezTo>
                      <a:pt x="17" y="201"/>
                      <a:pt x="25" y="206"/>
                      <a:pt x="23" y="201"/>
                    </a:cubicBezTo>
                    <a:cubicBezTo>
                      <a:pt x="16" y="190"/>
                      <a:pt x="16" y="190"/>
                      <a:pt x="16" y="190"/>
                    </a:cubicBezTo>
                    <a:cubicBezTo>
                      <a:pt x="16" y="186"/>
                      <a:pt x="34" y="180"/>
                      <a:pt x="35" y="179"/>
                    </a:cubicBezTo>
                    <a:cubicBezTo>
                      <a:pt x="35" y="178"/>
                      <a:pt x="38" y="155"/>
                      <a:pt x="38" y="155"/>
                    </a:cubicBezTo>
                    <a:cubicBezTo>
                      <a:pt x="42" y="140"/>
                      <a:pt x="46" y="159"/>
                      <a:pt x="51" y="137"/>
                    </a:cubicBezTo>
                    <a:cubicBezTo>
                      <a:pt x="53" y="130"/>
                      <a:pt x="45" y="128"/>
                      <a:pt x="45" y="121"/>
                    </a:cubicBezTo>
                    <a:cubicBezTo>
                      <a:pt x="49" y="121"/>
                      <a:pt x="87" y="109"/>
                      <a:pt x="89" y="108"/>
                    </a:cubicBezTo>
                    <a:cubicBezTo>
                      <a:pt x="96" y="101"/>
                      <a:pt x="91" y="92"/>
                      <a:pt x="102" y="88"/>
                    </a:cubicBezTo>
                    <a:cubicBezTo>
                      <a:pt x="106" y="86"/>
                      <a:pt x="128" y="89"/>
                      <a:pt x="132" y="87"/>
                    </a:cubicBezTo>
                    <a:cubicBezTo>
                      <a:pt x="133" y="86"/>
                      <a:pt x="133" y="82"/>
                      <a:pt x="135" y="81"/>
                    </a:cubicBezTo>
                    <a:cubicBezTo>
                      <a:pt x="136" y="81"/>
                      <a:pt x="137" y="84"/>
                      <a:pt x="139" y="83"/>
                    </a:cubicBezTo>
                    <a:cubicBezTo>
                      <a:pt x="145" y="78"/>
                      <a:pt x="130" y="69"/>
                      <a:pt x="148" y="66"/>
                    </a:cubicBezTo>
                    <a:cubicBezTo>
                      <a:pt x="148" y="66"/>
                      <a:pt x="148" y="68"/>
                      <a:pt x="148" y="68"/>
                    </a:cubicBezTo>
                    <a:cubicBezTo>
                      <a:pt x="149" y="66"/>
                      <a:pt x="149" y="63"/>
                      <a:pt x="149" y="59"/>
                    </a:cubicBezTo>
                    <a:cubicBezTo>
                      <a:pt x="149" y="61"/>
                      <a:pt x="149" y="64"/>
                      <a:pt x="149" y="66"/>
                    </a:cubicBezTo>
                    <a:cubicBezTo>
                      <a:pt x="148" y="66"/>
                      <a:pt x="148" y="66"/>
                      <a:pt x="148" y="66"/>
                    </a:cubicBezTo>
                    <a:cubicBezTo>
                      <a:pt x="150" y="66"/>
                      <a:pt x="153" y="66"/>
                      <a:pt x="156" y="66"/>
                    </a:cubicBezTo>
                    <a:cubicBezTo>
                      <a:pt x="158" y="66"/>
                      <a:pt x="161" y="68"/>
                      <a:pt x="162" y="66"/>
                    </a:cubicBezTo>
                    <a:cubicBezTo>
                      <a:pt x="165" y="65"/>
                      <a:pt x="165" y="60"/>
                      <a:pt x="167" y="59"/>
                    </a:cubicBezTo>
                    <a:cubicBezTo>
                      <a:pt x="173" y="55"/>
                      <a:pt x="182" y="57"/>
                      <a:pt x="188" y="55"/>
                    </a:cubicBezTo>
                    <a:cubicBezTo>
                      <a:pt x="204" y="50"/>
                      <a:pt x="208" y="43"/>
                      <a:pt x="218" y="37"/>
                    </a:cubicBezTo>
                    <a:cubicBezTo>
                      <a:pt x="220" y="35"/>
                      <a:pt x="223" y="40"/>
                      <a:pt x="225" y="39"/>
                    </a:cubicBezTo>
                    <a:cubicBezTo>
                      <a:pt x="229" y="38"/>
                      <a:pt x="230" y="33"/>
                      <a:pt x="234" y="34"/>
                    </a:cubicBezTo>
                    <a:cubicBezTo>
                      <a:pt x="238" y="34"/>
                      <a:pt x="239" y="40"/>
                      <a:pt x="243" y="43"/>
                    </a:cubicBezTo>
                    <a:cubicBezTo>
                      <a:pt x="244" y="44"/>
                      <a:pt x="245" y="42"/>
                      <a:pt x="247" y="42"/>
                    </a:cubicBezTo>
                    <a:cubicBezTo>
                      <a:pt x="248" y="43"/>
                      <a:pt x="249" y="47"/>
                      <a:pt x="251" y="46"/>
                    </a:cubicBezTo>
                    <a:cubicBezTo>
                      <a:pt x="253" y="46"/>
                      <a:pt x="253" y="41"/>
                      <a:pt x="256" y="40"/>
                    </a:cubicBezTo>
                    <a:cubicBezTo>
                      <a:pt x="262" y="39"/>
                      <a:pt x="269" y="42"/>
                      <a:pt x="275" y="45"/>
                    </a:cubicBezTo>
                    <a:cubicBezTo>
                      <a:pt x="276" y="46"/>
                      <a:pt x="275" y="48"/>
                      <a:pt x="277" y="48"/>
                    </a:cubicBezTo>
                    <a:cubicBezTo>
                      <a:pt x="285" y="49"/>
                      <a:pt x="297" y="39"/>
                      <a:pt x="305" y="37"/>
                    </a:cubicBezTo>
                    <a:close/>
                    <a:moveTo>
                      <a:pt x="75" y="255"/>
                    </a:moveTo>
                    <a:cubicBezTo>
                      <a:pt x="81" y="243"/>
                      <a:pt x="64" y="257"/>
                      <a:pt x="64" y="256"/>
                    </a:cubicBezTo>
                    <a:cubicBezTo>
                      <a:pt x="60" y="254"/>
                      <a:pt x="57" y="247"/>
                      <a:pt x="53" y="249"/>
                    </a:cubicBezTo>
                    <a:cubicBezTo>
                      <a:pt x="52" y="249"/>
                      <a:pt x="56" y="258"/>
                      <a:pt x="55" y="261"/>
                    </a:cubicBezTo>
                    <a:cubicBezTo>
                      <a:pt x="61" y="261"/>
                      <a:pt x="71" y="261"/>
                      <a:pt x="75" y="255"/>
                    </a:cubicBezTo>
                    <a:close/>
                    <a:moveTo>
                      <a:pt x="65" y="323"/>
                    </a:moveTo>
                    <a:cubicBezTo>
                      <a:pt x="60" y="327"/>
                      <a:pt x="59" y="321"/>
                      <a:pt x="55" y="321"/>
                    </a:cubicBezTo>
                    <a:cubicBezTo>
                      <a:pt x="53" y="321"/>
                      <a:pt x="50" y="323"/>
                      <a:pt x="48" y="323"/>
                    </a:cubicBezTo>
                    <a:cubicBezTo>
                      <a:pt x="44" y="322"/>
                      <a:pt x="46" y="309"/>
                      <a:pt x="42" y="311"/>
                    </a:cubicBezTo>
                    <a:cubicBezTo>
                      <a:pt x="41" y="313"/>
                      <a:pt x="43" y="317"/>
                      <a:pt x="42" y="319"/>
                    </a:cubicBezTo>
                    <a:cubicBezTo>
                      <a:pt x="38" y="328"/>
                      <a:pt x="35" y="312"/>
                      <a:pt x="47" y="296"/>
                    </a:cubicBezTo>
                    <a:cubicBezTo>
                      <a:pt x="49" y="298"/>
                      <a:pt x="51" y="301"/>
                      <a:pt x="53" y="305"/>
                    </a:cubicBezTo>
                    <a:cubicBezTo>
                      <a:pt x="53" y="305"/>
                      <a:pt x="51" y="310"/>
                      <a:pt x="54" y="311"/>
                    </a:cubicBezTo>
                    <a:cubicBezTo>
                      <a:pt x="57" y="311"/>
                      <a:pt x="71" y="318"/>
                      <a:pt x="65" y="323"/>
                    </a:cubicBezTo>
                    <a:close/>
                    <a:moveTo>
                      <a:pt x="259" y="275"/>
                    </a:moveTo>
                    <a:cubicBezTo>
                      <a:pt x="256" y="271"/>
                      <a:pt x="252" y="268"/>
                      <a:pt x="247" y="267"/>
                    </a:cubicBezTo>
                    <a:cubicBezTo>
                      <a:pt x="240" y="265"/>
                      <a:pt x="231" y="275"/>
                      <a:pt x="223" y="268"/>
                    </a:cubicBezTo>
                    <a:cubicBezTo>
                      <a:pt x="222" y="266"/>
                      <a:pt x="226" y="264"/>
                      <a:pt x="225" y="262"/>
                    </a:cubicBezTo>
                    <a:cubicBezTo>
                      <a:pt x="223" y="257"/>
                      <a:pt x="189" y="241"/>
                      <a:pt x="183" y="242"/>
                    </a:cubicBezTo>
                    <a:cubicBezTo>
                      <a:pt x="180" y="244"/>
                      <a:pt x="178" y="248"/>
                      <a:pt x="175" y="249"/>
                    </a:cubicBezTo>
                    <a:cubicBezTo>
                      <a:pt x="174" y="250"/>
                      <a:pt x="176" y="246"/>
                      <a:pt x="178" y="245"/>
                    </a:cubicBezTo>
                    <a:cubicBezTo>
                      <a:pt x="179" y="243"/>
                      <a:pt x="182" y="241"/>
                      <a:pt x="183" y="240"/>
                    </a:cubicBezTo>
                    <a:cubicBezTo>
                      <a:pt x="186" y="237"/>
                      <a:pt x="187" y="236"/>
                      <a:pt x="189" y="234"/>
                    </a:cubicBezTo>
                    <a:cubicBezTo>
                      <a:pt x="193" y="232"/>
                      <a:pt x="196" y="230"/>
                      <a:pt x="200" y="228"/>
                    </a:cubicBezTo>
                    <a:cubicBezTo>
                      <a:pt x="209" y="233"/>
                      <a:pt x="208" y="239"/>
                      <a:pt x="218" y="244"/>
                    </a:cubicBezTo>
                    <a:cubicBezTo>
                      <a:pt x="219" y="245"/>
                      <a:pt x="222" y="245"/>
                      <a:pt x="224" y="245"/>
                    </a:cubicBezTo>
                    <a:cubicBezTo>
                      <a:pt x="225" y="245"/>
                      <a:pt x="226" y="243"/>
                      <a:pt x="227" y="244"/>
                    </a:cubicBezTo>
                    <a:cubicBezTo>
                      <a:pt x="230" y="245"/>
                      <a:pt x="232" y="248"/>
                      <a:pt x="235" y="249"/>
                    </a:cubicBezTo>
                    <a:cubicBezTo>
                      <a:pt x="239" y="250"/>
                      <a:pt x="251" y="243"/>
                      <a:pt x="253" y="247"/>
                    </a:cubicBezTo>
                    <a:cubicBezTo>
                      <a:pt x="253" y="248"/>
                      <a:pt x="252" y="248"/>
                      <a:pt x="252" y="249"/>
                    </a:cubicBezTo>
                    <a:cubicBezTo>
                      <a:pt x="252" y="249"/>
                      <a:pt x="251" y="250"/>
                      <a:pt x="252" y="251"/>
                    </a:cubicBezTo>
                    <a:cubicBezTo>
                      <a:pt x="254" y="253"/>
                      <a:pt x="258" y="253"/>
                      <a:pt x="260" y="256"/>
                    </a:cubicBezTo>
                    <a:cubicBezTo>
                      <a:pt x="260" y="257"/>
                      <a:pt x="259" y="274"/>
                      <a:pt x="264" y="278"/>
                    </a:cubicBezTo>
                    <a:cubicBezTo>
                      <a:pt x="270" y="282"/>
                      <a:pt x="296" y="274"/>
                      <a:pt x="286" y="291"/>
                    </a:cubicBezTo>
                    <a:cubicBezTo>
                      <a:pt x="280" y="300"/>
                      <a:pt x="265" y="288"/>
                      <a:pt x="261" y="284"/>
                    </a:cubicBezTo>
                    <a:cubicBezTo>
                      <a:pt x="261" y="283"/>
                      <a:pt x="263" y="283"/>
                      <a:pt x="263" y="282"/>
                    </a:cubicBezTo>
                    <a:cubicBezTo>
                      <a:pt x="262" y="280"/>
                      <a:pt x="261" y="278"/>
                      <a:pt x="259" y="277"/>
                    </a:cubicBezTo>
                    <a:cubicBezTo>
                      <a:pt x="258" y="277"/>
                      <a:pt x="257" y="280"/>
                      <a:pt x="256" y="279"/>
                    </a:cubicBezTo>
                    <a:cubicBezTo>
                      <a:pt x="256" y="278"/>
                      <a:pt x="260" y="276"/>
                      <a:pt x="259" y="275"/>
                    </a:cubicBezTo>
                    <a:close/>
                  </a:path>
                </a:pathLst>
              </a:custGeom>
              <a:solidFill>
                <a:srgbClr val="C2CEE6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106" name="Kazakhstan" descr="{&quot;Key&quot;:&quot;kazakhstan&quot;,&quot;Name&quot;:&quot;Kazakhstan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BD499379-8AD6-9F44-EDB7-E5ECA33318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89216" y="2062869"/>
                <a:ext cx="1055932" cy="2516760"/>
              </a:xfrm>
              <a:custGeom>
                <a:avLst/>
                <a:gdLst>
                  <a:gd name="T0" fmla="*/ 610 w 631"/>
                  <a:gd name="T1" fmla="*/ 53 h 1398"/>
                  <a:gd name="T2" fmla="*/ 558 w 631"/>
                  <a:gd name="T3" fmla="*/ 20 h 1398"/>
                  <a:gd name="T4" fmla="*/ 526 w 631"/>
                  <a:gd name="T5" fmla="*/ 33 h 1398"/>
                  <a:gd name="T6" fmla="*/ 486 w 631"/>
                  <a:gd name="T7" fmla="*/ 66 h 1398"/>
                  <a:gd name="T8" fmla="*/ 475 w 631"/>
                  <a:gd name="T9" fmla="*/ 99 h 1398"/>
                  <a:gd name="T10" fmla="*/ 453 w 631"/>
                  <a:gd name="T11" fmla="*/ 174 h 1398"/>
                  <a:gd name="T12" fmla="*/ 429 w 631"/>
                  <a:gd name="T13" fmla="*/ 211 h 1398"/>
                  <a:gd name="T14" fmla="*/ 417 w 631"/>
                  <a:gd name="T15" fmla="*/ 253 h 1398"/>
                  <a:gd name="T16" fmla="*/ 393 w 631"/>
                  <a:gd name="T17" fmla="*/ 302 h 1398"/>
                  <a:gd name="T18" fmla="*/ 383 w 631"/>
                  <a:gd name="T19" fmla="*/ 343 h 1398"/>
                  <a:gd name="T20" fmla="*/ 358 w 631"/>
                  <a:gd name="T21" fmla="*/ 361 h 1398"/>
                  <a:gd name="T22" fmla="*/ 332 w 631"/>
                  <a:gd name="T23" fmla="*/ 385 h 1398"/>
                  <a:gd name="T24" fmla="*/ 362 w 631"/>
                  <a:gd name="T25" fmla="*/ 399 h 1398"/>
                  <a:gd name="T26" fmla="*/ 369 w 631"/>
                  <a:gd name="T27" fmla="*/ 418 h 1398"/>
                  <a:gd name="T28" fmla="*/ 401 w 631"/>
                  <a:gd name="T29" fmla="*/ 425 h 1398"/>
                  <a:gd name="T30" fmla="*/ 386 w 631"/>
                  <a:gd name="T31" fmla="*/ 469 h 1398"/>
                  <a:gd name="T32" fmla="*/ 410 w 631"/>
                  <a:gd name="T33" fmla="*/ 500 h 1398"/>
                  <a:gd name="T34" fmla="*/ 425 w 631"/>
                  <a:gd name="T35" fmla="*/ 536 h 1398"/>
                  <a:gd name="T36" fmla="*/ 485 w 631"/>
                  <a:gd name="T37" fmla="*/ 525 h 1398"/>
                  <a:gd name="T38" fmla="*/ 443 w 631"/>
                  <a:gd name="T39" fmla="*/ 626 h 1398"/>
                  <a:gd name="T40" fmla="*/ 405 w 631"/>
                  <a:gd name="T41" fmla="*/ 637 h 1398"/>
                  <a:gd name="T42" fmla="*/ 380 w 631"/>
                  <a:gd name="T43" fmla="*/ 630 h 1398"/>
                  <a:gd name="T44" fmla="*/ 363 w 631"/>
                  <a:gd name="T45" fmla="*/ 672 h 1398"/>
                  <a:gd name="T46" fmla="*/ 318 w 631"/>
                  <a:gd name="T47" fmla="*/ 688 h 1398"/>
                  <a:gd name="T48" fmla="*/ 301 w 631"/>
                  <a:gd name="T49" fmla="*/ 743 h 1398"/>
                  <a:gd name="T50" fmla="*/ 275 w 631"/>
                  <a:gd name="T51" fmla="*/ 775 h 1398"/>
                  <a:gd name="T52" fmla="*/ 221 w 631"/>
                  <a:gd name="T53" fmla="*/ 753 h 1398"/>
                  <a:gd name="T54" fmla="*/ 138 w 631"/>
                  <a:gd name="T55" fmla="*/ 763 h 1398"/>
                  <a:gd name="T56" fmla="*/ 111 w 631"/>
                  <a:gd name="T57" fmla="*/ 806 h 1398"/>
                  <a:gd name="T58" fmla="*/ 79 w 631"/>
                  <a:gd name="T59" fmla="*/ 814 h 1398"/>
                  <a:gd name="T60" fmla="*/ 55 w 631"/>
                  <a:gd name="T61" fmla="*/ 876 h 1398"/>
                  <a:gd name="T62" fmla="*/ 39 w 631"/>
                  <a:gd name="T63" fmla="*/ 929 h 1398"/>
                  <a:gd name="T64" fmla="*/ 76 w 631"/>
                  <a:gd name="T65" fmla="*/ 968 h 1398"/>
                  <a:gd name="T66" fmla="*/ 2 w 631"/>
                  <a:gd name="T67" fmla="*/ 1019 h 1398"/>
                  <a:gd name="T68" fmla="*/ 36 w 631"/>
                  <a:gd name="T69" fmla="*/ 1127 h 1398"/>
                  <a:gd name="T70" fmla="*/ 75 w 631"/>
                  <a:gd name="T71" fmla="*/ 1141 h 1398"/>
                  <a:gd name="T72" fmla="*/ 96 w 631"/>
                  <a:gd name="T73" fmla="*/ 1141 h 1398"/>
                  <a:gd name="T74" fmla="*/ 195 w 631"/>
                  <a:gd name="T75" fmla="*/ 1184 h 1398"/>
                  <a:gd name="T76" fmla="*/ 229 w 631"/>
                  <a:gd name="T77" fmla="*/ 1171 h 1398"/>
                  <a:gd name="T78" fmla="*/ 258 w 631"/>
                  <a:gd name="T79" fmla="*/ 1124 h 1398"/>
                  <a:gd name="T80" fmla="*/ 269 w 631"/>
                  <a:gd name="T81" fmla="*/ 1114 h 1398"/>
                  <a:gd name="T82" fmla="*/ 318 w 631"/>
                  <a:gd name="T83" fmla="*/ 1085 h 1398"/>
                  <a:gd name="T84" fmla="*/ 374 w 631"/>
                  <a:gd name="T85" fmla="*/ 1058 h 1398"/>
                  <a:gd name="T86" fmla="*/ 387 w 631"/>
                  <a:gd name="T87" fmla="*/ 1077 h 1398"/>
                  <a:gd name="T88" fmla="*/ 383 w 631"/>
                  <a:gd name="T89" fmla="*/ 1177 h 1398"/>
                  <a:gd name="T90" fmla="*/ 361 w 631"/>
                  <a:gd name="T91" fmla="*/ 1221 h 1398"/>
                  <a:gd name="T92" fmla="*/ 398 w 631"/>
                  <a:gd name="T93" fmla="*/ 1246 h 1398"/>
                  <a:gd name="T94" fmla="*/ 359 w 631"/>
                  <a:gd name="T95" fmla="*/ 1264 h 1398"/>
                  <a:gd name="T96" fmla="*/ 436 w 631"/>
                  <a:gd name="T97" fmla="*/ 1343 h 1398"/>
                  <a:gd name="T98" fmla="*/ 487 w 631"/>
                  <a:gd name="T99" fmla="*/ 1333 h 1398"/>
                  <a:gd name="T100" fmla="*/ 518 w 631"/>
                  <a:gd name="T101" fmla="*/ 1335 h 1398"/>
                  <a:gd name="T102" fmla="*/ 542 w 631"/>
                  <a:gd name="T103" fmla="*/ 1398 h 1398"/>
                  <a:gd name="T104" fmla="*/ 605 w 631"/>
                  <a:gd name="T105" fmla="*/ 1136 h 1398"/>
                  <a:gd name="T106" fmla="*/ 631 w 631"/>
                  <a:gd name="T107" fmla="*/ 18 h 13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31" h="1398">
                    <a:moveTo>
                      <a:pt x="631" y="18"/>
                    </a:moveTo>
                    <a:cubicBezTo>
                      <a:pt x="627" y="18"/>
                      <a:pt x="621" y="15"/>
                      <a:pt x="616" y="25"/>
                    </a:cubicBezTo>
                    <a:cubicBezTo>
                      <a:pt x="615" y="27"/>
                      <a:pt x="623" y="30"/>
                      <a:pt x="621" y="36"/>
                    </a:cubicBezTo>
                    <a:cubicBezTo>
                      <a:pt x="617" y="49"/>
                      <a:pt x="610" y="28"/>
                      <a:pt x="607" y="41"/>
                    </a:cubicBezTo>
                    <a:cubicBezTo>
                      <a:pt x="606" y="45"/>
                      <a:pt x="614" y="51"/>
                      <a:pt x="610" y="53"/>
                    </a:cubicBezTo>
                    <a:cubicBezTo>
                      <a:pt x="608" y="53"/>
                      <a:pt x="591" y="49"/>
                      <a:pt x="592" y="47"/>
                    </a:cubicBezTo>
                    <a:cubicBezTo>
                      <a:pt x="593" y="44"/>
                      <a:pt x="596" y="43"/>
                      <a:pt x="597" y="40"/>
                    </a:cubicBezTo>
                    <a:cubicBezTo>
                      <a:pt x="598" y="37"/>
                      <a:pt x="589" y="39"/>
                      <a:pt x="581" y="28"/>
                    </a:cubicBezTo>
                    <a:cubicBezTo>
                      <a:pt x="575" y="21"/>
                      <a:pt x="588" y="24"/>
                      <a:pt x="578" y="20"/>
                    </a:cubicBezTo>
                    <a:cubicBezTo>
                      <a:pt x="572" y="17"/>
                      <a:pt x="571" y="30"/>
                      <a:pt x="558" y="20"/>
                    </a:cubicBezTo>
                    <a:cubicBezTo>
                      <a:pt x="558" y="20"/>
                      <a:pt x="551" y="10"/>
                      <a:pt x="547" y="10"/>
                    </a:cubicBezTo>
                    <a:cubicBezTo>
                      <a:pt x="542" y="9"/>
                      <a:pt x="538" y="10"/>
                      <a:pt x="534" y="8"/>
                    </a:cubicBezTo>
                    <a:cubicBezTo>
                      <a:pt x="533" y="8"/>
                      <a:pt x="532" y="0"/>
                      <a:pt x="529" y="5"/>
                    </a:cubicBezTo>
                    <a:cubicBezTo>
                      <a:pt x="524" y="16"/>
                      <a:pt x="524" y="18"/>
                      <a:pt x="525" y="28"/>
                    </a:cubicBezTo>
                    <a:cubicBezTo>
                      <a:pt x="525" y="30"/>
                      <a:pt x="528" y="32"/>
                      <a:pt x="526" y="33"/>
                    </a:cubicBezTo>
                    <a:cubicBezTo>
                      <a:pt x="518" y="41"/>
                      <a:pt x="509" y="35"/>
                      <a:pt x="500" y="40"/>
                    </a:cubicBezTo>
                    <a:cubicBezTo>
                      <a:pt x="469" y="59"/>
                      <a:pt x="507" y="40"/>
                      <a:pt x="487" y="56"/>
                    </a:cubicBezTo>
                    <a:cubicBezTo>
                      <a:pt x="486" y="57"/>
                      <a:pt x="485" y="54"/>
                      <a:pt x="484" y="54"/>
                    </a:cubicBezTo>
                    <a:cubicBezTo>
                      <a:pt x="481" y="55"/>
                      <a:pt x="478" y="56"/>
                      <a:pt x="475" y="58"/>
                    </a:cubicBezTo>
                    <a:cubicBezTo>
                      <a:pt x="473" y="61"/>
                      <a:pt x="486" y="64"/>
                      <a:pt x="486" y="66"/>
                    </a:cubicBezTo>
                    <a:cubicBezTo>
                      <a:pt x="487" y="67"/>
                      <a:pt x="482" y="65"/>
                      <a:pt x="479" y="66"/>
                    </a:cubicBezTo>
                    <a:cubicBezTo>
                      <a:pt x="477" y="66"/>
                      <a:pt x="476" y="69"/>
                      <a:pt x="474" y="70"/>
                    </a:cubicBezTo>
                    <a:cubicBezTo>
                      <a:pt x="471" y="73"/>
                      <a:pt x="481" y="78"/>
                      <a:pt x="481" y="82"/>
                    </a:cubicBezTo>
                    <a:cubicBezTo>
                      <a:pt x="482" y="88"/>
                      <a:pt x="472" y="91"/>
                      <a:pt x="472" y="96"/>
                    </a:cubicBezTo>
                    <a:cubicBezTo>
                      <a:pt x="472" y="98"/>
                      <a:pt x="473" y="99"/>
                      <a:pt x="475" y="99"/>
                    </a:cubicBezTo>
                    <a:cubicBezTo>
                      <a:pt x="481" y="99"/>
                      <a:pt x="485" y="98"/>
                      <a:pt x="483" y="108"/>
                    </a:cubicBezTo>
                    <a:cubicBezTo>
                      <a:pt x="483" y="118"/>
                      <a:pt x="474" y="112"/>
                      <a:pt x="474" y="119"/>
                    </a:cubicBezTo>
                    <a:cubicBezTo>
                      <a:pt x="474" y="141"/>
                      <a:pt x="473" y="125"/>
                      <a:pt x="465" y="142"/>
                    </a:cubicBezTo>
                    <a:cubicBezTo>
                      <a:pt x="465" y="143"/>
                      <a:pt x="468" y="145"/>
                      <a:pt x="468" y="147"/>
                    </a:cubicBezTo>
                    <a:cubicBezTo>
                      <a:pt x="466" y="155"/>
                      <a:pt x="457" y="166"/>
                      <a:pt x="453" y="174"/>
                    </a:cubicBezTo>
                    <a:cubicBezTo>
                      <a:pt x="451" y="180"/>
                      <a:pt x="447" y="186"/>
                      <a:pt x="444" y="191"/>
                    </a:cubicBezTo>
                    <a:cubicBezTo>
                      <a:pt x="444" y="193"/>
                      <a:pt x="445" y="196"/>
                      <a:pt x="443" y="197"/>
                    </a:cubicBezTo>
                    <a:cubicBezTo>
                      <a:pt x="440" y="197"/>
                      <a:pt x="440" y="192"/>
                      <a:pt x="437" y="192"/>
                    </a:cubicBezTo>
                    <a:cubicBezTo>
                      <a:pt x="432" y="192"/>
                      <a:pt x="439" y="201"/>
                      <a:pt x="438" y="205"/>
                    </a:cubicBezTo>
                    <a:cubicBezTo>
                      <a:pt x="436" y="208"/>
                      <a:pt x="431" y="209"/>
                      <a:pt x="429" y="211"/>
                    </a:cubicBezTo>
                    <a:cubicBezTo>
                      <a:pt x="427" y="212"/>
                      <a:pt x="432" y="213"/>
                      <a:pt x="432" y="215"/>
                    </a:cubicBezTo>
                    <a:cubicBezTo>
                      <a:pt x="431" y="220"/>
                      <a:pt x="423" y="220"/>
                      <a:pt x="427" y="226"/>
                    </a:cubicBezTo>
                    <a:cubicBezTo>
                      <a:pt x="430" y="230"/>
                      <a:pt x="439" y="232"/>
                      <a:pt x="438" y="237"/>
                    </a:cubicBezTo>
                    <a:cubicBezTo>
                      <a:pt x="435" y="244"/>
                      <a:pt x="431" y="239"/>
                      <a:pt x="426" y="240"/>
                    </a:cubicBezTo>
                    <a:cubicBezTo>
                      <a:pt x="420" y="241"/>
                      <a:pt x="426" y="252"/>
                      <a:pt x="417" y="253"/>
                    </a:cubicBezTo>
                    <a:cubicBezTo>
                      <a:pt x="416" y="253"/>
                      <a:pt x="416" y="251"/>
                      <a:pt x="416" y="252"/>
                    </a:cubicBezTo>
                    <a:cubicBezTo>
                      <a:pt x="413" y="260"/>
                      <a:pt x="407" y="268"/>
                      <a:pt x="403" y="276"/>
                    </a:cubicBezTo>
                    <a:cubicBezTo>
                      <a:pt x="402" y="279"/>
                      <a:pt x="416" y="277"/>
                      <a:pt x="406" y="285"/>
                    </a:cubicBezTo>
                    <a:cubicBezTo>
                      <a:pt x="404" y="286"/>
                      <a:pt x="400" y="284"/>
                      <a:pt x="397" y="286"/>
                    </a:cubicBezTo>
                    <a:cubicBezTo>
                      <a:pt x="393" y="290"/>
                      <a:pt x="396" y="297"/>
                      <a:pt x="393" y="302"/>
                    </a:cubicBezTo>
                    <a:cubicBezTo>
                      <a:pt x="392" y="303"/>
                      <a:pt x="391" y="302"/>
                      <a:pt x="390" y="303"/>
                    </a:cubicBezTo>
                    <a:cubicBezTo>
                      <a:pt x="388" y="305"/>
                      <a:pt x="386" y="307"/>
                      <a:pt x="385" y="310"/>
                    </a:cubicBezTo>
                    <a:cubicBezTo>
                      <a:pt x="384" y="311"/>
                      <a:pt x="389" y="312"/>
                      <a:pt x="388" y="314"/>
                    </a:cubicBezTo>
                    <a:cubicBezTo>
                      <a:pt x="386" y="320"/>
                      <a:pt x="371" y="327"/>
                      <a:pt x="375" y="334"/>
                    </a:cubicBezTo>
                    <a:cubicBezTo>
                      <a:pt x="376" y="337"/>
                      <a:pt x="382" y="340"/>
                      <a:pt x="383" y="343"/>
                    </a:cubicBezTo>
                    <a:cubicBezTo>
                      <a:pt x="384" y="346"/>
                      <a:pt x="376" y="345"/>
                      <a:pt x="374" y="344"/>
                    </a:cubicBezTo>
                    <a:cubicBezTo>
                      <a:pt x="372" y="342"/>
                      <a:pt x="373" y="337"/>
                      <a:pt x="371" y="338"/>
                    </a:cubicBezTo>
                    <a:cubicBezTo>
                      <a:pt x="366" y="341"/>
                      <a:pt x="359" y="345"/>
                      <a:pt x="358" y="351"/>
                    </a:cubicBezTo>
                    <a:cubicBezTo>
                      <a:pt x="358" y="354"/>
                      <a:pt x="364" y="354"/>
                      <a:pt x="364" y="357"/>
                    </a:cubicBezTo>
                    <a:cubicBezTo>
                      <a:pt x="364" y="359"/>
                      <a:pt x="360" y="360"/>
                      <a:pt x="358" y="361"/>
                    </a:cubicBezTo>
                    <a:cubicBezTo>
                      <a:pt x="356" y="361"/>
                      <a:pt x="356" y="358"/>
                      <a:pt x="354" y="359"/>
                    </a:cubicBezTo>
                    <a:cubicBezTo>
                      <a:pt x="350" y="360"/>
                      <a:pt x="350" y="368"/>
                      <a:pt x="349" y="368"/>
                    </a:cubicBezTo>
                    <a:cubicBezTo>
                      <a:pt x="347" y="368"/>
                      <a:pt x="341" y="366"/>
                      <a:pt x="340" y="366"/>
                    </a:cubicBezTo>
                    <a:cubicBezTo>
                      <a:pt x="328" y="369"/>
                      <a:pt x="341" y="382"/>
                      <a:pt x="339" y="383"/>
                    </a:cubicBezTo>
                    <a:cubicBezTo>
                      <a:pt x="333" y="385"/>
                      <a:pt x="337" y="371"/>
                      <a:pt x="332" y="385"/>
                    </a:cubicBezTo>
                    <a:cubicBezTo>
                      <a:pt x="329" y="396"/>
                      <a:pt x="345" y="381"/>
                      <a:pt x="346" y="389"/>
                    </a:cubicBezTo>
                    <a:cubicBezTo>
                      <a:pt x="346" y="392"/>
                      <a:pt x="345" y="396"/>
                      <a:pt x="346" y="399"/>
                    </a:cubicBezTo>
                    <a:cubicBezTo>
                      <a:pt x="346" y="400"/>
                      <a:pt x="349" y="401"/>
                      <a:pt x="349" y="402"/>
                    </a:cubicBezTo>
                    <a:cubicBezTo>
                      <a:pt x="348" y="404"/>
                      <a:pt x="343" y="409"/>
                      <a:pt x="345" y="409"/>
                    </a:cubicBezTo>
                    <a:cubicBezTo>
                      <a:pt x="345" y="409"/>
                      <a:pt x="362" y="399"/>
                      <a:pt x="362" y="399"/>
                    </a:cubicBezTo>
                    <a:cubicBezTo>
                      <a:pt x="363" y="398"/>
                      <a:pt x="361" y="396"/>
                      <a:pt x="361" y="394"/>
                    </a:cubicBezTo>
                    <a:cubicBezTo>
                      <a:pt x="362" y="392"/>
                      <a:pt x="369" y="386"/>
                      <a:pt x="371" y="394"/>
                    </a:cubicBezTo>
                    <a:cubicBezTo>
                      <a:pt x="372" y="397"/>
                      <a:pt x="371" y="401"/>
                      <a:pt x="369" y="403"/>
                    </a:cubicBezTo>
                    <a:cubicBezTo>
                      <a:pt x="367" y="405"/>
                      <a:pt x="365" y="401"/>
                      <a:pt x="363" y="402"/>
                    </a:cubicBezTo>
                    <a:cubicBezTo>
                      <a:pt x="358" y="403"/>
                      <a:pt x="364" y="417"/>
                      <a:pt x="369" y="418"/>
                    </a:cubicBezTo>
                    <a:cubicBezTo>
                      <a:pt x="378" y="421"/>
                      <a:pt x="386" y="407"/>
                      <a:pt x="388" y="406"/>
                    </a:cubicBezTo>
                    <a:cubicBezTo>
                      <a:pt x="391" y="405"/>
                      <a:pt x="393" y="407"/>
                      <a:pt x="396" y="406"/>
                    </a:cubicBezTo>
                    <a:cubicBezTo>
                      <a:pt x="399" y="406"/>
                      <a:pt x="407" y="396"/>
                      <a:pt x="412" y="402"/>
                    </a:cubicBezTo>
                    <a:cubicBezTo>
                      <a:pt x="421" y="414"/>
                      <a:pt x="410" y="414"/>
                      <a:pt x="406" y="416"/>
                    </a:cubicBezTo>
                    <a:cubicBezTo>
                      <a:pt x="404" y="418"/>
                      <a:pt x="404" y="423"/>
                      <a:pt x="401" y="425"/>
                    </a:cubicBezTo>
                    <a:cubicBezTo>
                      <a:pt x="399" y="427"/>
                      <a:pt x="395" y="423"/>
                      <a:pt x="392" y="425"/>
                    </a:cubicBezTo>
                    <a:cubicBezTo>
                      <a:pt x="389" y="427"/>
                      <a:pt x="388" y="431"/>
                      <a:pt x="386" y="433"/>
                    </a:cubicBezTo>
                    <a:cubicBezTo>
                      <a:pt x="384" y="436"/>
                      <a:pt x="380" y="439"/>
                      <a:pt x="380" y="442"/>
                    </a:cubicBezTo>
                    <a:cubicBezTo>
                      <a:pt x="379" y="444"/>
                      <a:pt x="384" y="441"/>
                      <a:pt x="385" y="443"/>
                    </a:cubicBezTo>
                    <a:cubicBezTo>
                      <a:pt x="389" y="446"/>
                      <a:pt x="377" y="469"/>
                      <a:pt x="386" y="469"/>
                    </a:cubicBezTo>
                    <a:cubicBezTo>
                      <a:pt x="388" y="470"/>
                      <a:pt x="389" y="466"/>
                      <a:pt x="392" y="467"/>
                    </a:cubicBezTo>
                    <a:cubicBezTo>
                      <a:pt x="394" y="468"/>
                      <a:pt x="394" y="472"/>
                      <a:pt x="397" y="473"/>
                    </a:cubicBezTo>
                    <a:cubicBezTo>
                      <a:pt x="399" y="474"/>
                      <a:pt x="401" y="470"/>
                      <a:pt x="402" y="471"/>
                    </a:cubicBezTo>
                    <a:cubicBezTo>
                      <a:pt x="407" y="472"/>
                      <a:pt x="412" y="474"/>
                      <a:pt x="414" y="478"/>
                    </a:cubicBezTo>
                    <a:cubicBezTo>
                      <a:pt x="414" y="478"/>
                      <a:pt x="411" y="500"/>
                      <a:pt x="410" y="500"/>
                    </a:cubicBezTo>
                    <a:cubicBezTo>
                      <a:pt x="409" y="503"/>
                      <a:pt x="405" y="504"/>
                      <a:pt x="404" y="506"/>
                    </a:cubicBezTo>
                    <a:cubicBezTo>
                      <a:pt x="401" y="512"/>
                      <a:pt x="405" y="518"/>
                      <a:pt x="402" y="523"/>
                    </a:cubicBezTo>
                    <a:cubicBezTo>
                      <a:pt x="401" y="527"/>
                      <a:pt x="392" y="527"/>
                      <a:pt x="399" y="532"/>
                    </a:cubicBezTo>
                    <a:cubicBezTo>
                      <a:pt x="408" y="538"/>
                      <a:pt x="412" y="528"/>
                      <a:pt x="421" y="525"/>
                    </a:cubicBezTo>
                    <a:cubicBezTo>
                      <a:pt x="426" y="523"/>
                      <a:pt x="419" y="540"/>
                      <a:pt x="425" y="536"/>
                    </a:cubicBezTo>
                    <a:cubicBezTo>
                      <a:pt x="432" y="532"/>
                      <a:pt x="438" y="525"/>
                      <a:pt x="445" y="522"/>
                    </a:cubicBezTo>
                    <a:cubicBezTo>
                      <a:pt x="449" y="522"/>
                      <a:pt x="451" y="529"/>
                      <a:pt x="455" y="528"/>
                    </a:cubicBezTo>
                    <a:cubicBezTo>
                      <a:pt x="473" y="523"/>
                      <a:pt x="454" y="513"/>
                      <a:pt x="483" y="521"/>
                    </a:cubicBezTo>
                    <a:cubicBezTo>
                      <a:pt x="484" y="521"/>
                      <a:pt x="486" y="518"/>
                      <a:pt x="487" y="519"/>
                    </a:cubicBezTo>
                    <a:cubicBezTo>
                      <a:pt x="488" y="522"/>
                      <a:pt x="485" y="523"/>
                      <a:pt x="485" y="525"/>
                    </a:cubicBezTo>
                    <a:cubicBezTo>
                      <a:pt x="486" y="534"/>
                      <a:pt x="504" y="547"/>
                      <a:pt x="501" y="555"/>
                    </a:cubicBezTo>
                    <a:cubicBezTo>
                      <a:pt x="497" y="569"/>
                      <a:pt x="485" y="591"/>
                      <a:pt x="470" y="596"/>
                    </a:cubicBezTo>
                    <a:cubicBezTo>
                      <a:pt x="462" y="599"/>
                      <a:pt x="459" y="590"/>
                      <a:pt x="453" y="592"/>
                    </a:cubicBezTo>
                    <a:cubicBezTo>
                      <a:pt x="447" y="597"/>
                      <a:pt x="468" y="617"/>
                      <a:pt x="453" y="633"/>
                    </a:cubicBezTo>
                    <a:cubicBezTo>
                      <a:pt x="441" y="645"/>
                      <a:pt x="459" y="617"/>
                      <a:pt x="443" y="626"/>
                    </a:cubicBezTo>
                    <a:cubicBezTo>
                      <a:pt x="437" y="630"/>
                      <a:pt x="431" y="637"/>
                      <a:pt x="422" y="639"/>
                    </a:cubicBezTo>
                    <a:cubicBezTo>
                      <a:pt x="420" y="641"/>
                      <a:pt x="418" y="640"/>
                      <a:pt x="415" y="639"/>
                    </a:cubicBezTo>
                    <a:cubicBezTo>
                      <a:pt x="414" y="639"/>
                      <a:pt x="413" y="637"/>
                      <a:pt x="412" y="637"/>
                    </a:cubicBezTo>
                    <a:cubicBezTo>
                      <a:pt x="410" y="638"/>
                      <a:pt x="409" y="641"/>
                      <a:pt x="408" y="641"/>
                    </a:cubicBezTo>
                    <a:cubicBezTo>
                      <a:pt x="406" y="641"/>
                      <a:pt x="406" y="637"/>
                      <a:pt x="405" y="637"/>
                    </a:cubicBezTo>
                    <a:cubicBezTo>
                      <a:pt x="404" y="637"/>
                      <a:pt x="403" y="639"/>
                      <a:pt x="402" y="639"/>
                    </a:cubicBezTo>
                    <a:cubicBezTo>
                      <a:pt x="401" y="639"/>
                      <a:pt x="400" y="638"/>
                      <a:pt x="399" y="637"/>
                    </a:cubicBezTo>
                    <a:cubicBezTo>
                      <a:pt x="397" y="634"/>
                      <a:pt x="398" y="626"/>
                      <a:pt x="391" y="629"/>
                    </a:cubicBezTo>
                    <a:cubicBezTo>
                      <a:pt x="389" y="629"/>
                      <a:pt x="387" y="632"/>
                      <a:pt x="384" y="633"/>
                    </a:cubicBezTo>
                    <a:cubicBezTo>
                      <a:pt x="383" y="633"/>
                      <a:pt x="382" y="629"/>
                      <a:pt x="380" y="630"/>
                    </a:cubicBezTo>
                    <a:cubicBezTo>
                      <a:pt x="371" y="633"/>
                      <a:pt x="379" y="636"/>
                      <a:pt x="379" y="639"/>
                    </a:cubicBezTo>
                    <a:cubicBezTo>
                      <a:pt x="378" y="643"/>
                      <a:pt x="365" y="647"/>
                      <a:pt x="363" y="648"/>
                    </a:cubicBezTo>
                    <a:cubicBezTo>
                      <a:pt x="358" y="652"/>
                      <a:pt x="373" y="661"/>
                      <a:pt x="370" y="663"/>
                    </a:cubicBezTo>
                    <a:cubicBezTo>
                      <a:pt x="369" y="665"/>
                      <a:pt x="365" y="664"/>
                      <a:pt x="363" y="666"/>
                    </a:cubicBezTo>
                    <a:cubicBezTo>
                      <a:pt x="362" y="668"/>
                      <a:pt x="364" y="670"/>
                      <a:pt x="363" y="672"/>
                    </a:cubicBezTo>
                    <a:cubicBezTo>
                      <a:pt x="362" y="680"/>
                      <a:pt x="343" y="667"/>
                      <a:pt x="343" y="667"/>
                    </a:cubicBezTo>
                    <a:cubicBezTo>
                      <a:pt x="340" y="667"/>
                      <a:pt x="339" y="671"/>
                      <a:pt x="337" y="673"/>
                    </a:cubicBezTo>
                    <a:cubicBezTo>
                      <a:pt x="336" y="675"/>
                      <a:pt x="325" y="680"/>
                      <a:pt x="326" y="684"/>
                    </a:cubicBezTo>
                    <a:cubicBezTo>
                      <a:pt x="327" y="685"/>
                      <a:pt x="331" y="685"/>
                      <a:pt x="331" y="688"/>
                    </a:cubicBezTo>
                    <a:cubicBezTo>
                      <a:pt x="332" y="694"/>
                      <a:pt x="319" y="688"/>
                      <a:pt x="318" y="688"/>
                    </a:cubicBezTo>
                    <a:cubicBezTo>
                      <a:pt x="315" y="694"/>
                      <a:pt x="327" y="697"/>
                      <a:pt x="322" y="705"/>
                    </a:cubicBezTo>
                    <a:cubicBezTo>
                      <a:pt x="320" y="707"/>
                      <a:pt x="316" y="706"/>
                      <a:pt x="315" y="708"/>
                    </a:cubicBezTo>
                    <a:cubicBezTo>
                      <a:pt x="313" y="711"/>
                      <a:pt x="320" y="717"/>
                      <a:pt x="320" y="720"/>
                    </a:cubicBezTo>
                    <a:cubicBezTo>
                      <a:pt x="320" y="720"/>
                      <a:pt x="314" y="745"/>
                      <a:pt x="314" y="745"/>
                    </a:cubicBezTo>
                    <a:cubicBezTo>
                      <a:pt x="313" y="749"/>
                      <a:pt x="306" y="742"/>
                      <a:pt x="301" y="743"/>
                    </a:cubicBezTo>
                    <a:cubicBezTo>
                      <a:pt x="299" y="743"/>
                      <a:pt x="299" y="747"/>
                      <a:pt x="297" y="748"/>
                    </a:cubicBezTo>
                    <a:cubicBezTo>
                      <a:pt x="290" y="749"/>
                      <a:pt x="253" y="733"/>
                      <a:pt x="252" y="748"/>
                    </a:cubicBezTo>
                    <a:cubicBezTo>
                      <a:pt x="251" y="750"/>
                      <a:pt x="251" y="753"/>
                      <a:pt x="254" y="754"/>
                    </a:cubicBezTo>
                    <a:cubicBezTo>
                      <a:pt x="255" y="755"/>
                      <a:pt x="260" y="750"/>
                      <a:pt x="263" y="754"/>
                    </a:cubicBezTo>
                    <a:cubicBezTo>
                      <a:pt x="266" y="758"/>
                      <a:pt x="276" y="769"/>
                      <a:pt x="275" y="775"/>
                    </a:cubicBezTo>
                    <a:cubicBezTo>
                      <a:pt x="273" y="779"/>
                      <a:pt x="266" y="781"/>
                      <a:pt x="263" y="777"/>
                    </a:cubicBezTo>
                    <a:cubicBezTo>
                      <a:pt x="260" y="774"/>
                      <a:pt x="259" y="771"/>
                      <a:pt x="258" y="767"/>
                    </a:cubicBezTo>
                    <a:cubicBezTo>
                      <a:pt x="257" y="764"/>
                      <a:pt x="259" y="760"/>
                      <a:pt x="257" y="760"/>
                    </a:cubicBezTo>
                    <a:cubicBezTo>
                      <a:pt x="239" y="761"/>
                      <a:pt x="239" y="761"/>
                      <a:pt x="239" y="761"/>
                    </a:cubicBezTo>
                    <a:cubicBezTo>
                      <a:pt x="226" y="755"/>
                      <a:pt x="241" y="749"/>
                      <a:pt x="221" y="753"/>
                    </a:cubicBezTo>
                    <a:cubicBezTo>
                      <a:pt x="217" y="754"/>
                      <a:pt x="214" y="759"/>
                      <a:pt x="210" y="759"/>
                    </a:cubicBezTo>
                    <a:cubicBezTo>
                      <a:pt x="193" y="758"/>
                      <a:pt x="209" y="744"/>
                      <a:pt x="186" y="751"/>
                    </a:cubicBezTo>
                    <a:cubicBezTo>
                      <a:pt x="180" y="753"/>
                      <a:pt x="161" y="777"/>
                      <a:pt x="156" y="775"/>
                    </a:cubicBezTo>
                    <a:cubicBezTo>
                      <a:pt x="150" y="771"/>
                      <a:pt x="145" y="763"/>
                      <a:pt x="138" y="760"/>
                    </a:cubicBezTo>
                    <a:cubicBezTo>
                      <a:pt x="137" y="759"/>
                      <a:pt x="138" y="762"/>
                      <a:pt x="138" y="763"/>
                    </a:cubicBezTo>
                    <a:cubicBezTo>
                      <a:pt x="137" y="767"/>
                      <a:pt x="136" y="771"/>
                      <a:pt x="133" y="774"/>
                    </a:cubicBezTo>
                    <a:cubicBezTo>
                      <a:pt x="131" y="776"/>
                      <a:pt x="128" y="776"/>
                      <a:pt x="126" y="777"/>
                    </a:cubicBezTo>
                    <a:cubicBezTo>
                      <a:pt x="118" y="787"/>
                      <a:pt x="132" y="789"/>
                      <a:pt x="128" y="798"/>
                    </a:cubicBezTo>
                    <a:cubicBezTo>
                      <a:pt x="125" y="802"/>
                      <a:pt x="122" y="789"/>
                      <a:pt x="119" y="795"/>
                    </a:cubicBezTo>
                    <a:cubicBezTo>
                      <a:pt x="116" y="802"/>
                      <a:pt x="121" y="806"/>
                      <a:pt x="111" y="806"/>
                    </a:cubicBezTo>
                    <a:cubicBezTo>
                      <a:pt x="100" y="807"/>
                      <a:pt x="116" y="799"/>
                      <a:pt x="109" y="796"/>
                    </a:cubicBezTo>
                    <a:cubicBezTo>
                      <a:pt x="97" y="789"/>
                      <a:pt x="99" y="801"/>
                      <a:pt x="90" y="803"/>
                    </a:cubicBezTo>
                    <a:cubicBezTo>
                      <a:pt x="86" y="804"/>
                      <a:pt x="83" y="801"/>
                      <a:pt x="79" y="802"/>
                    </a:cubicBezTo>
                    <a:cubicBezTo>
                      <a:pt x="78" y="802"/>
                      <a:pt x="88" y="810"/>
                      <a:pt x="88" y="811"/>
                    </a:cubicBezTo>
                    <a:cubicBezTo>
                      <a:pt x="84" y="829"/>
                      <a:pt x="85" y="803"/>
                      <a:pt x="79" y="814"/>
                    </a:cubicBezTo>
                    <a:cubicBezTo>
                      <a:pt x="75" y="820"/>
                      <a:pt x="83" y="822"/>
                      <a:pt x="83" y="827"/>
                    </a:cubicBezTo>
                    <a:cubicBezTo>
                      <a:pt x="83" y="827"/>
                      <a:pt x="80" y="847"/>
                      <a:pt x="79" y="848"/>
                    </a:cubicBezTo>
                    <a:cubicBezTo>
                      <a:pt x="77" y="851"/>
                      <a:pt x="73" y="853"/>
                      <a:pt x="71" y="856"/>
                    </a:cubicBezTo>
                    <a:cubicBezTo>
                      <a:pt x="69" y="860"/>
                      <a:pt x="71" y="865"/>
                      <a:pt x="69" y="869"/>
                    </a:cubicBezTo>
                    <a:cubicBezTo>
                      <a:pt x="66" y="873"/>
                      <a:pt x="57" y="871"/>
                      <a:pt x="55" y="876"/>
                    </a:cubicBezTo>
                    <a:cubicBezTo>
                      <a:pt x="51" y="891"/>
                      <a:pt x="65" y="891"/>
                      <a:pt x="64" y="894"/>
                    </a:cubicBezTo>
                    <a:cubicBezTo>
                      <a:pt x="63" y="897"/>
                      <a:pt x="61" y="900"/>
                      <a:pt x="59" y="903"/>
                    </a:cubicBezTo>
                    <a:cubicBezTo>
                      <a:pt x="58" y="904"/>
                      <a:pt x="57" y="904"/>
                      <a:pt x="56" y="905"/>
                    </a:cubicBezTo>
                    <a:cubicBezTo>
                      <a:pt x="56" y="905"/>
                      <a:pt x="53" y="923"/>
                      <a:pt x="52" y="924"/>
                    </a:cubicBezTo>
                    <a:cubicBezTo>
                      <a:pt x="50" y="929"/>
                      <a:pt x="39" y="927"/>
                      <a:pt x="39" y="929"/>
                    </a:cubicBezTo>
                    <a:cubicBezTo>
                      <a:pt x="39" y="933"/>
                      <a:pt x="45" y="930"/>
                      <a:pt x="45" y="930"/>
                    </a:cubicBezTo>
                    <a:cubicBezTo>
                      <a:pt x="49" y="933"/>
                      <a:pt x="62" y="949"/>
                      <a:pt x="66" y="952"/>
                    </a:cubicBezTo>
                    <a:cubicBezTo>
                      <a:pt x="67" y="954"/>
                      <a:pt x="66" y="957"/>
                      <a:pt x="68" y="959"/>
                    </a:cubicBezTo>
                    <a:cubicBezTo>
                      <a:pt x="72" y="963"/>
                      <a:pt x="73" y="950"/>
                      <a:pt x="76" y="961"/>
                    </a:cubicBezTo>
                    <a:cubicBezTo>
                      <a:pt x="77" y="963"/>
                      <a:pt x="77" y="966"/>
                      <a:pt x="76" y="968"/>
                    </a:cubicBezTo>
                    <a:cubicBezTo>
                      <a:pt x="62" y="1001"/>
                      <a:pt x="54" y="982"/>
                      <a:pt x="34" y="974"/>
                    </a:cubicBezTo>
                    <a:cubicBezTo>
                      <a:pt x="32" y="973"/>
                      <a:pt x="9" y="963"/>
                      <a:pt x="7" y="966"/>
                    </a:cubicBezTo>
                    <a:cubicBezTo>
                      <a:pt x="5" y="973"/>
                      <a:pt x="0" y="984"/>
                      <a:pt x="5" y="991"/>
                    </a:cubicBezTo>
                    <a:cubicBezTo>
                      <a:pt x="6" y="992"/>
                      <a:pt x="11" y="994"/>
                      <a:pt x="11" y="996"/>
                    </a:cubicBezTo>
                    <a:cubicBezTo>
                      <a:pt x="12" y="1009"/>
                      <a:pt x="2" y="1012"/>
                      <a:pt x="2" y="1019"/>
                    </a:cubicBezTo>
                    <a:cubicBezTo>
                      <a:pt x="2" y="1021"/>
                      <a:pt x="16" y="1059"/>
                      <a:pt x="16" y="1059"/>
                    </a:cubicBezTo>
                    <a:cubicBezTo>
                      <a:pt x="19" y="1062"/>
                      <a:pt x="30" y="1057"/>
                      <a:pt x="33" y="1064"/>
                    </a:cubicBezTo>
                    <a:cubicBezTo>
                      <a:pt x="37" y="1073"/>
                      <a:pt x="31" y="1078"/>
                      <a:pt x="30" y="1086"/>
                    </a:cubicBezTo>
                    <a:cubicBezTo>
                      <a:pt x="29" y="1094"/>
                      <a:pt x="33" y="1108"/>
                      <a:pt x="34" y="1117"/>
                    </a:cubicBezTo>
                    <a:cubicBezTo>
                      <a:pt x="35" y="1120"/>
                      <a:pt x="34" y="1125"/>
                      <a:pt x="36" y="1127"/>
                    </a:cubicBezTo>
                    <a:cubicBezTo>
                      <a:pt x="38" y="1128"/>
                      <a:pt x="65" y="1122"/>
                      <a:pt x="69" y="1123"/>
                    </a:cubicBezTo>
                    <a:cubicBezTo>
                      <a:pt x="73" y="1124"/>
                      <a:pt x="70" y="1131"/>
                      <a:pt x="73" y="1133"/>
                    </a:cubicBezTo>
                    <a:cubicBezTo>
                      <a:pt x="75" y="1134"/>
                      <a:pt x="77" y="1131"/>
                      <a:pt x="78" y="1132"/>
                    </a:cubicBezTo>
                    <a:cubicBezTo>
                      <a:pt x="79" y="1133"/>
                      <a:pt x="78" y="1136"/>
                      <a:pt x="78" y="1138"/>
                    </a:cubicBezTo>
                    <a:cubicBezTo>
                      <a:pt x="77" y="1139"/>
                      <a:pt x="74" y="1140"/>
                      <a:pt x="75" y="1141"/>
                    </a:cubicBezTo>
                    <a:cubicBezTo>
                      <a:pt x="77" y="1144"/>
                      <a:pt x="82" y="1144"/>
                      <a:pt x="85" y="1147"/>
                    </a:cubicBezTo>
                    <a:cubicBezTo>
                      <a:pt x="86" y="1148"/>
                      <a:pt x="84" y="1149"/>
                      <a:pt x="83" y="1150"/>
                    </a:cubicBezTo>
                    <a:cubicBezTo>
                      <a:pt x="83" y="1150"/>
                      <a:pt x="84" y="1151"/>
                      <a:pt x="84" y="1151"/>
                    </a:cubicBezTo>
                    <a:cubicBezTo>
                      <a:pt x="85" y="1151"/>
                      <a:pt x="100" y="1154"/>
                      <a:pt x="100" y="1154"/>
                    </a:cubicBezTo>
                    <a:cubicBezTo>
                      <a:pt x="101" y="1153"/>
                      <a:pt x="95" y="1142"/>
                      <a:pt x="96" y="1141"/>
                    </a:cubicBezTo>
                    <a:cubicBezTo>
                      <a:pt x="100" y="1141"/>
                      <a:pt x="104" y="1142"/>
                      <a:pt x="109" y="1141"/>
                    </a:cubicBezTo>
                    <a:cubicBezTo>
                      <a:pt x="116" y="1139"/>
                      <a:pt x="120" y="1128"/>
                      <a:pt x="129" y="1130"/>
                    </a:cubicBezTo>
                    <a:cubicBezTo>
                      <a:pt x="151" y="1136"/>
                      <a:pt x="160" y="1146"/>
                      <a:pt x="178" y="1158"/>
                    </a:cubicBezTo>
                    <a:cubicBezTo>
                      <a:pt x="186" y="1163"/>
                      <a:pt x="197" y="1163"/>
                      <a:pt x="203" y="1170"/>
                    </a:cubicBezTo>
                    <a:cubicBezTo>
                      <a:pt x="206" y="1174"/>
                      <a:pt x="198" y="1183"/>
                      <a:pt x="195" y="1184"/>
                    </a:cubicBezTo>
                    <a:cubicBezTo>
                      <a:pt x="192" y="1184"/>
                      <a:pt x="185" y="1175"/>
                      <a:pt x="182" y="1185"/>
                    </a:cubicBezTo>
                    <a:cubicBezTo>
                      <a:pt x="178" y="1201"/>
                      <a:pt x="213" y="1194"/>
                      <a:pt x="225" y="1193"/>
                    </a:cubicBezTo>
                    <a:cubicBezTo>
                      <a:pt x="223" y="1185"/>
                      <a:pt x="220" y="1178"/>
                      <a:pt x="221" y="1176"/>
                    </a:cubicBezTo>
                    <a:cubicBezTo>
                      <a:pt x="225" y="1173"/>
                      <a:pt x="230" y="1178"/>
                      <a:pt x="233" y="1176"/>
                    </a:cubicBezTo>
                    <a:cubicBezTo>
                      <a:pt x="235" y="1175"/>
                      <a:pt x="227" y="1172"/>
                      <a:pt x="229" y="1171"/>
                    </a:cubicBezTo>
                    <a:cubicBezTo>
                      <a:pt x="231" y="1170"/>
                      <a:pt x="234" y="1173"/>
                      <a:pt x="237" y="1174"/>
                    </a:cubicBezTo>
                    <a:cubicBezTo>
                      <a:pt x="238" y="1174"/>
                      <a:pt x="250" y="1156"/>
                      <a:pt x="251" y="1153"/>
                    </a:cubicBezTo>
                    <a:cubicBezTo>
                      <a:pt x="253" y="1148"/>
                      <a:pt x="250" y="1136"/>
                      <a:pt x="254" y="1138"/>
                    </a:cubicBezTo>
                    <a:cubicBezTo>
                      <a:pt x="255" y="1139"/>
                      <a:pt x="256" y="1142"/>
                      <a:pt x="257" y="1141"/>
                    </a:cubicBezTo>
                    <a:cubicBezTo>
                      <a:pt x="258" y="1136"/>
                      <a:pt x="256" y="1129"/>
                      <a:pt x="258" y="1124"/>
                    </a:cubicBezTo>
                    <a:cubicBezTo>
                      <a:pt x="258" y="1123"/>
                      <a:pt x="260" y="1125"/>
                      <a:pt x="262" y="1124"/>
                    </a:cubicBezTo>
                    <a:cubicBezTo>
                      <a:pt x="263" y="1124"/>
                      <a:pt x="263" y="1120"/>
                      <a:pt x="264" y="1121"/>
                    </a:cubicBezTo>
                    <a:cubicBezTo>
                      <a:pt x="266" y="1122"/>
                      <a:pt x="264" y="1125"/>
                      <a:pt x="266" y="1126"/>
                    </a:cubicBezTo>
                    <a:cubicBezTo>
                      <a:pt x="267" y="1127"/>
                      <a:pt x="267" y="1124"/>
                      <a:pt x="267" y="1123"/>
                    </a:cubicBezTo>
                    <a:cubicBezTo>
                      <a:pt x="266" y="1120"/>
                      <a:pt x="265" y="1108"/>
                      <a:pt x="269" y="1114"/>
                    </a:cubicBezTo>
                    <a:cubicBezTo>
                      <a:pt x="270" y="1114"/>
                      <a:pt x="272" y="1116"/>
                      <a:pt x="272" y="1115"/>
                    </a:cubicBezTo>
                    <a:cubicBezTo>
                      <a:pt x="273" y="1102"/>
                      <a:pt x="270" y="1099"/>
                      <a:pt x="281" y="1089"/>
                    </a:cubicBezTo>
                    <a:cubicBezTo>
                      <a:pt x="292" y="1079"/>
                      <a:pt x="303" y="1090"/>
                      <a:pt x="313" y="1086"/>
                    </a:cubicBezTo>
                    <a:cubicBezTo>
                      <a:pt x="315" y="1086"/>
                      <a:pt x="315" y="1082"/>
                      <a:pt x="317" y="1081"/>
                    </a:cubicBezTo>
                    <a:cubicBezTo>
                      <a:pt x="318" y="1080"/>
                      <a:pt x="317" y="1085"/>
                      <a:pt x="318" y="1085"/>
                    </a:cubicBezTo>
                    <a:cubicBezTo>
                      <a:pt x="324" y="1085"/>
                      <a:pt x="330" y="1082"/>
                      <a:pt x="335" y="1081"/>
                    </a:cubicBezTo>
                    <a:cubicBezTo>
                      <a:pt x="339" y="1079"/>
                      <a:pt x="337" y="1062"/>
                      <a:pt x="337" y="1060"/>
                    </a:cubicBezTo>
                    <a:cubicBezTo>
                      <a:pt x="339" y="1058"/>
                      <a:pt x="344" y="1060"/>
                      <a:pt x="346" y="1059"/>
                    </a:cubicBezTo>
                    <a:cubicBezTo>
                      <a:pt x="352" y="1056"/>
                      <a:pt x="360" y="1045"/>
                      <a:pt x="366" y="1050"/>
                    </a:cubicBezTo>
                    <a:cubicBezTo>
                      <a:pt x="369" y="1051"/>
                      <a:pt x="371" y="1055"/>
                      <a:pt x="374" y="1058"/>
                    </a:cubicBezTo>
                    <a:cubicBezTo>
                      <a:pt x="376" y="1059"/>
                      <a:pt x="383" y="1057"/>
                      <a:pt x="383" y="1062"/>
                    </a:cubicBezTo>
                    <a:cubicBezTo>
                      <a:pt x="383" y="1063"/>
                      <a:pt x="381" y="1063"/>
                      <a:pt x="381" y="1063"/>
                    </a:cubicBezTo>
                    <a:cubicBezTo>
                      <a:pt x="380" y="1068"/>
                      <a:pt x="380" y="1073"/>
                      <a:pt x="381" y="1077"/>
                    </a:cubicBezTo>
                    <a:cubicBezTo>
                      <a:pt x="381" y="1079"/>
                      <a:pt x="381" y="1074"/>
                      <a:pt x="382" y="1073"/>
                    </a:cubicBezTo>
                    <a:cubicBezTo>
                      <a:pt x="384" y="1072"/>
                      <a:pt x="385" y="1076"/>
                      <a:pt x="387" y="1077"/>
                    </a:cubicBezTo>
                    <a:cubicBezTo>
                      <a:pt x="396" y="1084"/>
                      <a:pt x="401" y="1094"/>
                      <a:pt x="404" y="1106"/>
                    </a:cubicBezTo>
                    <a:cubicBezTo>
                      <a:pt x="406" y="1118"/>
                      <a:pt x="402" y="1133"/>
                      <a:pt x="407" y="1145"/>
                    </a:cubicBezTo>
                    <a:cubicBezTo>
                      <a:pt x="409" y="1150"/>
                      <a:pt x="439" y="1140"/>
                      <a:pt x="438" y="1143"/>
                    </a:cubicBezTo>
                    <a:cubicBezTo>
                      <a:pt x="432" y="1155"/>
                      <a:pt x="414" y="1157"/>
                      <a:pt x="402" y="1162"/>
                    </a:cubicBezTo>
                    <a:cubicBezTo>
                      <a:pt x="395" y="1165"/>
                      <a:pt x="391" y="1174"/>
                      <a:pt x="383" y="1177"/>
                    </a:cubicBezTo>
                    <a:cubicBezTo>
                      <a:pt x="379" y="1179"/>
                      <a:pt x="374" y="1178"/>
                      <a:pt x="370" y="1180"/>
                    </a:cubicBezTo>
                    <a:cubicBezTo>
                      <a:pt x="366" y="1182"/>
                      <a:pt x="370" y="1189"/>
                      <a:pt x="367" y="1193"/>
                    </a:cubicBezTo>
                    <a:cubicBezTo>
                      <a:pt x="365" y="1196"/>
                      <a:pt x="360" y="1196"/>
                      <a:pt x="359" y="1200"/>
                    </a:cubicBezTo>
                    <a:cubicBezTo>
                      <a:pt x="351" y="1221"/>
                      <a:pt x="363" y="1206"/>
                      <a:pt x="366" y="1222"/>
                    </a:cubicBezTo>
                    <a:cubicBezTo>
                      <a:pt x="367" y="1223"/>
                      <a:pt x="362" y="1220"/>
                      <a:pt x="361" y="1221"/>
                    </a:cubicBezTo>
                    <a:cubicBezTo>
                      <a:pt x="357" y="1224"/>
                      <a:pt x="354" y="1228"/>
                      <a:pt x="354" y="1233"/>
                    </a:cubicBezTo>
                    <a:cubicBezTo>
                      <a:pt x="352" y="1247"/>
                      <a:pt x="369" y="1241"/>
                      <a:pt x="374" y="1242"/>
                    </a:cubicBezTo>
                    <a:cubicBezTo>
                      <a:pt x="378" y="1243"/>
                      <a:pt x="379" y="1248"/>
                      <a:pt x="383" y="1248"/>
                    </a:cubicBezTo>
                    <a:cubicBezTo>
                      <a:pt x="385" y="1248"/>
                      <a:pt x="386" y="1244"/>
                      <a:pt x="387" y="1244"/>
                    </a:cubicBezTo>
                    <a:cubicBezTo>
                      <a:pt x="391" y="1243"/>
                      <a:pt x="395" y="1243"/>
                      <a:pt x="398" y="1246"/>
                    </a:cubicBezTo>
                    <a:cubicBezTo>
                      <a:pt x="399" y="1247"/>
                      <a:pt x="393" y="1247"/>
                      <a:pt x="392" y="1248"/>
                    </a:cubicBezTo>
                    <a:cubicBezTo>
                      <a:pt x="390" y="1249"/>
                      <a:pt x="385" y="1250"/>
                      <a:pt x="384" y="1252"/>
                    </a:cubicBezTo>
                    <a:cubicBezTo>
                      <a:pt x="383" y="1254"/>
                      <a:pt x="384" y="1257"/>
                      <a:pt x="383" y="1258"/>
                    </a:cubicBezTo>
                    <a:cubicBezTo>
                      <a:pt x="375" y="1267"/>
                      <a:pt x="371" y="1257"/>
                      <a:pt x="363" y="1258"/>
                    </a:cubicBezTo>
                    <a:cubicBezTo>
                      <a:pt x="350" y="1261"/>
                      <a:pt x="365" y="1260"/>
                      <a:pt x="359" y="1264"/>
                    </a:cubicBezTo>
                    <a:cubicBezTo>
                      <a:pt x="351" y="1269"/>
                      <a:pt x="334" y="1267"/>
                      <a:pt x="337" y="1282"/>
                    </a:cubicBezTo>
                    <a:cubicBezTo>
                      <a:pt x="343" y="1312"/>
                      <a:pt x="367" y="1281"/>
                      <a:pt x="378" y="1288"/>
                    </a:cubicBezTo>
                    <a:cubicBezTo>
                      <a:pt x="381" y="1290"/>
                      <a:pt x="382" y="1295"/>
                      <a:pt x="384" y="1298"/>
                    </a:cubicBezTo>
                    <a:cubicBezTo>
                      <a:pt x="393" y="1305"/>
                      <a:pt x="422" y="1317"/>
                      <a:pt x="427" y="1322"/>
                    </a:cubicBezTo>
                    <a:cubicBezTo>
                      <a:pt x="432" y="1327"/>
                      <a:pt x="429" y="1341"/>
                      <a:pt x="436" y="1343"/>
                    </a:cubicBezTo>
                    <a:cubicBezTo>
                      <a:pt x="440" y="1344"/>
                      <a:pt x="450" y="1331"/>
                      <a:pt x="455" y="1330"/>
                    </a:cubicBezTo>
                    <a:cubicBezTo>
                      <a:pt x="456" y="1330"/>
                      <a:pt x="455" y="1334"/>
                      <a:pt x="456" y="1334"/>
                    </a:cubicBezTo>
                    <a:cubicBezTo>
                      <a:pt x="461" y="1337"/>
                      <a:pt x="466" y="1338"/>
                      <a:pt x="471" y="1341"/>
                    </a:cubicBezTo>
                    <a:cubicBezTo>
                      <a:pt x="473" y="1342"/>
                      <a:pt x="475" y="1343"/>
                      <a:pt x="478" y="1344"/>
                    </a:cubicBezTo>
                    <a:cubicBezTo>
                      <a:pt x="482" y="1345"/>
                      <a:pt x="483" y="1336"/>
                      <a:pt x="487" y="1333"/>
                    </a:cubicBezTo>
                    <a:cubicBezTo>
                      <a:pt x="491" y="1330"/>
                      <a:pt x="492" y="1337"/>
                      <a:pt x="496" y="1336"/>
                    </a:cubicBezTo>
                    <a:cubicBezTo>
                      <a:pt x="499" y="1335"/>
                      <a:pt x="506" y="1318"/>
                      <a:pt x="518" y="1326"/>
                    </a:cubicBezTo>
                    <a:cubicBezTo>
                      <a:pt x="521" y="1328"/>
                      <a:pt x="526" y="1334"/>
                      <a:pt x="523" y="1335"/>
                    </a:cubicBezTo>
                    <a:cubicBezTo>
                      <a:pt x="520" y="1338"/>
                      <a:pt x="515" y="1331"/>
                      <a:pt x="511" y="1331"/>
                    </a:cubicBezTo>
                    <a:cubicBezTo>
                      <a:pt x="508" y="1331"/>
                      <a:pt x="516" y="1334"/>
                      <a:pt x="518" y="1335"/>
                    </a:cubicBezTo>
                    <a:cubicBezTo>
                      <a:pt x="525" y="1339"/>
                      <a:pt x="526" y="1348"/>
                      <a:pt x="528" y="1355"/>
                    </a:cubicBezTo>
                    <a:cubicBezTo>
                      <a:pt x="528" y="1360"/>
                      <a:pt x="529" y="1364"/>
                      <a:pt x="528" y="1368"/>
                    </a:cubicBezTo>
                    <a:cubicBezTo>
                      <a:pt x="528" y="1369"/>
                      <a:pt x="526" y="1369"/>
                      <a:pt x="526" y="1370"/>
                    </a:cubicBezTo>
                    <a:cubicBezTo>
                      <a:pt x="525" y="1379"/>
                      <a:pt x="535" y="1380"/>
                      <a:pt x="539" y="1386"/>
                    </a:cubicBezTo>
                    <a:cubicBezTo>
                      <a:pt x="542" y="1390"/>
                      <a:pt x="539" y="1395"/>
                      <a:pt x="542" y="1398"/>
                    </a:cubicBezTo>
                    <a:cubicBezTo>
                      <a:pt x="546" y="1385"/>
                      <a:pt x="547" y="1368"/>
                      <a:pt x="553" y="1355"/>
                    </a:cubicBezTo>
                    <a:cubicBezTo>
                      <a:pt x="558" y="1344"/>
                      <a:pt x="585" y="1309"/>
                      <a:pt x="597" y="1305"/>
                    </a:cubicBezTo>
                    <a:cubicBezTo>
                      <a:pt x="604" y="1303"/>
                      <a:pt x="619" y="1301"/>
                      <a:pt x="631" y="1302"/>
                    </a:cubicBezTo>
                    <a:cubicBezTo>
                      <a:pt x="631" y="1176"/>
                      <a:pt x="631" y="1176"/>
                      <a:pt x="631" y="1176"/>
                    </a:cubicBezTo>
                    <a:cubicBezTo>
                      <a:pt x="622" y="1163"/>
                      <a:pt x="614" y="1149"/>
                      <a:pt x="605" y="1136"/>
                    </a:cubicBezTo>
                    <a:cubicBezTo>
                      <a:pt x="601" y="1129"/>
                      <a:pt x="566" y="1082"/>
                      <a:pt x="565" y="1079"/>
                    </a:cubicBezTo>
                    <a:cubicBezTo>
                      <a:pt x="565" y="1073"/>
                      <a:pt x="579" y="1058"/>
                      <a:pt x="582" y="1054"/>
                    </a:cubicBezTo>
                    <a:cubicBezTo>
                      <a:pt x="597" y="1031"/>
                      <a:pt x="612" y="1008"/>
                      <a:pt x="627" y="985"/>
                    </a:cubicBezTo>
                    <a:cubicBezTo>
                      <a:pt x="628" y="983"/>
                      <a:pt x="629" y="981"/>
                      <a:pt x="631" y="977"/>
                    </a:cubicBezTo>
                    <a:lnTo>
                      <a:pt x="631" y="18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107" name="Finland" descr="{&quot;Key&quot;:&quot;finland&quot;,&quot;Name&quot;:&quot;Finland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7A83AB4A-0AE6-5D3D-010C-872D2C7B9D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2582" y="1905173"/>
                <a:ext cx="718272" cy="1401740"/>
              </a:xfrm>
              <a:custGeom>
                <a:avLst/>
                <a:gdLst>
                  <a:gd name="T0" fmla="*/ 415 w 430"/>
                  <a:gd name="T1" fmla="*/ 546 h 779"/>
                  <a:gd name="T2" fmla="*/ 361 w 430"/>
                  <a:gd name="T3" fmla="*/ 436 h 779"/>
                  <a:gd name="T4" fmla="*/ 345 w 430"/>
                  <a:gd name="T5" fmla="*/ 366 h 779"/>
                  <a:gd name="T6" fmla="*/ 313 w 430"/>
                  <a:gd name="T7" fmla="*/ 330 h 779"/>
                  <a:gd name="T8" fmla="*/ 305 w 430"/>
                  <a:gd name="T9" fmla="*/ 271 h 779"/>
                  <a:gd name="T10" fmla="*/ 269 w 430"/>
                  <a:gd name="T11" fmla="*/ 154 h 779"/>
                  <a:gd name="T12" fmla="*/ 222 w 430"/>
                  <a:gd name="T13" fmla="*/ 129 h 779"/>
                  <a:gd name="T14" fmla="*/ 200 w 430"/>
                  <a:gd name="T15" fmla="*/ 80 h 779"/>
                  <a:gd name="T16" fmla="*/ 165 w 430"/>
                  <a:gd name="T17" fmla="*/ 4 h 779"/>
                  <a:gd name="T18" fmla="*/ 162 w 430"/>
                  <a:gd name="T19" fmla="*/ 0 h 779"/>
                  <a:gd name="T20" fmla="*/ 129 w 430"/>
                  <a:gd name="T21" fmla="*/ 21 h 779"/>
                  <a:gd name="T22" fmla="*/ 124 w 430"/>
                  <a:gd name="T23" fmla="*/ 64 h 779"/>
                  <a:gd name="T24" fmla="*/ 130 w 430"/>
                  <a:gd name="T25" fmla="*/ 90 h 779"/>
                  <a:gd name="T26" fmla="*/ 115 w 430"/>
                  <a:gd name="T27" fmla="*/ 128 h 779"/>
                  <a:gd name="T28" fmla="*/ 80 w 430"/>
                  <a:gd name="T29" fmla="*/ 124 h 779"/>
                  <a:gd name="T30" fmla="*/ 44 w 430"/>
                  <a:gd name="T31" fmla="*/ 130 h 779"/>
                  <a:gd name="T32" fmla="*/ 4 w 430"/>
                  <a:gd name="T33" fmla="*/ 106 h 779"/>
                  <a:gd name="T34" fmla="*/ 0 w 430"/>
                  <a:gd name="T35" fmla="*/ 119 h 779"/>
                  <a:gd name="T36" fmla="*/ 39 w 430"/>
                  <a:gd name="T37" fmla="*/ 150 h 779"/>
                  <a:gd name="T38" fmla="*/ 78 w 430"/>
                  <a:gd name="T39" fmla="*/ 168 h 779"/>
                  <a:gd name="T40" fmla="*/ 94 w 430"/>
                  <a:gd name="T41" fmla="*/ 207 h 779"/>
                  <a:gd name="T42" fmla="*/ 102 w 430"/>
                  <a:gd name="T43" fmla="*/ 218 h 779"/>
                  <a:gd name="T44" fmla="*/ 115 w 430"/>
                  <a:gd name="T45" fmla="*/ 293 h 779"/>
                  <a:gd name="T46" fmla="*/ 158 w 430"/>
                  <a:gd name="T47" fmla="*/ 342 h 779"/>
                  <a:gd name="T48" fmla="*/ 180 w 430"/>
                  <a:gd name="T49" fmla="*/ 346 h 779"/>
                  <a:gd name="T50" fmla="*/ 183 w 430"/>
                  <a:gd name="T51" fmla="*/ 391 h 779"/>
                  <a:gd name="T52" fmla="*/ 168 w 430"/>
                  <a:gd name="T53" fmla="*/ 403 h 779"/>
                  <a:gd name="T54" fmla="*/ 158 w 430"/>
                  <a:gd name="T55" fmla="*/ 437 h 779"/>
                  <a:gd name="T56" fmla="*/ 152 w 430"/>
                  <a:gd name="T57" fmla="*/ 466 h 779"/>
                  <a:gd name="T58" fmla="*/ 123 w 430"/>
                  <a:gd name="T59" fmla="*/ 495 h 779"/>
                  <a:gd name="T60" fmla="*/ 121 w 430"/>
                  <a:gd name="T61" fmla="*/ 518 h 779"/>
                  <a:gd name="T62" fmla="*/ 107 w 430"/>
                  <a:gd name="T63" fmla="*/ 533 h 779"/>
                  <a:gd name="T64" fmla="*/ 87 w 430"/>
                  <a:gd name="T65" fmla="*/ 572 h 779"/>
                  <a:gd name="T66" fmla="*/ 95 w 430"/>
                  <a:gd name="T67" fmla="*/ 597 h 779"/>
                  <a:gd name="T68" fmla="*/ 100 w 430"/>
                  <a:gd name="T69" fmla="*/ 602 h 779"/>
                  <a:gd name="T70" fmla="*/ 112 w 430"/>
                  <a:gd name="T71" fmla="*/ 641 h 779"/>
                  <a:gd name="T72" fmla="*/ 115 w 430"/>
                  <a:gd name="T73" fmla="*/ 648 h 779"/>
                  <a:gd name="T74" fmla="*/ 114 w 430"/>
                  <a:gd name="T75" fmla="*/ 665 h 779"/>
                  <a:gd name="T76" fmla="*/ 123 w 430"/>
                  <a:gd name="T77" fmla="*/ 684 h 779"/>
                  <a:gd name="T78" fmla="*/ 115 w 430"/>
                  <a:gd name="T79" fmla="*/ 697 h 779"/>
                  <a:gd name="T80" fmla="*/ 125 w 430"/>
                  <a:gd name="T81" fmla="*/ 731 h 779"/>
                  <a:gd name="T82" fmla="*/ 151 w 430"/>
                  <a:gd name="T83" fmla="*/ 735 h 779"/>
                  <a:gd name="T84" fmla="*/ 166 w 430"/>
                  <a:gd name="T85" fmla="*/ 740 h 779"/>
                  <a:gd name="T86" fmla="*/ 171 w 430"/>
                  <a:gd name="T87" fmla="*/ 752 h 779"/>
                  <a:gd name="T88" fmla="*/ 192 w 430"/>
                  <a:gd name="T89" fmla="*/ 760 h 779"/>
                  <a:gd name="T90" fmla="*/ 202 w 430"/>
                  <a:gd name="T91" fmla="*/ 760 h 779"/>
                  <a:gd name="T92" fmla="*/ 189 w 430"/>
                  <a:gd name="T93" fmla="*/ 778 h 779"/>
                  <a:gd name="T94" fmla="*/ 220 w 430"/>
                  <a:gd name="T95" fmla="*/ 761 h 779"/>
                  <a:gd name="T96" fmla="*/ 245 w 430"/>
                  <a:gd name="T97" fmla="*/ 740 h 779"/>
                  <a:gd name="T98" fmla="*/ 259 w 430"/>
                  <a:gd name="T99" fmla="*/ 734 h 779"/>
                  <a:gd name="T100" fmla="*/ 281 w 430"/>
                  <a:gd name="T101" fmla="*/ 716 h 779"/>
                  <a:gd name="T102" fmla="*/ 301 w 430"/>
                  <a:gd name="T103" fmla="*/ 705 h 779"/>
                  <a:gd name="T104" fmla="*/ 317 w 430"/>
                  <a:gd name="T105" fmla="*/ 704 h 779"/>
                  <a:gd name="T106" fmla="*/ 332 w 430"/>
                  <a:gd name="T107" fmla="*/ 692 h 779"/>
                  <a:gd name="T108" fmla="*/ 354 w 430"/>
                  <a:gd name="T109" fmla="*/ 686 h 7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30" h="779">
                    <a:moveTo>
                      <a:pt x="353" y="684"/>
                    </a:moveTo>
                    <a:cubicBezTo>
                      <a:pt x="357" y="671"/>
                      <a:pt x="368" y="657"/>
                      <a:pt x="374" y="646"/>
                    </a:cubicBezTo>
                    <a:cubicBezTo>
                      <a:pt x="392" y="615"/>
                      <a:pt x="403" y="579"/>
                      <a:pt x="415" y="546"/>
                    </a:cubicBezTo>
                    <a:cubicBezTo>
                      <a:pt x="424" y="521"/>
                      <a:pt x="426" y="515"/>
                      <a:pt x="428" y="489"/>
                    </a:cubicBezTo>
                    <a:cubicBezTo>
                      <a:pt x="428" y="485"/>
                      <a:pt x="430" y="481"/>
                      <a:pt x="429" y="477"/>
                    </a:cubicBezTo>
                    <a:cubicBezTo>
                      <a:pt x="424" y="464"/>
                      <a:pt x="374" y="445"/>
                      <a:pt x="361" y="436"/>
                    </a:cubicBezTo>
                    <a:cubicBezTo>
                      <a:pt x="359" y="435"/>
                      <a:pt x="379" y="404"/>
                      <a:pt x="365" y="393"/>
                    </a:cubicBezTo>
                    <a:cubicBezTo>
                      <a:pt x="360" y="389"/>
                      <a:pt x="349" y="393"/>
                      <a:pt x="346" y="387"/>
                    </a:cubicBezTo>
                    <a:cubicBezTo>
                      <a:pt x="331" y="362"/>
                      <a:pt x="349" y="374"/>
                      <a:pt x="345" y="366"/>
                    </a:cubicBezTo>
                    <a:cubicBezTo>
                      <a:pt x="338" y="356"/>
                      <a:pt x="331" y="364"/>
                      <a:pt x="322" y="354"/>
                    </a:cubicBezTo>
                    <a:cubicBezTo>
                      <a:pt x="315" y="346"/>
                      <a:pt x="320" y="345"/>
                      <a:pt x="324" y="337"/>
                    </a:cubicBezTo>
                    <a:cubicBezTo>
                      <a:pt x="326" y="332"/>
                      <a:pt x="313" y="332"/>
                      <a:pt x="313" y="330"/>
                    </a:cubicBezTo>
                    <a:cubicBezTo>
                      <a:pt x="313" y="326"/>
                      <a:pt x="313" y="305"/>
                      <a:pt x="313" y="305"/>
                    </a:cubicBezTo>
                    <a:cubicBezTo>
                      <a:pt x="301" y="295"/>
                      <a:pt x="315" y="301"/>
                      <a:pt x="319" y="297"/>
                    </a:cubicBezTo>
                    <a:cubicBezTo>
                      <a:pt x="321" y="293"/>
                      <a:pt x="307" y="273"/>
                      <a:pt x="305" y="271"/>
                    </a:cubicBezTo>
                    <a:cubicBezTo>
                      <a:pt x="296" y="258"/>
                      <a:pt x="285" y="243"/>
                      <a:pt x="274" y="231"/>
                    </a:cubicBezTo>
                    <a:cubicBezTo>
                      <a:pt x="272" y="230"/>
                      <a:pt x="263" y="223"/>
                      <a:pt x="261" y="219"/>
                    </a:cubicBezTo>
                    <a:cubicBezTo>
                      <a:pt x="253" y="204"/>
                      <a:pt x="280" y="163"/>
                      <a:pt x="269" y="154"/>
                    </a:cubicBezTo>
                    <a:cubicBezTo>
                      <a:pt x="266" y="150"/>
                      <a:pt x="261" y="150"/>
                      <a:pt x="258" y="148"/>
                    </a:cubicBezTo>
                    <a:cubicBezTo>
                      <a:pt x="252" y="144"/>
                      <a:pt x="249" y="136"/>
                      <a:pt x="242" y="132"/>
                    </a:cubicBezTo>
                    <a:cubicBezTo>
                      <a:pt x="242" y="132"/>
                      <a:pt x="223" y="129"/>
                      <a:pt x="222" y="129"/>
                    </a:cubicBezTo>
                    <a:cubicBezTo>
                      <a:pt x="219" y="126"/>
                      <a:pt x="218" y="121"/>
                      <a:pt x="215" y="117"/>
                    </a:cubicBezTo>
                    <a:cubicBezTo>
                      <a:pt x="203" y="97"/>
                      <a:pt x="218" y="99"/>
                      <a:pt x="211" y="84"/>
                    </a:cubicBezTo>
                    <a:cubicBezTo>
                      <a:pt x="209" y="77"/>
                      <a:pt x="198" y="84"/>
                      <a:pt x="200" y="80"/>
                    </a:cubicBezTo>
                    <a:cubicBezTo>
                      <a:pt x="203" y="74"/>
                      <a:pt x="207" y="71"/>
                      <a:pt x="210" y="67"/>
                    </a:cubicBezTo>
                    <a:cubicBezTo>
                      <a:pt x="192" y="58"/>
                      <a:pt x="216" y="45"/>
                      <a:pt x="209" y="32"/>
                    </a:cubicBezTo>
                    <a:cubicBezTo>
                      <a:pt x="197" y="12"/>
                      <a:pt x="180" y="20"/>
                      <a:pt x="165" y="4"/>
                    </a:cubicBezTo>
                    <a:cubicBezTo>
                      <a:pt x="164" y="1"/>
                      <a:pt x="164" y="1"/>
                      <a:pt x="164" y="1"/>
                    </a:cubicBezTo>
                    <a:cubicBezTo>
                      <a:pt x="164" y="1"/>
                      <a:pt x="163" y="1"/>
                      <a:pt x="163" y="2"/>
                    </a:cubicBezTo>
                    <a:cubicBezTo>
                      <a:pt x="163" y="1"/>
                      <a:pt x="162" y="1"/>
                      <a:pt x="162" y="0"/>
                    </a:cubicBezTo>
                    <a:cubicBezTo>
                      <a:pt x="162" y="2"/>
                      <a:pt x="162" y="2"/>
                      <a:pt x="162" y="2"/>
                    </a:cubicBezTo>
                    <a:cubicBezTo>
                      <a:pt x="151" y="4"/>
                      <a:pt x="153" y="17"/>
                      <a:pt x="143" y="20"/>
                    </a:cubicBezTo>
                    <a:cubicBezTo>
                      <a:pt x="135" y="22"/>
                      <a:pt x="138" y="10"/>
                      <a:pt x="129" y="21"/>
                    </a:cubicBezTo>
                    <a:cubicBezTo>
                      <a:pt x="128" y="22"/>
                      <a:pt x="129" y="25"/>
                      <a:pt x="128" y="28"/>
                    </a:cubicBezTo>
                    <a:cubicBezTo>
                      <a:pt x="128" y="28"/>
                      <a:pt x="121" y="40"/>
                      <a:pt x="121" y="41"/>
                    </a:cubicBezTo>
                    <a:cubicBezTo>
                      <a:pt x="120" y="45"/>
                      <a:pt x="123" y="60"/>
                      <a:pt x="124" y="64"/>
                    </a:cubicBezTo>
                    <a:cubicBezTo>
                      <a:pt x="124" y="65"/>
                      <a:pt x="123" y="67"/>
                      <a:pt x="123" y="68"/>
                    </a:cubicBezTo>
                    <a:cubicBezTo>
                      <a:pt x="123" y="72"/>
                      <a:pt x="123" y="74"/>
                      <a:pt x="124" y="78"/>
                    </a:cubicBezTo>
                    <a:cubicBezTo>
                      <a:pt x="125" y="82"/>
                      <a:pt x="129" y="86"/>
                      <a:pt x="130" y="90"/>
                    </a:cubicBezTo>
                    <a:cubicBezTo>
                      <a:pt x="133" y="110"/>
                      <a:pt x="128" y="97"/>
                      <a:pt x="121" y="103"/>
                    </a:cubicBezTo>
                    <a:cubicBezTo>
                      <a:pt x="113" y="111"/>
                      <a:pt x="120" y="113"/>
                      <a:pt x="118" y="123"/>
                    </a:cubicBezTo>
                    <a:cubicBezTo>
                      <a:pt x="117" y="125"/>
                      <a:pt x="115" y="126"/>
                      <a:pt x="115" y="128"/>
                    </a:cubicBezTo>
                    <a:cubicBezTo>
                      <a:pt x="115" y="129"/>
                      <a:pt x="107" y="122"/>
                      <a:pt x="106" y="121"/>
                    </a:cubicBezTo>
                    <a:cubicBezTo>
                      <a:pt x="104" y="120"/>
                      <a:pt x="84" y="113"/>
                      <a:pt x="82" y="115"/>
                    </a:cubicBezTo>
                    <a:cubicBezTo>
                      <a:pt x="80" y="117"/>
                      <a:pt x="81" y="122"/>
                      <a:pt x="80" y="124"/>
                    </a:cubicBezTo>
                    <a:cubicBezTo>
                      <a:pt x="73" y="136"/>
                      <a:pt x="64" y="129"/>
                      <a:pt x="54" y="131"/>
                    </a:cubicBezTo>
                    <a:cubicBezTo>
                      <a:pt x="51" y="131"/>
                      <a:pt x="48" y="132"/>
                      <a:pt x="46" y="132"/>
                    </a:cubicBezTo>
                    <a:cubicBezTo>
                      <a:pt x="44" y="130"/>
                      <a:pt x="44" y="130"/>
                      <a:pt x="44" y="130"/>
                    </a:cubicBezTo>
                    <a:cubicBezTo>
                      <a:pt x="43" y="128"/>
                      <a:pt x="43" y="124"/>
                      <a:pt x="42" y="122"/>
                    </a:cubicBezTo>
                    <a:cubicBezTo>
                      <a:pt x="38" y="115"/>
                      <a:pt x="25" y="98"/>
                      <a:pt x="18" y="94"/>
                    </a:cubicBezTo>
                    <a:cubicBezTo>
                      <a:pt x="3" y="85"/>
                      <a:pt x="3" y="97"/>
                      <a:pt x="4" y="106"/>
                    </a:cubicBezTo>
                    <a:cubicBezTo>
                      <a:pt x="0" y="118"/>
                      <a:pt x="0" y="118"/>
                      <a:pt x="0" y="118"/>
                    </a:cubicBezTo>
                    <a:cubicBezTo>
                      <a:pt x="1" y="118"/>
                      <a:pt x="1" y="118"/>
                      <a:pt x="1" y="118"/>
                    </a:cubicBezTo>
                    <a:cubicBezTo>
                      <a:pt x="0" y="119"/>
                      <a:pt x="0" y="119"/>
                      <a:pt x="0" y="119"/>
                    </a:cubicBezTo>
                    <a:cubicBezTo>
                      <a:pt x="3" y="121"/>
                      <a:pt x="3" y="121"/>
                      <a:pt x="3" y="121"/>
                    </a:cubicBezTo>
                    <a:cubicBezTo>
                      <a:pt x="2" y="123"/>
                      <a:pt x="0" y="123"/>
                      <a:pt x="3" y="125"/>
                    </a:cubicBezTo>
                    <a:cubicBezTo>
                      <a:pt x="12" y="132"/>
                      <a:pt x="29" y="146"/>
                      <a:pt x="39" y="150"/>
                    </a:cubicBezTo>
                    <a:cubicBezTo>
                      <a:pt x="51" y="155"/>
                      <a:pt x="60" y="151"/>
                      <a:pt x="71" y="162"/>
                    </a:cubicBezTo>
                    <a:cubicBezTo>
                      <a:pt x="73" y="163"/>
                      <a:pt x="72" y="168"/>
                      <a:pt x="74" y="170"/>
                    </a:cubicBezTo>
                    <a:cubicBezTo>
                      <a:pt x="76" y="170"/>
                      <a:pt x="77" y="167"/>
                      <a:pt x="78" y="168"/>
                    </a:cubicBezTo>
                    <a:cubicBezTo>
                      <a:pt x="82" y="170"/>
                      <a:pt x="84" y="175"/>
                      <a:pt x="87" y="179"/>
                    </a:cubicBezTo>
                    <a:cubicBezTo>
                      <a:pt x="89" y="180"/>
                      <a:pt x="92" y="180"/>
                      <a:pt x="91" y="181"/>
                    </a:cubicBezTo>
                    <a:cubicBezTo>
                      <a:pt x="85" y="193"/>
                      <a:pt x="92" y="194"/>
                      <a:pt x="94" y="207"/>
                    </a:cubicBezTo>
                    <a:cubicBezTo>
                      <a:pt x="94" y="210"/>
                      <a:pt x="92" y="212"/>
                      <a:pt x="92" y="214"/>
                    </a:cubicBezTo>
                    <a:cubicBezTo>
                      <a:pt x="91" y="215"/>
                      <a:pt x="91" y="215"/>
                      <a:pt x="91" y="215"/>
                    </a:cubicBezTo>
                    <a:cubicBezTo>
                      <a:pt x="91" y="220"/>
                      <a:pt x="100" y="216"/>
                      <a:pt x="102" y="218"/>
                    </a:cubicBezTo>
                    <a:cubicBezTo>
                      <a:pt x="110" y="224"/>
                      <a:pt x="98" y="232"/>
                      <a:pt x="101" y="237"/>
                    </a:cubicBezTo>
                    <a:cubicBezTo>
                      <a:pt x="104" y="245"/>
                      <a:pt x="118" y="253"/>
                      <a:pt x="119" y="262"/>
                    </a:cubicBezTo>
                    <a:cubicBezTo>
                      <a:pt x="120" y="269"/>
                      <a:pt x="115" y="290"/>
                      <a:pt x="115" y="293"/>
                    </a:cubicBezTo>
                    <a:cubicBezTo>
                      <a:pt x="120" y="311"/>
                      <a:pt x="133" y="317"/>
                      <a:pt x="140" y="332"/>
                    </a:cubicBezTo>
                    <a:cubicBezTo>
                      <a:pt x="142" y="328"/>
                      <a:pt x="145" y="325"/>
                      <a:pt x="153" y="329"/>
                    </a:cubicBezTo>
                    <a:cubicBezTo>
                      <a:pt x="156" y="331"/>
                      <a:pt x="154" y="339"/>
                      <a:pt x="158" y="342"/>
                    </a:cubicBezTo>
                    <a:cubicBezTo>
                      <a:pt x="162" y="344"/>
                      <a:pt x="166" y="339"/>
                      <a:pt x="170" y="340"/>
                    </a:cubicBezTo>
                    <a:cubicBezTo>
                      <a:pt x="172" y="340"/>
                      <a:pt x="172" y="344"/>
                      <a:pt x="173" y="345"/>
                    </a:cubicBezTo>
                    <a:cubicBezTo>
                      <a:pt x="176" y="347"/>
                      <a:pt x="176" y="340"/>
                      <a:pt x="180" y="346"/>
                    </a:cubicBezTo>
                    <a:cubicBezTo>
                      <a:pt x="186" y="359"/>
                      <a:pt x="181" y="370"/>
                      <a:pt x="184" y="376"/>
                    </a:cubicBezTo>
                    <a:cubicBezTo>
                      <a:pt x="185" y="381"/>
                      <a:pt x="201" y="369"/>
                      <a:pt x="194" y="386"/>
                    </a:cubicBezTo>
                    <a:cubicBezTo>
                      <a:pt x="192" y="390"/>
                      <a:pt x="186" y="389"/>
                      <a:pt x="183" y="391"/>
                    </a:cubicBezTo>
                    <a:cubicBezTo>
                      <a:pt x="180" y="393"/>
                      <a:pt x="176" y="395"/>
                      <a:pt x="173" y="398"/>
                    </a:cubicBezTo>
                    <a:cubicBezTo>
                      <a:pt x="172" y="399"/>
                      <a:pt x="174" y="402"/>
                      <a:pt x="173" y="403"/>
                    </a:cubicBezTo>
                    <a:cubicBezTo>
                      <a:pt x="172" y="404"/>
                      <a:pt x="169" y="402"/>
                      <a:pt x="168" y="403"/>
                    </a:cubicBezTo>
                    <a:cubicBezTo>
                      <a:pt x="167" y="407"/>
                      <a:pt x="166" y="412"/>
                      <a:pt x="166" y="416"/>
                    </a:cubicBezTo>
                    <a:cubicBezTo>
                      <a:pt x="166" y="419"/>
                      <a:pt x="168" y="422"/>
                      <a:pt x="167" y="425"/>
                    </a:cubicBezTo>
                    <a:cubicBezTo>
                      <a:pt x="166" y="430"/>
                      <a:pt x="159" y="432"/>
                      <a:pt x="158" y="437"/>
                    </a:cubicBezTo>
                    <a:cubicBezTo>
                      <a:pt x="157" y="440"/>
                      <a:pt x="160" y="444"/>
                      <a:pt x="159" y="447"/>
                    </a:cubicBezTo>
                    <a:cubicBezTo>
                      <a:pt x="156" y="453"/>
                      <a:pt x="150" y="452"/>
                      <a:pt x="149" y="460"/>
                    </a:cubicBezTo>
                    <a:cubicBezTo>
                      <a:pt x="149" y="462"/>
                      <a:pt x="152" y="464"/>
                      <a:pt x="152" y="466"/>
                    </a:cubicBezTo>
                    <a:cubicBezTo>
                      <a:pt x="150" y="477"/>
                      <a:pt x="135" y="475"/>
                      <a:pt x="134" y="485"/>
                    </a:cubicBezTo>
                    <a:cubicBezTo>
                      <a:pt x="134" y="489"/>
                      <a:pt x="131" y="499"/>
                      <a:pt x="130" y="499"/>
                    </a:cubicBezTo>
                    <a:cubicBezTo>
                      <a:pt x="128" y="499"/>
                      <a:pt x="125" y="494"/>
                      <a:pt x="123" y="495"/>
                    </a:cubicBezTo>
                    <a:cubicBezTo>
                      <a:pt x="118" y="500"/>
                      <a:pt x="126" y="511"/>
                      <a:pt x="121" y="515"/>
                    </a:cubicBezTo>
                    <a:cubicBezTo>
                      <a:pt x="119" y="516"/>
                      <a:pt x="116" y="508"/>
                      <a:pt x="116" y="511"/>
                    </a:cubicBezTo>
                    <a:cubicBezTo>
                      <a:pt x="116" y="514"/>
                      <a:pt x="120" y="515"/>
                      <a:pt x="121" y="518"/>
                    </a:cubicBezTo>
                    <a:cubicBezTo>
                      <a:pt x="127" y="536"/>
                      <a:pt x="120" y="524"/>
                      <a:pt x="112" y="533"/>
                    </a:cubicBezTo>
                    <a:cubicBezTo>
                      <a:pt x="110" y="535"/>
                      <a:pt x="113" y="541"/>
                      <a:pt x="111" y="541"/>
                    </a:cubicBezTo>
                    <a:cubicBezTo>
                      <a:pt x="108" y="540"/>
                      <a:pt x="110" y="533"/>
                      <a:pt x="107" y="533"/>
                    </a:cubicBezTo>
                    <a:cubicBezTo>
                      <a:pt x="102" y="532"/>
                      <a:pt x="97" y="533"/>
                      <a:pt x="94" y="537"/>
                    </a:cubicBezTo>
                    <a:cubicBezTo>
                      <a:pt x="85" y="553"/>
                      <a:pt x="104" y="542"/>
                      <a:pt x="103" y="551"/>
                    </a:cubicBezTo>
                    <a:cubicBezTo>
                      <a:pt x="102" y="557"/>
                      <a:pt x="87" y="566"/>
                      <a:pt x="87" y="572"/>
                    </a:cubicBezTo>
                    <a:cubicBezTo>
                      <a:pt x="84" y="610"/>
                      <a:pt x="87" y="571"/>
                      <a:pt x="93" y="585"/>
                    </a:cubicBezTo>
                    <a:cubicBezTo>
                      <a:pt x="94" y="586"/>
                      <a:pt x="88" y="596"/>
                      <a:pt x="93" y="599"/>
                    </a:cubicBezTo>
                    <a:cubicBezTo>
                      <a:pt x="93" y="600"/>
                      <a:pt x="94" y="597"/>
                      <a:pt x="95" y="597"/>
                    </a:cubicBezTo>
                    <a:cubicBezTo>
                      <a:pt x="96" y="599"/>
                      <a:pt x="94" y="603"/>
                      <a:pt x="97" y="604"/>
                    </a:cubicBezTo>
                    <a:cubicBezTo>
                      <a:pt x="98" y="604"/>
                      <a:pt x="95" y="598"/>
                      <a:pt x="97" y="598"/>
                    </a:cubicBezTo>
                    <a:cubicBezTo>
                      <a:pt x="99" y="598"/>
                      <a:pt x="99" y="600"/>
                      <a:pt x="100" y="602"/>
                    </a:cubicBezTo>
                    <a:cubicBezTo>
                      <a:pt x="103" y="611"/>
                      <a:pt x="99" y="626"/>
                      <a:pt x="101" y="629"/>
                    </a:cubicBezTo>
                    <a:cubicBezTo>
                      <a:pt x="102" y="631"/>
                      <a:pt x="106" y="630"/>
                      <a:pt x="107" y="632"/>
                    </a:cubicBezTo>
                    <a:cubicBezTo>
                      <a:pt x="110" y="635"/>
                      <a:pt x="111" y="638"/>
                      <a:pt x="112" y="641"/>
                    </a:cubicBezTo>
                    <a:cubicBezTo>
                      <a:pt x="113" y="642"/>
                      <a:pt x="112" y="644"/>
                      <a:pt x="112" y="645"/>
                    </a:cubicBezTo>
                    <a:cubicBezTo>
                      <a:pt x="113" y="647"/>
                      <a:pt x="116" y="647"/>
                      <a:pt x="117" y="648"/>
                    </a:cubicBezTo>
                    <a:cubicBezTo>
                      <a:pt x="117" y="648"/>
                      <a:pt x="115" y="648"/>
                      <a:pt x="115" y="648"/>
                    </a:cubicBezTo>
                    <a:cubicBezTo>
                      <a:pt x="114" y="649"/>
                      <a:pt x="115" y="650"/>
                      <a:pt x="116" y="652"/>
                    </a:cubicBezTo>
                    <a:cubicBezTo>
                      <a:pt x="119" y="655"/>
                      <a:pt x="125" y="657"/>
                      <a:pt x="124" y="661"/>
                    </a:cubicBezTo>
                    <a:cubicBezTo>
                      <a:pt x="124" y="664"/>
                      <a:pt x="115" y="661"/>
                      <a:pt x="114" y="665"/>
                    </a:cubicBezTo>
                    <a:cubicBezTo>
                      <a:pt x="113" y="669"/>
                      <a:pt x="120" y="672"/>
                      <a:pt x="121" y="676"/>
                    </a:cubicBezTo>
                    <a:cubicBezTo>
                      <a:pt x="121" y="678"/>
                      <a:pt x="119" y="679"/>
                      <a:pt x="119" y="682"/>
                    </a:cubicBezTo>
                    <a:cubicBezTo>
                      <a:pt x="120" y="683"/>
                      <a:pt x="123" y="683"/>
                      <a:pt x="123" y="684"/>
                    </a:cubicBezTo>
                    <a:cubicBezTo>
                      <a:pt x="123" y="692"/>
                      <a:pt x="117" y="684"/>
                      <a:pt x="119" y="690"/>
                    </a:cubicBezTo>
                    <a:cubicBezTo>
                      <a:pt x="120" y="692"/>
                      <a:pt x="123" y="694"/>
                      <a:pt x="122" y="696"/>
                    </a:cubicBezTo>
                    <a:cubicBezTo>
                      <a:pt x="121" y="698"/>
                      <a:pt x="116" y="695"/>
                      <a:pt x="115" y="697"/>
                    </a:cubicBezTo>
                    <a:cubicBezTo>
                      <a:pt x="115" y="712"/>
                      <a:pt x="121" y="713"/>
                      <a:pt x="125" y="720"/>
                    </a:cubicBezTo>
                    <a:cubicBezTo>
                      <a:pt x="127" y="721"/>
                      <a:pt x="121" y="722"/>
                      <a:pt x="122" y="723"/>
                    </a:cubicBezTo>
                    <a:cubicBezTo>
                      <a:pt x="123" y="726"/>
                      <a:pt x="124" y="729"/>
                      <a:pt x="125" y="731"/>
                    </a:cubicBezTo>
                    <a:cubicBezTo>
                      <a:pt x="138" y="747"/>
                      <a:pt x="128" y="730"/>
                      <a:pt x="140" y="728"/>
                    </a:cubicBezTo>
                    <a:cubicBezTo>
                      <a:pt x="142" y="728"/>
                      <a:pt x="138" y="734"/>
                      <a:pt x="140" y="736"/>
                    </a:cubicBezTo>
                    <a:cubicBezTo>
                      <a:pt x="143" y="738"/>
                      <a:pt x="147" y="735"/>
                      <a:pt x="151" y="735"/>
                    </a:cubicBezTo>
                    <a:cubicBezTo>
                      <a:pt x="155" y="735"/>
                      <a:pt x="156" y="741"/>
                      <a:pt x="159" y="741"/>
                    </a:cubicBezTo>
                    <a:cubicBezTo>
                      <a:pt x="162" y="741"/>
                      <a:pt x="163" y="738"/>
                      <a:pt x="166" y="738"/>
                    </a:cubicBezTo>
                    <a:cubicBezTo>
                      <a:pt x="167" y="737"/>
                      <a:pt x="166" y="739"/>
                      <a:pt x="166" y="740"/>
                    </a:cubicBezTo>
                    <a:cubicBezTo>
                      <a:pt x="168" y="740"/>
                      <a:pt x="169" y="740"/>
                      <a:pt x="171" y="739"/>
                    </a:cubicBezTo>
                    <a:cubicBezTo>
                      <a:pt x="171" y="739"/>
                      <a:pt x="171" y="735"/>
                      <a:pt x="172" y="736"/>
                    </a:cubicBezTo>
                    <a:cubicBezTo>
                      <a:pt x="177" y="749"/>
                      <a:pt x="168" y="751"/>
                      <a:pt x="171" y="752"/>
                    </a:cubicBezTo>
                    <a:cubicBezTo>
                      <a:pt x="172" y="752"/>
                      <a:pt x="185" y="742"/>
                      <a:pt x="186" y="741"/>
                    </a:cubicBezTo>
                    <a:cubicBezTo>
                      <a:pt x="187" y="740"/>
                      <a:pt x="188" y="738"/>
                      <a:pt x="189" y="737"/>
                    </a:cubicBezTo>
                    <a:cubicBezTo>
                      <a:pt x="186" y="746"/>
                      <a:pt x="179" y="755"/>
                      <a:pt x="192" y="760"/>
                    </a:cubicBezTo>
                    <a:cubicBezTo>
                      <a:pt x="194" y="761"/>
                      <a:pt x="199" y="756"/>
                      <a:pt x="200" y="759"/>
                    </a:cubicBezTo>
                    <a:cubicBezTo>
                      <a:pt x="201" y="762"/>
                      <a:pt x="192" y="767"/>
                      <a:pt x="196" y="768"/>
                    </a:cubicBezTo>
                    <a:cubicBezTo>
                      <a:pt x="199" y="770"/>
                      <a:pt x="198" y="760"/>
                      <a:pt x="202" y="760"/>
                    </a:cubicBezTo>
                    <a:cubicBezTo>
                      <a:pt x="205" y="759"/>
                      <a:pt x="202" y="765"/>
                      <a:pt x="201" y="768"/>
                    </a:cubicBezTo>
                    <a:cubicBezTo>
                      <a:pt x="199" y="770"/>
                      <a:pt x="196" y="772"/>
                      <a:pt x="193" y="774"/>
                    </a:cubicBezTo>
                    <a:cubicBezTo>
                      <a:pt x="192" y="776"/>
                      <a:pt x="188" y="779"/>
                      <a:pt x="189" y="778"/>
                    </a:cubicBezTo>
                    <a:cubicBezTo>
                      <a:pt x="207" y="772"/>
                      <a:pt x="200" y="760"/>
                      <a:pt x="209" y="755"/>
                    </a:cubicBezTo>
                    <a:cubicBezTo>
                      <a:pt x="212" y="753"/>
                      <a:pt x="205" y="762"/>
                      <a:pt x="207" y="764"/>
                    </a:cubicBezTo>
                    <a:cubicBezTo>
                      <a:pt x="211" y="766"/>
                      <a:pt x="216" y="763"/>
                      <a:pt x="220" y="761"/>
                    </a:cubicBezTo>
                    <a:cubicBezTo>
                      <a:pt x="223" y="760"/>
                      <a:pt x="224" y="755"/>
                      <a:pt x="227" y="753"/>
                    </a:cubicBezTo>
                    <a:cubicBezTo>
                      <a:pt x="230" y="751"/>
                      <a:pt x="245" y="749"/>
                      <a:pt x="247" y="747"/>
                    </a:cubicBezTo>
                    <a:cubicBezTo>
                      <a:pt x="249" y="745"/>
                      <a:pt x="243" y="742"/>
                      <a:pt x="245" y="740"/>
                    </a:cubicBezTo>
                    <a:cubicBezTo>
                      <a:pt x="248" y="738"/>
                      <a:pt x="252" y="740"/>
                      <a:pt x="256" y="739"/>
                    </a:cubicBezTo>
                    <a:cubicBezTo>
                      <a:pt x="257" y="739"/>
                      <a:pt x="259" y="740"/>
                      <a:pt x="260" y="739"/>
                    </a:cubicBezTo>
                    <a:cubicBezTo>
                      <a:pt x="261" y="737"/>
                      <a:pt x="259" y="735"/>
                      <a:pt x="259" y="734"/>
                    </a:cubicBezTo>
                    <a:cubicBezTo>
                      <a:pt x="260" y="733"/>
                      <a:pt x="260" y="736"/>
                      <a:pt x="261" y="737"/>
                    </a:cubicBezTo>
                    <a:cubicBezTo>
                      <a:pt x="262" y="738"/>
                      <a:pt x="276" y="729"/>
                      <a:pt x="278" y="727"/>
                    </a:cubicBezTo>
                    <a:cubicBezTo>
                      <a:pt x="278" y="726"/>
                      <a:pt x="275" y="715"/>
                      <a:pt x="281" y="716"/>
                    </a:cubicBezTo>
                    <a:cubicBezTo>
                      <a:pt x="282" y="716"/>
                      <a:pt x="303" y="735"/>
                      <a:pt x="298" y="714"/>
                    </a:cubicBezTo>
                    <a:cubicBezTo>
                      <a:pt x="297" y="710"/>
                      <a:pt x="287" y="710"/>
                      <a:pt x="288" y="705"/>
                    </a:cubicBezTo>
                    <a:cubicBezTo>
                      <a:pt x="289" y="701"/>
                      <a:pt x="297" y="704"/>
                      <a:pt x="301" y="705"/>
                    </a:cubicBezTo>
                    <a:cubicBezTo>
                      <a:pt x="303" y="705"/>
                      <a:pt x="303" y="712"/>
                      <a:pt x="305" y="710"/>
                    </a:cubicBezTo>
                    <a:cubicBezTo>
                      <a:pt x="311" y="707"/>
                      <a:pt x="302" y="687"/>
                      <a:pt x="309" y="691"/>
                    </a:cubicBezTo>
                    <a:cubicBezTo>
                      <a:pt x="315" y="695"/>
                      <a:pt x="300" y="709"/>
                      <a:pt x="317" y="704"/>
                    </a:cubicBezTo>
                    <a:cubicBezTo>
                      <a:pt x="344" y="695"/>
                      <a:pt x="321" y="700"/>
                      <a:pt x="327" y="692"/>
                    </a:cubicBezTo>
                    <a:cubicBezTo>
                      <a:pt x="327" y="691"/>
                      <a:pt x="328" y="693"/>
                      <a:pt x="329" y="693"/>
                    </a:cubicBezTo>
                    <a:cubicBezTo>
                      <a:pt x="330" y="693"/>
                      <a:pt x="332" y="693"/>
                      <a:pt x="332" y="692"/>
                    </a:cubicBezTo>
                    <a:cubicBezTo>
                      <a:pt x="333" y="691"/>
                      <a:pt x="331" y="687"/>
                      <a:pt x="332" y="687"/>
                    </a:cubicBezTo>
                    <a:cubicBezTo>
                      <a:pt x="333" y="687"/>
                      <a:pt x="342" y="695"/>
                      <a:pt x="345" y="693"/>
                    </a:cubicBezTo>
                    <a:cubicBezTo>
                      <a:pt x="349" y="692"/>
                      <a:pt x="352" y="689"/>
                      <a:pt x="354" y="686"/>
                    </a:cubicBezTo>
                    <a:cubicBezTo>
                      <a:pt x="355" y="686"/>
                      <a:pt x="355" y="686"/>
                      <a:pt x="355" y="685"/>
                    </a:cubicBezTo>
                    <a:lnTo>
                      <a:pt x="353" y="684"/>
                    </a:lnTo>
                    <a:close/>
                  </a:path>
                </a:pathLst>
              </a:custGeom>
              <a:solidFill>
                <a:srgbClr val="6785C1">
                  <a:lumMod val="40000"/>
                  <a:lumOff val="60000"/>
                </a:srgbClr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108" name="Germany" descr="{&quot;Key&quot;:&quot;germany&quot;,&quot;Name&quot;:&quot;Germany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5213FF09-A472-F9C3-A9F9-FCC5D247E1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55086" y="4041235"/>
                <a:ext cx="725676" cy="1027413"/>
              </a:xfrm>
              <a:custGeom>
                <a:avLst/>
                <a:gdLst>
                  <a:gd name="T0" fmla="*/ 408 w 434"/>
                  <a:gd name="T1" fmla="*/ 167 h 571"/>
                  <a:gd name="T2" fmla="*/ 417 w 434"/>
                  <a:gd name="T3" fmla="*/ 204 h 571"/>
                  <a:gd name="T4" fmla="*/ 427 w 434"/>
                  <a:gd name="T5" fmla="*/ 247 h 571"/>
                  <a:gd name="T6" fmla="*/ 382 w 434"/>
                  <a:gd name="T7" fmla="*/ 302 h 571"/>
                  <a:gd name="T8" fmla="*/ 359 w 434"/>
                  <a:gd name="T9" fmla="*/ 314 h 571"/>
                  <a:gd name="T10" fmla="*/ 331 w 434"/>
                  <a:gd name="T11" fmla="*/ 329 h 571"/>
                  <a:gd name="T12" fmla="*/ 316 w 434"/>
                  <a:gd name="T13" fmla="*/ 365 h 571"/>
                  <a:gd name="T14" fmla="*/ 346 w 434"/>
                  <a:gd name="T15" fmla="*/ 414 h 571"/>
                  <a:gd name="T16" fmla="*/ 369 w 434"/>
                  <a:gd name="T17" fmla="*/ 468 h 571"/>
                  <a:gd name="T18" fmla="*/ 345 w 434"/>
                  <a:gd name="T19" fmla="*/ 532 h 571"/>
                  <a:gd name="T20" fmla="*/ 325 w 434"/>
                  <a:gd name="T21" fmla="*/ 539 h 571"/>
                  <a:gd name="T22" fmla="*/ 309 w 434"/>
                  <a:gd name="T23" fmla="*/ 541 h 571"/>
                  <a:gd name="T24" fmla="*/ 270 w 434"/>
                  <a:gd name="T25" fmla="*/ 554 h 571"/>
                  <a:gd name="T26" fmla="*/ 245 w 434"/>
                  <a:gd name="T27" fmla="*/ 549 h 571"/>
                  <a:gd name="T28" fmla="*/ 208 w 434"/>
                  <a:gd name="T29" fmla="*/ 567 h 571"/>
                  <a:gd name="T30" fmla="*/ 203 w 434"/>
                  <a:gd name="T31" fmla="*/ 553 h 571"/>
                  <a:gd name="T32" fmla="*/ 179 w 434"/>
                  <a:gd name="T33" fmla="*/ 549 h 571"/>
                  <a:gd name="T34" fmla="*/ 139 w 434"/>
                  <a:gd name="T35" fmla="*/ 537 h 571"/>
                  <a:gd name="T36" fmla="*/ 129 w 434"/>
                  <a:gd name="T37" fmla="*/ 538 h 571"/>
                  <a:gd name="T38" fmla="*/ 79 w 434"/>
                  <a:gd name="T39" fmla="*/ 544 h 571"/>
                  <a:gd name="T40" fmla="*/ 78 w 434"/>
                  <a:gd name="T41" fmla="*/ 509 h 571"/>
                  <a:gd name="T42" fmla="*/ 113 w 434"/>
                  <a:gd name="T43" fmla="*/ 441 h 571"/>
                  <a:gd name="T44" fmla="*/ 55 w 434"/>
                  <a:gd name="T45" fmla="*/ 423 h 571"/>
                  <a:gd name="T46" fmla="*/ 32 w 434"/>
                  <a:gd name="T47" fmla="*/ 375 h 571"/>
                  <a:gd name="T48" fmla="*/ 23 w 434"/>
                  <a:gd name="T49" fmla="*/ 315 h 571"/>
                  <a:gd name="T50" fmla="*/ 6 w 434"/>
                  <a:gd name="T51" fmla="*/ 282 h 571"/>
                  <a:gd name="T52" fmla="*/ 23 w 434"/>
                  <a:gd name="T53" fmla="*/ 259 h 571"/>
                  <a:gd name="T54" fmla="*/ 23 w 434"/>
                  <a:gd name="T55" fmla="*/ 223 h 571"/>
                  <a:gd name="T56" fmla="*/ 48 w 434"/>
                  <a:gd name="T57" fmla="*/ 208 h 571"/>
                  <a:gd name="T58" fmla="*/ 51 w 434"/>
                  <a:gd name="T59" fmla="*/ 166 h 571"/>
                  <a:gd name="T60" fmla="*/ 77 w 434"/>
                  <a:gd name="T61" fmla="*/ 122 h 571"/>
                  <a:gd name="T62" fmla="*/ 68 w 434"/>
                  <a:gd name="T63" fmla="*/ 115 h 571"/>
                  <a:gd name="T64" fmla="*/ 113 w 434"/>
                  <a:gd name="T65" fmla="*/ 89 h 571"/>
                  <a:gd name="T66" fmla="*/ 150 w 434"/>
                  <a:gd name="T67" fmla="*/ 80 h 571"/>
                  <a:gd name="T68" fmla="*/ 180 w 434"/>
                  <a:gd name="T69" fmla="*/ 96 h 571"/>
                  <a:gd name="T70" fmla="*/ 139 w 434"/>
                  <a:gd name="T71" fmla="*/ 42 h 571"/>
                  <a:gd name="T72" fmla="*/ 142 w 434"/>
                  <a:gd name="T73" fmla="*/ 13 h 571"/>
                  <a:gd name="T74" fmla="*/ 175 w 434"/>
                  <a:gd name="T75" fmla="*/ 8 h 571"/>
                  <a:gd name="T76" fmla="*/ 197 w 434"/>
                  <a:gd name="T77" fmla="*/ 11 h 571"/>
                  <a:gd name="T78" fmla="*/ 200 w 434"/>
                  <a:gd name="T79" fmla="*/ 18 h 571"/>
                  <a:gd name="T80" fmla="*/ 205 w 434"/>
                  <a:gd name="T81" fmla="*/ 44 h 571"/>
                  <a:gd name="T82" fmla="*/ 238 w 434"/>
                  <a:gd name="T83" fmla="*/ 71 h 571"/>
                  <a:gd name="T84" fmla="*/ 291 w 434"/>
                  <a:gd name="T85" fmla="*/ 58 h 571"/>
                  <a:gd name="T86" fmla="*/ 324 w 434"/>
                  <a:gd name="T87" fmla="*/ 34 h 571"/>
                  <a:gd name="T88" fmla="*/ 352 w 434"/>
                  <a:gd name="T89" fmla="*/ 58 h 571"/>
                  <a:gd name="T90" fmla="*/ 378 w 434"/>
                  <a:gd name="T91" fmla="*/ 82 h 571"/>
                  <a:gd name="T92" fmla="*/ 350 w 434"/>
                  <a:gd name="T93" fmla="*/ 28 h 571"/>
                  <a:gd name="T94" fmla="*/ 357 w 434"/>
                  <a:gd name="T95" fmla="*/ 21 h 571"/>
                  <a:gd name="T96" fmla="*/ 334 w 434"/>
                  <a:gd name="T97" fmla="*/ 40 h 5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34" h="571">
                    <a:moveTo>
                      <a:pt x="386" y="84"/>
                    </a:moveTo>
                    <a:cubicBezTo>
                      <a:pt x="387" y="93"/>
                      <a:pt x="396" y="110"/>
                      <a:pt x="397" y="116"/>
                    </a:cubicBezTo>
                    <a:cubicBezTo>
                      <a:pt x="399" y="129"/>
                      <a:pt x="381" y="138"/>
                      <a:pt x="385" y="149"/>
                    </a:cubicBezTo>
                    <a:cubicBezTo>
                      <a:pt x="387" y="156"/>
                      <a:pt x="408" y="159"/>
                      <a:pt x="408" y="167"/>
                    </a:cubicBezTo>
                    <a:cubicBezTo>
                      <a:pt x="408" y="176"/>
                      <a:pt x="402" y="179"/>
                      <a:pt x="407" y="185"/>
                    </a:cubicBezTo>
                    <a:cubicBezTo>
                      <a:pt x="408" y="188"/>
                      <a:pt x="412" y="189"/>
                      <a:pt x="414" y="192"/>
                    </a:cubicBezTo>
                    <a:cubicBezTo>
                      <a:pt x="415" y="195"/>
                      <a:pt x="413" y="199"/>
                      <a:pt x="414" y="202"/>
                    </a:cubicBezTo>
                    <a:cubicBezTo>
                      <a:pt x="414" y="204"/>
                      <a:pt x="416" y="203"/>
                      <a:pt x="417" y="204"/>
                    </a:cubicBezTo>
                    <a:cubicBezTo>
                      <a:pt x="420" y="208"/>
                      <a:pt x="413" y="218"/>
                      <a:pt x="411" y="221"/>
                    </a:cubicBezTo>
                    <a:cubicBezTo>
                      <a:pt x="408" y="226"/>
                      <a:pt x="416" y="229"/>
                      <a:pt x="418" y="234"/>
                    </a:cubicBezTo>
                    <a:cubicBezTo>
                      <a:pt x="419" y="237"/>
                      <a:pt x="415" y="240"/>
                      <a:pt x="417" y="243"/>
                    </a:cubicBezTo>
                    <a:cubicBezTo>
                      <a:pt x="419" y="246"/>
                      <a:pt x="424" y="245"/>
                      <a:pt x="427" y="247"/>
                    </a:cubicBezTo>
                    <a:cubicBezTo>
                      <a:pt x="434" y="254"/>
                      <a:pt x="431" y="296"/>
                      <a:pt x="424" y="297"/>
                    </a:cubicBezTo>
                    <a:cubicBezTo>
                      <a:pt x="417" y="299"/>
                      <a:pt x="405" y="267"/>
                      <a:pt x="399" y="285"/>
                    </a:cubicBezTo>
                    <a:cubicBezTo>
                      <a:pt x="398" y="288"/>
                      <a:pt x="408" y="290"/>
                      <a:pt x="406" y="292"/>
                    </a:cubicBezTo>
                    <a:cubicBezTo>
                      <a:pt x="399" y="297"/>
                      <a:pt x="389" y="298"/>
                      <a:pt x="382" y="302"/>
                    </a:cubicBezTo>
                    <a:cubicBezTo>
                      <a:pt x="381" y="303"/>
                      <a:pt x="382" y="305"/>
                      <a:pt x="381" y="306"/>
                    </a:cubicBezTo>
                    <a:cubicBezTo>
                      <a:pt x="377" y="308"/>
                      <a:pt x="371" y="305"/>
                      <a:pt x="367" y="308"/>
                    </a:cubicBezTo>
                    <a:cubicBezTo>
                      <a:pt x="364" y="310"/>
                      <a:pt x="365" y="314"/>
                      <a:pt x="363" y="317"/>
                    </a:cubicBezTo>
                    <a:cubicBezTo>
                      <a:pt x="361" y="318"/>
                      <a:pt x="360" y="314"/>
                      <a:pt x="359" y="314"/>
                    </a:cubicBezTo>
                    <a:cubicBezTo>
                      <a:pt x="354" y="316"/>
                      <a:pt x="353" y="322"/>
                      <a:pt x="350" y="325"/>
                    </a:cubicBezTo>
                    <a:cubicBezTo>
                      <a:pt x="348" y="326"/>
                      <a:pt x="344" y="324"/>
                      <a:pt x="343" y="325"/>
                    </a:cubicBezTo>
                    <a:cubicBezTo>
                      <a:pt x="341" y="326"/>
                      <a:pt x="343" y="330"/>
                      <a:pt x="341" y="331"/>
                    </a:cubicBezTo>
                    <a:cubicBezTo>
                      <a:pt x="339" y="334"/>
                      <a:pt x="333" y="329"/>
                      <a:pt x="331" y="329"/>
                    </a:cubicBezTo>
                    <a:cubicBezTo>
                      <a:pt x="317" y="331"/>
                      <a:pt x="314" y="342"/>
                      <a:pt x="310" y="351"/>
                    </a:cubicBezTo>
                    <a:cubicBezTo>
                      <a:pt x="309" y="353"/>
                      <a:pt x="309" y="346"/>
                      <a:pt x="307" y="344"/>
                    </a:cubicBezTo>
                    <a:cubicBezTo>
                      <a:pt x="305" y="342"/>
                      <a:pt x="301" y="341"/>
                      <a:pt x="299" y="340"/>
                    </a:cubicBezTo>
                    <a:cubicBezTo>
                      <a:pt x="294" y="339"/>
                      <a:pt x="304" y="357"/>
                      <a:pt x="316" y="365"/>
                    </a:cubicBezTo>
                    <a:cubicBezTo>
                      <a:pt x="317" y="365"/>
                      <a:pt x="321" y="366"/>
                      <a:pt x="321" y="369"/>
                    </a:cubicBezTo>
                    <a:cubicBezTo>
                      <a:pt x="323" y="377"/>
                      <a:pt x="316" y="374"/>
                      <a:pt x="314" y="381"/>
                    </a:cubicBezTo>
                    <a:cubicBezTo>
                      <a:pt x="314" y="382"/>
                      <a:pt x="326" y="403"/>
                      <a:pt x="328" y="405"/>
                    </a:cubicBezTo>
                    <a:cubicBezTo>
                      <a:pt x="338" y="415"/>
                      <a:pt x="340" y="408"/>
                      <a:pt x="346" y="414"/>
                    </a:cubicBezTo>
                    <a:cubicBezTo>
                      <a:pt x="350" y="418"/>
                      <a:pt x="351" y="424"/>
                      <a:pt x="355" y="428"/>
                    </a:cubicBezTo>
                    <a:cubicBezTo>
                      <a:pt x="364" y="434"/>
                      <a:pt x="388" y="442"/>
                      <a:pt x="387" y="457"/>
                    </a:cubicBezTo>
                    <a:cubicBezTo>
                      <a:pt x="387" y="472"/>
                      <a:pt x="384" y="469"/>
                      <a:pt x="372" y="466"/>
                    </a:cubicBezTo>
                    <a:cubicBezTo>
                      <a:pt x="371" y="466"/>
                      <a:pt x="369" y="467"/>
                      <a:pt x="369" y="468"/>
                    </a:cubicBezTo>
                    <a:cubicBezTo>
                      <a:pt x="368" y="473"/>
                      <a:pt x="371" y="480"/>
                      <a:pt x="365" y="484"/>
                    </a:cubicBezTo>
                    <a:cubicBezTo>
                      <a:pt x="360" y="488"/>
                      <a:pt x="337" y="494"/>
                      <a:pt x="336" y="503"/>
                    </a:cubicBezTo>
                    <a:cubicBezTo>
                      <a:pt x="336" y="503"/>
                      <a:pt x="350" y="522"/>
                      <a:pt x="350" y="522"/>
                    </a:cubicBezTo>
                    <a:cubicBezTo>
                      <a:pt x="350" y="523"/>
                      <a:pt x="342" y="529"/>
                      <a:pt x="345" y="532"/>
                    </a:cubicBezTo>
                    <a:cubicBezTo>
                      <a:pt x="351" y="537"/>
                      <a:pt x="357" y="529"/>
                      <a:pt x="352" y="548"/>
                    </a:cubicBezTo>
                    <a:cubicBezTo>
                      <a:pt x="352" y="549"/>
                      <a:pt x="351" y="550"/>
                      <a:pt x="350" y="550"/>
                    </a:cubicBezTo>
                    <a:cubicBezTo>
                      <a:pt x="332" y="545"/>
                      <a:pt x="346" y="536"/>
                      <a:pt x="338" y="536"/>
                    </a:cubicBezTo>
                    <a:cubicBezTo>
                      <a:pt x="333" y="536"/>
                      <a:pt x="329" y="540"/>
                      <a:pt x="325" y="539"/>
                    </a:cubicBezTo>
                    <a:cubicBezTo>
                      <a:pt x="322" y="539"/>
                      <a:pt x="323" y="535"/>
                      <a:pt x="321" y="534"/>
                    </a:cubicBezTo>
                    <a:cubicBezTo>
                      <a:pt x="318" y="533"/>
                      <a:pt x="314" y="536"/>
                      <a:pt x="312" y="535"/>
                    </a:cubicBezTo>
                    <a:cubicBezTo>
                      <a:pt x="311" y="534"/>
                      <a:pt x="313" y="531"/>
                      <a:pt x="312" y="531"/>
                    </a:cubicBezTo>
                    <a:cubicBezTo>
                      <a:pt x="305" y="531"/>
                      <a:pt x="311" y="540"/>
                      <a:pt x="309" y="541"/>
                    </a:cubicBezTo>
                    <a:cubicBezTo>
                      <a:pt x="301" y="543"/>
                      <a:pt x="288" y="540"/>
                      <a:pt x="281" y="542"/>
                    </a:cubicBezTo>
                    <a:cubicBezTo>
                      <a:pt x="279" y="544"/>
                      <a:pt x="280" y="548"/>
                      <a:pt x="278" y="549"/>
                    </a:cubicBezTo>
                    <a:cubicBezTo>
                      <a:pt x="275" y="550"/>
                      <a:pt x="273" y="548"/>
                      <a:pt x="270" y="549"/>
                    </a:cubicBezTo>
                    <a:cubicBezTo>
                      <a:pt x="269" y="550"/>
                      <a:pt x="271" y="553"/>
                      <a:pt x="270" y="554"/>
                    </a:cubicBezTo>
                    <a:cubicBezTo>
                      <a:pt x="269" y="554"/>
                      <a:pt x="250" y="559"/>
                      <a:pt x="248" y="558"/>
                    </a:cubicBezTo>
                    <a:cubicBezTo>
                      <a:pt x="247" y="557"/>
                      <a:pt x="248" y="554"/>
                      <a:pt x="247" y="553"/>
                    </a:cubicBezTo>
                    <a:cubicBezTo>
                      <a:pt x="246" y="552"/>
                      <a:pt x="243" y="552"/>
                      <a:pt x="243" y="551"/>
                    </a:cubicBezTo>
                    <a:cubicBezTo>
                      <a:pt x="242" y="550"/>
                      <a:pt x="245" y="550"/>
                      <a:pt x="245" y="549"/>
                    </a:cubicBezTo>
                    <a:cubicBezTo>
                      <a:pt x="243" y="542"/>
                      <a:pt x="227" y="551"/>
                      <a:pt x="222" y="546"/>
                    </a:cubicBezTo>
                    <a:cubicBezTo>
                      <a:pt x="222" y="546"/>
                      <a:pt x="223" y="545"/>
                      <a:pt x="223" y="545"/>
                    </a:cubicBezTo>
                    <a:cubicBezTo>
                      <a:pt x="220" y="542"/>
                      <a:pt x="223" y="552"/>
                      <a:pt x="222" y="556"/>
                    </a:cubicBezTo>
                    <a:cubicBezTo>
                      <a:pt x="222" y="558"/>
                      <a:pt x="212" y="571"/>
                      <a:pt x="208" y="567"/>
                    </a:cubicBezTo>
                    <a:cubicBezTo>
                      <a:pt x="205" y="565"/>
                      <a:pt x="212" y="562"/>
                      <a:pt x="210" y="559"/>
                    </a:cubicBezTo>
                    <a:cubicBezTo>
                      <a:pt x="209" y="559"/>
                      <a:pt x="208" y="561"/>
                      <a:pt x="206" y="561"/>
                    </a:cubicBezTo>
                    <a:cubicBezTo>
                      <a:pt x="205" y="561"/>
                      <a:pt x="204" y="561"/>
                      <a:pt x="203" y="559"/>
                    </a:cubicBezTo>
                    <a:cubicBezTo>
                      <a:pt x="202" y="558"/>
                      <a:pt x="206" y="555"/>
                      <a:pt x="203" y="553"/>
                    </a:cubicBezTo>
                    <a:cubicBezTo>
                      <a:pt x="201" y="552"/>
                      <a:pt x="200" y="549"/>
                      <a:pt x="197" y="548"/>
                    </a:cubicBezTo>
                    <a:cubicBezTo>
                      <a:pt x="196" y="546"/>
                      <a:pt x="193" y="549"/>
                      <a:pt x="191" y="549"/>
                    </a:cubicBezTo>
                    <a:cubicBezTo>
                      <a:pt x="190" y="548"/>
                      <a:pt x="191" y="545"/>
                      <a:pt x="190" y="544"/>
                    </a:cubicBezTo>
                    <a:cubicBezTo>
                      <a:pt x="187" y="541"/>
                      <a:pt x="188" y="552"/>
                      <a:pt x="179" y="549"/>
                    </a:cubicBezTo>
                    <a:cubicBezTo>
                      <a:pt x="172" y="546"/>
                      <a:pt x="169" y="540"/>
                      <a:pt x="162" y="539"/>
                    </a:cubicBezTo>
                    <a:cubicBezTo>
                      <a:pt x="162" y="539"/>
                      <a:pt x="143" y="540"/>
                      <a:pt x="143" y="540"/>
                    </a:cubicBezTo>
                    <a:cubicBezTo>
                      <a:pt x="141" y="539"/>
                      <a:pt x="141" y="535"/>
                      <a:pt x="139" y="533"/>
                    </a:cubicBezTo>
                    <a:cubicBezTo>
                      <a:pt x="138" y="532"/>
                      <a:pt x="140" y="536"/>
                      <a:pt x="139" y="537"/>
                    </a:cubicBezTo>
                    <a:cubicBezTo>
                      <a:pt x="137" y="537"/>
                      <a:pt x="135" y="537"/>
                      <a:pt x="135" y="536"/>
                    </a:cubicBezTo>
                    <a:cubicBezTo>
                      <a:pt x="134" y="534"/>
                      <a:pt x="137" y="532"/>
                      <a:pt x="136" y="531"/>
                    </a:cubicBezTo>
                    <a:cubicBezTo>
                      <a:pt x="127" y="522"/>
                      <a:pt x="118" y="537"/>
                      <a:pt x="119" y="538"/>
                    </a:cubicBezTo>
                    <a:cubicBezTo>
                      <a:pt x="123" y="539"/>
                      <a:pt x="126" y="537"/>
                      <a:pt x="129" y="538"/>
                    </a:cubicBezTo>
                    <a:cubicBezTo>
                      <a:pt x="132" y="539"/>
                      <a:pt x="126" y="539"/>
                      <a:pt x="124" y="540"/>
                    </a:cubicBezTo>
                    <a:cubicBezTo>
                      <a:pt x="123" y="541"/>
                      <a:pt x="124" y="544"/>
                      <a:pt x="124" y="544"/>
                    </a:cubicBezTo>
                    <a:cubicBezTo>
                      <a:pt x="110" y="552"/>
                      <a:pt x="120" y="541"/>
                      <a:pt x="109" y="541"/>
                    </a:cubicBezTo>
                    <a:cubicBezTo>
                      <a:pt x="107" y="541"/>
                      <a:pt x="81" y="548"/>
                      <a:pt x="79" y="544"/>
                    </a:cubicBezTo>
                    <a:cubicBezTo>
                      <a:pt x="79" y="543"/>
                      <a:pt x="83" y="542"/>
                      <a:pt x="82" y="542"/>
                    </a:cubicBezTo>
                    <a:cubicBezTo>
                      <a:pt x="77" y="538"/>
                      <a:pt x="75" y="555"/>
                      <a:pt x="75" y="535"/>
                    </a:cubicBezTo>
                    <a:cubicBezTo>
                      <a:pt x="74" y="527"/>
                      <a:pt x="80" y="520"/>
                      <a:pt x="80" y="512"/>
                    </a:cubicBezTo>
                    <a:cubicBezTo>
                      <a:pt x="80" y="511"/>
                      <a:pt x="78" y="511"/>
                      <a:pt x="78" y="509"/>
                    </a:cubicBezTo>
                    <a:cubicBezTo>
                      <a:pt x="77" y="506"/>
                      <a:pt x="79" y="503"/>
                      <a:pt x="80" y="501"/>
                    </a:cubicBezTo>
                    <a:cubicBezTo>
                      <a:pt x="88" y="488"/>
                      <a:pt x="88" y="488"/>
                      <a:pt x="88" y="488"/>
                    </a:cubicBezTo>
                    <a:cubicBezTo>
                      <a:pt x="88" y="484"/>
                      <a:pt x="89" y="472"/>
                      <a:pt x="90" y="468"/>
                    </a:cubicBezTo>
                    <a:cubicBezTo>
                      <a:pt x="95" y="459"/>
                      <a:pt x="106" y="452"/>
                      <a:pt x="113" y="441"/>
                    </a:cubicBezTo>
                    <a:cubicBezTo>
                      <a:pt x="115" y="437"/>
                      <a:pt x="81" y="433"/>
                      <a:pt x="79" y="432"/>
                    </a:cubicBezTo>
                    <a:cubicBezTo>
                      <a:pt x="77" y="430"/>
                      <a:pt x="78" y="426"/>
                      <a:pt x="76" y="425"/>
                    </a:cubicBezTo>
                    <a:cubicBezTo>
                      <a:pt x="73" y="423"/>
                      <a:pt x="55" y="430"/>
                      <a:pt x="54" y="428"/>
                    </a:cubicBezTo>
                    <a:cubicBezTo>
                      <a:pt x="54" y="426"/>
                      <a:pt x="56" y="424"/>
                      <a:pt x="55" y="423"/>
                    </a:cubicBezTo>
                    <a:cubicBezTo>
                      <a:pt x="38" y="408"/>
                      <a:pt x="49" y="431"/>
                      <a:pt x="42" y="424"/>
                    </a:cubicBezTo>
                    <a:cubicBezTo>
                      <a:pt x="37" y="418"/>
                      <a:pt x="34" y="405"/>
                      <a:pt x="29" y="402"/>
                    </a:cubicBezTo>
                    <a:cubicBezTo>
                      <a:pt x="28" y="400"/>
                      <a:pt x="24" y="402"/>
                      <a:pt x="23" y="400"/>
                    </a:cubicBezTo>
                    <a:cubicBezTo>
                      <a:pt x="17" y="389"/>
                      <a:pt x="40" y="385"/>
                      <a:pt x="32" y="375"/>
                    </a:cubicBezTo>
                    <a:cubicBezTo>
                      <a:pt x="30" y="373"/>
                      <a:pt x="17" y="372"/>
                      <a:pt x="14" y="360"/>
                    </a:cubicBezTo>
                    <a:cubicBezTo>
                      <a:pt x="9" y="339"/>
                      <a:pt x="35" y="340"/>
                      <a:pt x="27" y="327"/>
                    </a:cubicBezTo>
                    <a:cubicBezTo>
                      <a:pt x="25" y="325"/>
                      <a:pt x="20" y="325"/>
                      <a:pt x="19" y="322"/>
                    </a:cubicBezTo>
                    <a:cubicBezTo>
                      <a:pt x="19" y="320"/>
                      <a:pt x="23" y="317"/>
                      <a:pt x="23" y="315"/>
                    </a:cubicBezTo>
                    <a:cubicBezTo>
                      <a:pt x="23" y="313"/>
                      <a:pt x="19" y="316"/>
                      <a:pt x="18" y="314"/>
                    </a:cubicBezTo>
                    <a:cubicBezTo>
                      <a:pt x="17" y="314"/>
                      <a:pt x="10" y="302"/>
                      <a:pt x="10" y="300"/>
                    </a:cubicBezTo>
                    <a:cubicBezTo>
                      <a:pt x="11" y="298"/>
                      <a:pt x="15" y="298"/>
                      <a:pt x="15" y="296"/>
                    </a:cubicBezTo>
                    <a:cubicBezTo>
                      <a:pt x="17" y="286"/>
                      <a:pt x="0" y="283"/>
                      <a:pt x="6" y="282"/>
                    </a:cubicBezTo>
                    <a:cubicBezTo>
                      <a:pt x="7" y="281"/>
                      <a:pt x="8" y="283"/>
                      <a:pt x="10" y="283"/>
                    </a:cubicBezTo>
                    <a:cubicBezTo>
                      <a:pt x="20" y="274"/>
                      <a:pt x="20" y="274"/>
                      <a:pt x="20" y="274"/>
                    </a:cubicBezTo>
                    <a:cubicBezTo>
                      <a:pt x="21" y="271"/>
                      <a:pt x="13" y="274"/>
                      <a:pt x="16" y="270"/>
                    </a:cubicBezTo>
                    <a:cubicBezTo>
                      <a:pt x="17" y="266"/>
                      <a:pt x="21" y="263"/>
                      <a:pt x="23" y="259"/>
                    </a:cubicBezTo>
                    <a:cubicBezTo>
                      <a:pt x="28" y="247"/>
                      <a:pt x="16" y="238"/>
                      <a:pt x="12" y="231"/>
                    </a:cubicBezTo>
                    <a:cubicBezTo>
                      <a:pt x="12" y="230"/>
                      <a:pt x="13" y="228"/>
                      <a:pt x="13" y="227"/>
                    </a:cubicBezTo>
                    <a:cubicBezTo>
                      <a:pt x="13" y="226"/>
                      <a:pt x="12" y="224"/>
                      <a:pt x="13" y="224"/>
                    </a:cubicBezTo>
                    <a:cubicBezTo>
                      <a:pt x="16" y="222"/>
                      <a:pt x="20" y="224"/>
                      <a:pt x="23" y="223"/>
                    </a:cubicBezTo>
                    <a:cubicBezTo>
                      <a:pt x="24" y="222"/>
                      <a:pt x="22" y="219"/>
                      <a:pt x="23" y="219"/>
                    </a:cubicBezTo>
                    <a:cubicBezTo>
                      <a:pt x="27" y="221"/>
                      <a:pt x="29" y="224"/>
                      <a:pt x="33" y="224"/>
                    </a:cubicBezTo>
                    <a:cubicBezTo>
                      <a:pt x="37" y="225"/>
                      <a:pt x="52" y="220"/>
                      <a:pt x="54" y="216"/>
                    </a:cubicBezTo>
                    <a:cubicBezTo>
                      <a:pt x="55" y="212"/>
                      <a:pt x="43" y="211"/>
                      <a:pt x="48" y="208"/>
                    </a:cubicBezTo>
                    <a:cubicBezTo>
                      <a:pt x="57" y="202"/>
                      <a:pt x="68" y="200"/>
                      <a:pt x="66" y="185"/>
                    </a:cubicBezTo>
                    <a:cubicBezTo>
                      <a:pt x="65" y="178"/>
                      <a:pt x="44" y="181"/>
                      <a:pt x="49" y="172"/>
                    </a:cubicBezTo>
                    <a:cubicBezTo>
                      <a:pt x="50" y="171"/>
                      <a:pt x="53" y="172"/>
                      <a:pt x="53" y="171"/>
                    </a:cubicBezTo>
                    <a:cubicBezTo>
                      <a:pt x="53" y="170"/>
                      <a:pt x="50" y="168"/>
                      <a:pt x="51" y="166"/>
                    </a:cubicBezTo>
                    <a:cubicBezTo>
                      <a:pt x="51" y="165"/>
                      <a:pt x="53" y="165"/>
                      <a:pt x="54" y="165"/>
                    </a:cubicBezTo>
                    <a:cubicBezTo>
                      <a:pt x="58" y="165"/>
                      <a:pt x="61" y="167"/>
                      <a:pt x="65" y="167"/>
                    </a:cubicBezTo>
                    <a:cubicBezTo>
                      <a:pt x="70" y="167"/>
                      <a:pt x="66" y="158"/>
                      <a:pt x="67" y="153"/>
                    </a:cubicBezTo>
                    <a:cubicBezTo>
                      <a:pt x="68" y="149"/>
                      <a:pt x="78" y="131"/>
                      <a:pt x="77" y="122"/>
                    </a:cubicBezTo>
                    <a:cubicBezTo>
                      <a:pt x="79" y="121"/>
                      <a:pt x="80" y="120"/>
                      <a:pt x="82" y="118"/>
                    </a:cubicBezTo>
                    <a:cubicBezTo>
                      <a:pt x="84" y="115"/>
                      <a:pt x="79" y="116"/>
                      <a:pt x="74" y="116"/>
                    </a:cubicBezTo>
                    <a:cubicBezTo>
                      <a:pt x="73" y="115"/>
                      <a:pt x="71" y="116"/>
                      <a:pt x="70" y="116"/>
                    </a:cubicBezTo>
                    <a:cubicBezTo>
                      <a:pt x="69" y="116"/>
                      <a:pt x="68" y="115"/>
                      <a:pt x="68" y="115"/>
                    </a:cubicBezTo>
                    <a:cubicBezTo>
                      <a:pt x="63" y="109"/>
                      <a:pt x="76" y="92"/>
                      <a:pt x="80" y="89"/>
                    </a:cubicBezTo>
                    <a:cubicBezTo>
                      <a:pt x="83" y="88"/>
                      <a:pt x="86" y="91"/>
                      <a:pt x="89" y="91"/>
                    </a:cubicBezTo>
                    <a:cubicBezTo>
                      <a:pt x="132" y="89"/>
                      <a:pt x="45" y="86"/>
                      <a:pt x="110" y="88"/>
                    </a:cubicBezTo>
                    <a:cubicBezTo>
                      <a:pt x="110" y="88"/>
                      <a:pt x="112" y="88"/>
                      <a:pt x="113" y="89"/>
                    </a:cubicBezTo>
                    <a:cubicBezTo>
                      <a:pt x="116" y="95"/>
                      <a:pt x="118" y="121"/>
                      <a:pt x="132" y="115"/>
                    </a:cubicBezTo>
                    <a:cubicBezTo>
                      <a:pt x="137" y="114"/>
                      <a:pt x="128" y="75"/>
                      <a:pt x="141" y="75"/>
                    </a:cubicBezTo>
                    <a:cubicBezTo>
                      <a:pt x="142" y="75"/>
                      <a:pt x="142" y="78"/>
                      <a:pt x="144" y="79"/>
                    </a:cubicBezTo>
                    <a:cubicBezTo>
                      <a:pt x="145" y="80"/>
                      <a:pt x="148" y="80"/>
                      <a:pt x="150" y="80"/>
                    </a:cubicBezTo>
                    <a:cubicBezTo>
                      <a:pt x="156" y="81"/>
                      <a:pt x="162" y="75"/>
                      <a:pt x="167" y="77"/>
                    </a:cubicBezTo>
                    <a:cubicBezTo>
                      <a:pt x="171" y="79"/>
                      <a:pt x="171" y="85"/>
                      <a:pt x="174" y="88"/>
                    </a:cubicBezTo>
                    <a:cubicBezTo>
                      <a:pt x="176" y="93"/>
                      <a:pt x="192" y="122"/>
                      <a:pt x="192" y="102"/>
                    </a:cubicBezTo>
                    <a:cubicBezTo>
                      <a:pt x="192" y="98"/>
                      <a:pt x="183" y="99"/>
                      <a:pt x="180" y="96"/>
                    </a:cubicBezTo>
                    <a:cubicBezTo>
                      <a:pt x="174" y="91"/>
                      <a:pt x="175" y="78"/>
                      <a:pt x="165" y="76"/>
                    </a:cubicBezTo>
                    <a:cubicBezTo>
                      <a:pt x="163" y="76"/>
                      <a:pt x="150" y="79"/>
                      <a:pt x="151" y="71"/>
                    </a:cubicBezTo>
                    <a:cubicBezTo>
                      <a:pt x="152" y="66"/>
                      <a:pt x="159" y="50"/>
                      <a:pt x="154" y="44"/>
                    </a:cubicBezTo>
                    <a:cubicBezTo>
                      <a:pt x="153" y="42"/>
                      <a:pt x="140" y="49"/>
                      <a:pt x="139" y="42"/>
                    </a:cubicBezTo>
                    <a:cubicBezTo>
                      <a:pt x="138" y="41"/>
                      <a:pt x="142" y="42"/>
                      <a:pt x="142" y="41"/>
                    </a:cubicBezTo>
                    <a:cubicBezTo>
                      <a:pt x="144" y="40"/>
                      <a:pt x="139" y="38"/>
                      <a:pt x="140" y="38"/>
                    </a:cubicBezTo>
                    <a:cubicBezTo>
                      <a:pt x="145" y="36"/>
                      <a:pt x="155" y="42"/>
                      <a:pt x="157" y="30"/>
                    </a:cubicBezTo>
                    <a:cubicBezTo>
                      <a:pt x="157" y="29"/>
                      <a:pt x="144" y="15"/>
                      <a:pt x="142" y="13"/>
                    </a:cubicBezTo>
                    <a:cubicBezTo>
                      <a:pt x="141" y="9"/>
                      <a:pt x="140" y="4"/>
                      <a:pt x="140" y="0"/>
                    </a:cubicBezTo>
                    <a:cubicBezTo>
                      <a:pt x="144" y="1"/>
                      <a:pt x="151" y="0"/>
                      <a:pt x="153" y="0"/>
                    </a:cubicBezTo>
                    <a:cubicBezTo>
                      <a:pt x="160" y="2"/>
                      <a:pt x="167" y="6"/>
                      <a:pt x="175" y="7"/>
                    </a:cubicBezTo>
                    <a:cubicBezTo>
                      <a:pt x="174" y="8"/>
                      <a:pt x="174" y="9"/>
                      <a:pt x="175" y="8"/>
                    </a:cubicBezTo>
                    <a:cubicBezTo>
                      <a:pt x="178" y="7"/>
                      <a:pt x="179" y="4"/>
                      <a:pt x="181" y="3"/>
                    </a:cubicBezTo>
                    <a:cubicBezTo>
                      <a:pt x="182" y="3"/>
                      <a:pt x="180" y="6"/>
                      <a:pt x="181" y="7"/>
                    </a:cubicBezTo>
                    <a:cubicBezTo>
                      <a:pt x="183" y="8"/>
                      <a:pt x="185" y="8"/>
                      <a:pt x="187" y="8"/>
                    </a:cubicBezTo>
                    <a:cubicBezTo>
                      <a:pt x="191" y="9"/>
                      <a:pt x="195" y="9"/>
                      <a:pt x="197" y="11"/>
                    </a:cubicBezTo>
                    <a:cubicBezTo>
                      <a:pt x="199" y="12"/>
                      <a:pt x="200" y="14"/>
                      <a:pt x="200" y="16"/>
                    </a:cubicBezTo>
                    <a:cubicBezTo>
                      <a:pt x="200" y="16"/>
                      <a:pt x="199" y="16"/>
                      <a:pt x="199" y="16"/>
                    </a:cubicBezTo>
                    <a:cubicBezTo>
                      <a:pt x="197" y="16"/>
                      <a:pt x="195" y="17"/>
                      <a:pt x="196" y="18"/>
                    </a:cubicBezTo>
                    <a:cubicBezTo>
                      <a:pt x="197" y="19"/>
                      <a:pt x="200" y="17"/>
                      <a:pt x="200" y="18"/>
                    </a:cubicBezTo>
                    <a:cubicBezTo>
                      <a:pt x="202" y="21"/>
                      <a:pt x="201" y="24"/>
                      <a:pt x="200" y="27"/>
                    </a:cubicBezTo>
                    <a:cubicBezTo>
                      <a:pt x="199" y="30"/>
                      <a:pt x="191" y="32"/>
                      <a:pt x="193" y="34"/>
                    </a:cubicBezTo>
                    <a:cubicBezTo>
                      <a:pt x="196" y="38"/>
                      <a:pt x="207" y="28"/>
                      <a:pt x="208" y="33"/>
                    </a:cubicBezTo>
                    <a:cubicBezTo>
                      <a:pt x="208" y="37"/>
                      <a:pt x="202" y="43"/>
                      <a:pt x="205" y="44"/>
                    </a:cubicBezTo>
                    <a:cubicBezTo>
                      <a:pt x="209" y="46"/>
                      <a:pt x="209" y="36"/>
                      <a:pt x="213" y="36"/>
                    </a:cubicBezTo>
                    <a:cubicBezTo>
                      <a:pt x="217" y="35"/>
                      <a:pt x="230" y="46"/>
                      <a:pt x="232" y="45"/>
                    </a:cubicBezTo>
                    <a:cubicBezTo>
                      <a:pt x="233" y="45"/>
                      <a:pt x="244" y="32"/>
                      <a:pt x="248" y="39"/>
                    </a:cubicBezTo>
                    <a:cubicBezTo>
                      <a:pt x="256" y="54"/>
                      <a:pt x="217" y="69"/>
                      <a:pt x="238" y="71"/>
                    </a:cubicBezTo>
                    <a:cubicBezTo>
                      <a:pt x="243" y="72"/>
                      <a:pt x="246" y="66"/>
                      <a:pt x="251" y="66"/>
                    </a:cubicBezTo>
                    <a:cubicBezTo>
                      <a:pt x="256" y="67"/>
                      <a:pt x="250" y="83"/>
                      <a:pt x="262" y="75"/>
                    </a:cubicBezTo>
                    <a:cubicBezTo>
                      <a:pt x="265" y="73"/>
                      <a:pt x="267" y="59"/>
                      <a:pt x="272" y="56"/>
                    </a:cubicBezTo>
                    <a:cubicBezTo>
                      <a:pt x="279" y="52"/>
                      <a:pt x="287" y="50"/>
                      <a:pt x="291" y="58"/>
                    </a:cubicBezTo>
                    <a:cubicBezTo>
                      <a:pt x="290" y="56"/>
                      <a:pt x="290" y="54"/>
                      <a:pt x="290" y="53"/>
                    </a:cubicBezTo>
                    <a:cubicBezTo>
                      <a:pt x="294" y="49"/>
                      <a:pt x="298" y="47"/>
                      <a:pt x="301" y="44"/>
                    </a:cubicBezTo>
                    <a:cubicBezTo>
                      <a:pt x="304" y="40"/>
                      <a:pt x="305" y="34"/>
                      <a:pt x="308" y="30"/>
                    </a:cubicBezTo>
                    <a:cubicBezTo>
                      <a:pt x="309" y="29"/>
                      <a:pt x="317" y="32"/>
                      <a:pt x="324" y="34"/>
                    </a:cubicBezTo>
                    <a:cubicBezTo>
                      <a:pt x="326" y="33"/>
                      <a:pt x="329" y="33"/>
                      <a:pt x="330" y="33"/>
                    </a:cubicBezTo>
                    <a:cubicBezTo>
                      <a:pt x="334" y="33"/>
                      <a:pt x="332" y="41"/>
                      <a:pt x="334" y="44"/>
                    </a:cubicBezTo>
                    <a:cubicBezTo>
                      <a:pt x="336" y="46"/>
                      <a:pt x="340" y="45"/>
                      <a:pt x="342" y="47"/>
                    </a:cubicBezTo>
                    <a:cubicBezTo>
                      <a:pt x="345" y="50"/>
                      <a:pt x="347" y="58"/>
                      <a:pt x="352" y="58"/>
                    </a:cubicBezTo>
                    <a:cubicBezTo>
                      <a:pt x="356" y="58"/>
                      <a:pt x="360" y="55"/>
                      <a:pt x="365" y="56"/>
                    </a:cubicBezTo>
                    <a:cubicBezTo>
                      <a:pt x="367" y="56"/>
                      <a:pt x="363" y="59"/>
                      <a:pt x="363" y="61"/>
                    </a:cubicBezTo>
                    <a:cubicBezTo>
                      <a:pt x="363" y="66"/>
                      <a:pt x="365" y="70"/>
                      <a:pt x="367" y="75"/>
                    </a:cubicBezTo>
                    <a:cubicBezTo>
                      <a:pt x="368" y="79"/>
                      <a:pt x="374" y="81"/>
                      <a:pt x="378" y="82"/>
                    </a:cubicBezTo>
                    <a:cubicBezTo>
                      <a:pt x="382" y="84"/>
                      <a:pt x="384" y="84"/>
                      <a:pt x="386" y="84"/>
                    </a:cubicBezTo>
                    <a:close/>
                    <a:moveTo>
                      <a:pt x="334" y="40"/>
                    </a:moveTo>
                    <a:cubicBezTo>
                      <a:pt x="335" y="35"/>
                      <a:pt x="333" y="29"/>
                      <a:pt x="335" y="24"/>
                    </a:cubicBezTo>
                    <a:cubicBezTo>
                      <a:pt x="337" y="19"/>
                      <a:pt x="354" y="33"/>
                      <a:pt x="350" y="28"/>
                    </a:cubicBezTo>
                    <a:cubicBezTo>
                      <a:pt x="348" y="25"/>
                      <a:pt x="341" y="26"/>
                      <a:pt x="339" y="23"/>
                    </a:cubicBezTo>
                    <a:cubicBezTo>
                      <a:pt x="338" y="19"/>
                      <a:pt x="343" y="16"/>
                      <a:pt x="346" y="13"/>
                    </a:cubicBezTo>
                    <a:cubicBezTo>
                      <a:pt x="348" y="12"/>
                      <a:pt x="344" y="20"/>
                      <a:pt x="346" y="21"/>
                    </a:cubicBezTo>
                    <a:cubicBezTo>
                      <a:pt x="350" y="22"/>
                      <a:pt x="354" y="20"/>
                      <a:pt x="357" y="21"/>
                    </a:cubicBezTo>
                    <a:cubicBezTo>
                      <a:pt x="361" y="23"/>
                      <a:pt x="353" y="27"/>
                      <a:pt x="354" y="30"/>
                    </a:cubicBezTo>
                    <a:cubicBezTo>
                      <a:pt x="355" y="34"/>
                      <a:pt x="360" y="35"/>
                      <a:pt x="362" y="39"/>
                    </a:cubicBezTo>
                    <a:cubicBezTo>
                      <a:pt x="363" y="40"/>
                      <a:pt x="356" y="46"/>
                      <a:pt x="347" y="48"/>
                    </a:cubicBezTo>
                    <a:cubicBezTo>
                      <a:pt x="342" y="50"/>
                      <a:pt x="338" y="43"/>
                      <a:pt x="334" y="40"/>
                    </a:cubicBezTo>
                    <a:close/>
                  </a:path>
                </a:pathLst>
              </a:custGeom>
              <a:solidFill>
                <a:srgbClr val="405F9E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109" name="Ukraine" descr="{&quot;Key&quot;:&quot;ukraine&quot;,&quot;Name&quot;:&quot;Ukraine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13AE3B14-0B24-D0FE-D39A-16ADDC2138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2037" y="4053976"/>
                <a:ext cx="1418770" cy="1054490"/>
              </a:xfrm>
              <a:custGeom>
                <a:avLst/>
                <a:gdLst>
                  <a:gd name="T0" fmla="*/ 788 w 849"/>
                  <a:gd name="T1" fmla="*/ 258 h 586"/>
                  <a:gd name="T2" fmla="*/ 845 w 849"/>
                  <a:gd name="T3" fmla="*/ 202 h 586"/>
                  <a:gd name="T4" fmla="*/ 845 w 849"/>
                  <a:gd name="T5" fmla="*/ 179 h 586"/>
                  <a:gd name="T6" fmla="*/ 828 w 849"/>
                  <a:gd name="T7" fmla="*/ 143 h 586"/>
                  <a:gd name="T8" fmla="*/ 820 w 849"/>
                  <a:gd name="T9" fmla="*/ 100 h 586"/>
                  <a:gd name="T10" fmla="*/ 769 w 849"/>
                  <a:gd name="T11" fmla="*/ 88 h 586"/>
                  <a:gd name="T12" fmla="*/ 730 w 849"/>
                  <a:gd name="T13" fmla="*/ 91 h 586"/>
                  <a:gd name="T14" fmla="*/ 671 w 849"/>
                  <a:gd name="T15" fmla="*/ 76 h 586"/>
                  <a:gd name="T16" fmla="*/ 590 w 849"/>
                  <a:gd name="T17" fmla="*/ 112 h 586"/>
                  <a:gd name="T18" fmla="*/ 564 w 849"/>
                  <a:gd name="T19" fmla="*/ 70 h 586"/>
                  <a:gd name="T20" fmla="*/ 530 w 849"/>
                  <a:gd name="T21" fmla="*/ 71 h 586"/>
                  <a:gd name="T22" fmla="*/ 510 w 849"/>
                  <a:gd name="T23" fmla="*/ 64 h 586"/>
                  <a:gd name="T24" fmla="*/ 487 w 849"/>
                  <a:gd name="T25" fmla="*/ 25 h 586"/>
                  <a:gd name="T26" fmla="*/ 454 w 849"/>
                  <a:gd name="T27" fmla="*/ 10 h 586"/>
                  <a:gd name="T28" fmla="*/ 390 w 849"/>
                  <a:gd name="T29" fmla="*/ 52 h 586"/>
                  <a:gd name="T30" fmla="*/ 349 w 849"/>
                  <a:gd name="T31" fmla="*/ 61 h 586"/>
                  <a:gd name="T32" fmla="*/ 313 w 849"/>
                  <a:gd name="T33" fmla="*/ 123 h 586"/>
                  <a:gd name="T34" fmla="*/ 264 w 849"/>
                  <a:gd name="T35" fmla="*/ 138 h 586"/>
                  <a:gd name="T36" fmla="*/ 221 w 849"/>
                  <a:gd name="T37" fmla="*/ 134 h 586"/>
                  <a:gd name="T38" fmla="*/ 195 w 849"/>
                  <a:gd name="T39" fmla="*/ 137 h 586"/>
                  <a:gd name="T40" fmla="*/ 112 w 849"/>
                  <a:gd name="T41" fmla="*/ 138 h 586"/>
                  <a:gd name="T42" fmla="*/ 46 w 849"/>
                  <a:gd name="T43" fmla="*/ 177 h 586"/>
                  <a:gd name="T44" fmla="*/ 30 w 849"/>
                  <a:gd name="T45" fmla="*/ 184 h 586"/>
                  <a:gd name="T46" fmla="*/ 69 w 849"/>
                  <a:gd name="T47" fmla="*/ 251 h 586"/>
                  <a:gd name="T48" fmla="*/ 31 w 849"/>
                  <a:gd name="T49" fmla="*/ 376 h 586"/>
                  <a:gd name="T50" fmla="*/ 8 w 849"/>
                  <a:gd name="T51" fmla="*/ 404 h 586"/>
                  <a:gd name="T52" fmla="*/ 29 w 849"/>
                  <a:gd name="T53" fmla="*/ 444 h 586"/>
                  <a:gd name="T54" fmla="*/ 56 w 849"/>
                  <a:gd name="T55" fmla="*/ 438 h 586"/>
                  <a:gd name="T56" fmla="*/ 146 w 849"/>
                  <a:gd name="T57" fmla="*/ 450 h 586"/>
                  <a:gd name="T58" fmla="*/ 220 w 849"/>
                  <a:gd name="T59" fmla="*/ 392 h 586"/>
                  <a:gd name="T60" fmla="*/ 227 w 849"/>
                  <a:gd name="T61" fmla="*/ 381 h 586"/>
                  <a:gd name="T62" fmla="*/ 305 w 849"/>
                  <a:gd name="T63" fmla="*/ 372 h 586"/>
                  <a:gd name="T64" fmla="*/ 341 w 849"/>
                  <a:gd name="T65" fmla="*/ 387 h 586"/>
                  <a:gd name="T66" fmla="*/ 384 w 849"/>
                  <a:gd name="T67" fmla="*/ 439 h 586"/>
                  <a:gd name="T68" fmla="*/ 426 w 849"/>
                  <a:gd name="T69" fmla="*/ 480 h 586"/>
                  <a:gd name="T70" fmla="*/ 391 w 849"/>
                  <a:gd name="T71" fmla="*/ 485 h 586"/>
                  <a:gd name="T72" fmla="*/ 381 w 849"/>
                  <a:gd name="T73" fmla="*/ 492 h 586"/>
                  <a:gd name="T74" fmla="*/ 375 w 849"/>
                  <a:gd name="T75" fmla="*/ 526 h 586"/>
                  <a:gd name="T76" fmla="*/ 352 w 849"/>
                  <a:gd name="T77" fmla="*/ 569 h 586"/>
                  <a:gd name="T78" fmla="*/ 355 w 849"/>
                  <a:gd name="T79" fmla="*/ 583 h 586"/>
                  <a:gd name="T80" fmla="*/ 425 w 849"/>
                  <a:gd name="T81" fmla="*/ 573 h 586"/>
                  <a:gd name="T82" fmla="*/ 414 w 849"/>
                  <a:gd name="T83" fmla="*/ 537 h 586"/>
                  <a:gd name="T84" fmla="*/ 428 w 849"/>
                  <a:gd name="T85" fmla="*/ 523 h 586"/>
                  <a:gd name="T86" fmla="*/ 457 w 849"/>
                  <a:gd name="T87" fmla="*/ 473 h 586"/>
                  <a:gd name="T88" fmla="*/ 494 w 849"/>
                  <a:gd name="T89" fmla="*/ 441 h 586"/>
                  <a:gd name="T90" fmla="*/ 544 w 849"/>
                  <a:gd name="T91" fmla="*/ 426 h 586"/>
                  <a:gd name="T92" fmla="*/ 501 w 849"/>
                  <a:gd name="T93" fmla="*/ 456 h 586"/>
                  <a:gd name="T94" fmla="*/ 534 w 849"/>
                  <a:gd name="T95" fmla="*/ 463 h 586"/>
                  <a:gd name="T96" fmla="*/ 573 w 849"/>
                  <a:gd name="T97" fmla="*/ 453 h 586"/>
                  <a:gd name="T98" fmla="*/ 606 w 849"/>
                  <a:gd name="T99" fmla="*/ 460 h 586"/>
                  <a:gd name="T100" fmla="*/ 577 w 849"/>
                  <a:gd name="T101" fmla="*/ 492 h 586"/>
                  <a:gd name="T102" fmla="*/ 606 w 849"/>
                  <a:gd name="T103" fmla="*/ 522 h 586"/>
                  <a:gd name="T104" fmla="*/ 637 w 849"/>
                  <a:gd name="T105" fmla="*/ 564 h 586"/>
                  <a:gd name="T106" fmla="*/ 710 w 849"/>
                  <a:gd name="T107" fmla="*/ 501 h 586"/>
                  <a:gd name="T108" fmla="*/ 738 w 849"/>
                  <a:gd name="T109" fmla="*/ 488 h 586"/>
                  <a:gd name="T110" fmla="*/ 740 w 849"/>
                  <a:gd name="T111" fmla="*/ 448 h 586"/>
                  <a:gd name="T112" fmla="*/ 714 w 849"/>
                  <a:gd name="T113" fmla="*/ 473 h 586"/>
                  <a:gd name="T114" fmla="*/ 691 w 849"/>
                  <a:gd name="T115" fmla="*/ 386 h 586"/>
                  <a:gd name="T116" fmla="*/ 741 w 849"/>
                  <a:gd name="T117" fmla="*/ 354 h 586"/>
                  <a:gd name="T118" fmla="*/ 791 w 849"/>
                  <a:gd name="T119" fmla="*/ 298 h 5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49" h="586">
                    <a:moveTo>
                      <a:pt x="797" y="293"/>
                    </a:moveTo>
                    <a:cubicBezTo>
                      <a:pt x="797" y="293"/>
                      <a:pt x="797" y="293"/>
                      <a:pt x="797" y="293"/>
                    </a:cubicBezTo>
                    <a:cubicBezTo>
                      <a:pt x="792" y="288"/>
                      <a:pt x="795" y="286"/>
                      <a:pt x="796" y="281"/>
                    </a:cubicBezTo>
                    <a:cubicBezTo>
                      <a:pt x="798" y="275"/>
                      <a:pt x="790" y="283"/>
                      <a:pt x="790" y="279"/>
                    </a:cubicBezTo>
                    <a:cubicBezTo>
                      <a:pt x="790" y="275"/>
                      <a:pt x="787" y="262"/>
                      <a:pt x="788" y="258"/>
                    </a:cubicBezTo>
                    <a:cubicBezTo>
                      <a:pt x="789" y="258"/>
                      <a:pt x="805" y="243"/>
                      <a:pt x="805" y="243"/>
                    </a:cubicBezTo>
                    <a:cubicBezTo>
                      <a:pt x="807" y="241"/>
                      <a:pt x="804" y="238"/>
                      <a:pt x="804" y="236"/>
                    </a:cubicBezTo>
                    <a:cubicBezTo>
                      <a:pt x="803" y="233"/>
                      <a:pt x="803" y="231"/>
                      <a:pt x="804" y="228"/>
                    </a:cubicBezTo>
                    <a:cubicBezTo>
                      <a:pt x="813" y="218"/>
                      <a:pt x="839" y="223"/>
                      <a:pt x="847" y="211"/>
                    </a:cubicBezTo>
                    <a:cubicBezTo>
                      <a:pt x="849" y="208"/>
                      <a:pt x="846" y="205"/>
                      <a:pt x="845" y="202"/>
                    </a:cubicBezTo>
                    <a:cubicBezTo>
                      <a:pt x="844" y="201"/>
                      <a:pt x="842" y="201"/>
                      <a:pt x="842" y="199"/>
                    </a:cubicBezTo>
                    <a:cubicBezTo>
                      <a:pt x="842" y="198"/>
                      <a:pt x="846" y="198"/>
                      <a:pt x="846" y="197"/>
                    </a:cubicBezTo>
                    <a:cubicBezTo>
                      <a:pt x="846" y="195"/>
                      <a:pt x="843" y="194"/>
                      <a:pt x="843" y="192"/>
                    </a:cubicBezTo>
                    <a:cubicBezTo>
                      <a:pt x="842" y="189"/>
                      <a:pt x="843" y="186"/>
                      <a:pt x="843" y="182"/>
                    </a:cubicBezTo>
                    <a:cubicBezTo>
                      <a:pt x="843" y="181"/>
                      <a:pt x="845" y="180"/>
                      <a:pt x="845" y="179"/>
                    </a:cubicBezTo>
                    <a:cubicBezTo>
                      <a:pt x="847" y="172"/>
                      <a:pt x="837" y="178"/>
                      <a:pt x="837" y="178"/>
                    </a:cubicBezTo>
                    <a:cubicBezTo>
                      <a:pt x="835" y="177"/>
                      <a:pt x="839" y="174"/>
                      <a:pt x="838" y="172"/>
                    </a:cubicBezTo>
                    <a:cubicBezTo>
                      <a:pt x="836" y="168"/>
                      <a:pt x="833" y="164"/>
                      <a:pt x="830" y="161"/>
                    </a:cubicBezTo>
                    <a:cubicBezTo>
                      <a:pt x="826" y="157"/>
                      <a:pt x="820" y="167"/>
                      <a:pt x="819" y="160"/>
                    </a:cubicBezTo>
                    <a:cubicBezTo>
                      <a:pt x="816" y="142"/>
                      <a:pt x="818" y="147"/>
                      <a:pt x="828" y="143"/>
                    </a:cubicBezTo>
                    <a:cubicBezTo>
                      <a:pt x="829" y="142"/>
                      <a:pt x="833" y="133"/>
                      <a:pt x="830" y="134"/>
                    </a:cubicBezTo>
                    <a:cubicBezTo>
                      <a:pt x="822" y="135"/>
                      <a:pt x="818" y="141"/>
                      <a:pt x="811" y="135"/>
                    </a:cubicBezTo>
                    <a:cubicBezTo>
                      <a:pt x="804" y="129"/>
                      <a:pt x="817" y="128"/>
                      <a:pt x="818" y="125"/>
                    </a:cubicBezTo>
                    <a:cubicBezTo>
                      <a:pt x="820" y="123"/>
                      <a:pt x="818" y="120"/>
                      <a:pt x="818" y="118"/>
                    </a:cubicBezTo>
                    <a:cubicBezTo>
                      <a:pt x="820" y="111"/>
                      <a:pt x="827" y="107"/>
                      <a:pt x="820" y="100"/>
                    </a:cubicBezTo>
                    <a:cubicBezTo>
                      <a:pt x="818" y="97"/>
                      <a:pt x="814" y="96"/>
                      <a:pt x="812" y="94"/>
                    </a:cubicBezTo>
                    <a:cubicBezTo>
                      <a:pt x="809" y="91"/>
                      <a:pt x="816" y="83"/>
                      <a:pt x="811" y="83"/>
                    </a:cubicBezTo>
                    <a:cubicBezTo>
                      <a:pt x="800" y="82"/>
                      <a:pt x="807" y="91"/>
                      <a:pt x="799" y="93"/>
                    </a:cubicBezTo>
                    <a:cubicBezTo>
                      <a:pt x="770" y="98"/>
                      <a:pt x="806" y="89"/>
                      <a:pt x="783" y="85"/>
                    </a:cubicBezTo>
                    <a:cubicBezTo>
                      <a:pt x="775" y="84"/>
                      <a:pt x="775" y="92"/>
                      <a:pt x="769" y="88"/>
                    </a:cubicBezTo>
                    <a:cubicBezTo>
                      <a:pt x="766" y="87"/>
                      <a:pt x="765" y="85"/>
                      <a:pt x="763" y="83"/>
                    </a:cubicBezTo>
                    <a:cubicBezTo>
                      <a:pt x="758" y="79"/>
                      <a:pt x="760" y="92"/>
                      <a:pt x="754" y="92"/>
                    </a:cubicBezTo>
                    <a:cubicBezTo>
                      <a:pt x="750" y="92"/>
                      <a:pt x="746" y="91"/>
                      <a:pt x="742" y="90"/>
                    </a:cubicBezTo>
                    <a:cubicBezTo>
                      <a:pt x="740" y="88"/>
                      <a:pt x="739" y="85"/>
                      <a:pt x="737" y="85"/>
                    </a:cubicBezTo>
                    <a:cubicBezTo>
                      <a:pt x="734" y="85"/>
                      <a:pt x="733" y="91"/>
                      <a:pt x="730" y="91"/>
                    </a:cubicBezTo>
                    <a:cubicBezTo>
                      <a:pt x="726" y="91"/>
                      <a:pt x="723" y="87"/>
                      <a:pt x="718" y="86"/>
                    </a:cubicBezTo>
                    <a:cubicBezTo>
                      <a:pt x="704" y="84"/>
                      <a:pt x="726" y="106"/>
                      <a:pt x="710" y="103"/>
                    </a:cubicBezTo>
                    <a:cubicBezTo>
                      <a:pt x="706" y="103"/>
                      <a:pt x="705" y="98"/>
                      <a:pt x="702" y="96"/>
                    </a:cubicBezTo>
                    <a:cubicBezTo>
                      <a:pt x="700" y="95"/>
                      <a:pt x="696" y="96"/>
                      <a:pt x="693" y="95"/>
                    </a:cubicBezTo>
                    <a:cubicBezTo>
                      <a:pt x="685" y="92"/>
                      <a:pt x="679" y="82"/>
                      <a:pt x="671" y="76"/>
                    </a:cubicBezTo>
                    <a:cubicBezTo>
                      <a:pt x="669" y="74"/>
                      <a:pt x="648" y="96"/>
                      <a:pt x="641" y="106"/>
                    </a:cubicBezTo>
                    <a:cubicBezTo>
                      <a:pt x="639" y="109"/>
                      <a:pt x="633" y="103"/>
                      <a:pt x="629" y="103"/>
                    </a:cubicBezTo>
                    <a:cubicBezTo>
                      <a:pt x="627" y="103"/>
                      <a:pt x="627" y="106"/>
                      <a:pt x="625" y="107"/>
                    </a:cubicBezTo>
                    <a:cubicBezTo>
                      <a:pt x="622" y="109"/>
                      <a:pt x="620" y="102"/>
                      <a:pt x="616" y="101"/>
                    </a:cubicBezTo>
                    <a:cubicBezTo>
                      <a:pt x="603" y="98"/>
                      <a:pt x="600" y="117"/>
                      <a:pt x="590" y="112"/>
                    </a:cubicBezTo>
                    <a:cubicBezTo>
                      <a:pt x="586" y="111"/>
                      <a:pt x="583" y="108"/>
                      <a:pt x="580" y="105"/>
                    </a:cubicBezTo>
                    <a:cubicBezTo>
                      <a:pt x="578" y="103"/>
                      <a:pt x="576" y="100"/>
                      <a:pt x="575" y="97"/>
                    </a:cubicBezTo>
                    <a:cubicBezTo>
                      <a:pt x="575" y="95"/>
                      <a:pt x="579" y="95"/>
                      <a:pt x="578" y="93"/>
                    </a:cubicBezTo>
                    <a:cubicBezTo>
                      <a:pt x="578" y="91"/>
                      <a:pt x="563" y="78"/>
                      <a:pt x="563" y="76"/>
                    </a:cubicBezTo>
                    <a:cubicBezTo>
                      <a:pt x="562" y="74"/>
                      <a:pt x="566" y="72"/>
                      <a:pt x="564" y="70"/>
                    </a:cubicBezTo>
                    <a:cubicBezTo>
                      <a:pt x="564" y="70"/>
                      <a:pt x="563" y="70"/>
                      <a:pt x="562" y="70"/>
                    </a:cubicBezTo>
                    <a:cubicBezTo>
                      <a:pt x="560" y="70"/>
                      <a:pt x="558" y="72"/>
                      <a:pt x="556" y="72"/>
                    </a:cubicBezTo>
                    <a:cubicBezTo>
                      <a:pt x="552" y="73"/>
                      <a:pt x="551" y="66"/>
                      <a:pt x="549" y="63"/>
                    </a:cubicBezTo>
                    <a:cubicBezTo>
                      <a:pt x="549" y="62"/>
                      <a:pt x="547" y="62"/>
                      <a:pt x="546" y="62"/>
                    </a:cubicBezTo>
                    <a:cubicBezTo>
                      <a:pt x="544" y="64"/>
                      <a:pt x="532" y="71"/>
                      <a:pt x="530" y="71"/>
                    </a:cubicBezTo>
                    <a:cubicBezTo>
                      <a:pt x="529" y="72"/>
                      <a:pt x="529" y="68"/>
                      <a:pt x="527" y="68"/>
                    </a:cubicBezTo>
                    <a:cubicBezTo>
                      <a:pt x="523" y="68"/>
                      <a:pt x="519" y="69"/>
                      <a:pt x="516" y="70"/>
                    </a:cubicBezTo>
                    <a:cubicBezTo>
                      <a:pt x="515" y="70"/>
                      <a:pt x="511" y="78"/>
                      <a:pt x="508" y="73"/>
                    </a:cubicBezTo>
                    <a:cubicBezTo>
                      <a:pt x="508" y="72"/>
                      <a:pt x="510" y="70"/>
                      <a:pt x="510" y="69"/>
                    </a:cubicBezTo>
                    <a:cubicBezTo>
                      <a:pt x="511" y="68"/>
                      <a:pt x="511" y="65"/>
                      <a:pt x="510" y="64"/>
                    </a:cubicBezTo>
                    <a:cubicBezTo>
                      <a:pt x="508" y="62"/>
                      <a:pt x="506" y="64"/>
                      <a:pt x="504" y="62"/>
                    </a:cubicBezTo>
                    <a:cubicBezTo>
                      <a:pt x="501" y="60"/>
                      <a:pt x="504" y="55"/>
                      <a:pt x="502" y="52"/>
                    </a:cubicBezTo>
                    <a:cubicBezTo>
                      <a:pt x="500" y="49"/>
                      <a:pt x="492" y="48"/>
                      <a:pt x="494" y="44"/>
                    </a:cubicBezTo>
                    <a:cubicBezTo>
                      <a:pt x="496" y="42"/>
                      <a:pt x="509" y="39"/>
                      <a:pt x="506" y="34"/>
                    </a:cubicBezTo>
                    <a:cubicBezTo>
                      <a:pt x="501" y="27"/>
                      <a:pt x="490" y="27"/>
                      <a:pt x="487" y="25"/>
                    </a:cubicBezTo>
                    <a:cubicBezTo>
                      <a:pt x="485" y="23"/>
                      <a:pt x="483" y="21"/>
                      <a:pt x="482" y="18"/>
                    </a:cubicBezTo>
                    <a:cubicBezTo>
                      <a:pt x="481" y="16"/>
                      <a:pt x="483" y="13"/>
                      <a:pt x="482" y="12"/>
                    </a:cubicBezTo>
                    <a:cubicBezTo>
                      <a:pt x="480" y="10"/>
                      <a:pt x="476" y="10"/>
                      <a:pt x="474" y="8"/>
                    </a:cubicBezTo>
                    <a:cubicBezTo>
                      <a:pt x="470" y="6"/>
                      <a:pt x="469" y="1"/>
                      <a:pt x="465" y="1"/>
                    </a:cubicBezTo>
                    <a:cubicBezTo>
                      <a:pt x="460" y="0"/>
                      <a:pt x="459" y="10"/>
                      <a:pt x="454" y="10"/>
                    </a:cubicBezTo>
                    <a:cubicBezTo>
                      <a:pt x="452" y="10"/>
                      <a:pt x="452" y="6"/>
                      <a:pt x="451" y="6"/>
                    </a:cubicBezTo>
                    <a:cubicBezTo>
                      <a:pt x="429" y="4"/>
                      <a:pt x="442" y="17"/>
                      <a:pt x="429" y="22"/>
                    </a:cubicBezTo>
                    <a:cubicBezTo>
                      <a:pt x="429" y="22"/>
                      <a:pt x="405" y="24"/>
                      <a:pt x="404" y="24"/>
                    </a:cubicBezTo>
                    <a:cubicBezTo>
                      <a:pt x="403" y="24"/>
                      <a:pt x="407" y="41"/>
                      <a:pt x="402" y="46"/>
                    </a:cubicBezTo>
                    <a:cubicBezTo>
                      <a:pt x="399" y="49"/>
                      <a:pt x="395" y="52"/>
                      <a:pt x="390" y="52"/>
                    </a:cubicBezTo>
                    <a:cubicBezTo>
                      <a:pt x="388" y="52"/>
                      <a:pt x="389" y="49"/>
                      <a:pt x="387" y="48"/>
                    </a:cubicBezTo>
                    <a:cubicBezTo>
                      <a:pt x="386" y="47"/>
                      <a:pt x="384" y="50"/>
                      <a:pt x="383" y="49"/>
                    </a:cubicBezTo>
                    <a:cubicBezTo>
                      <a:pt x="377" y="51"/>
                      <a:pt x="370" y="51"/>
                      <a:pt x="365" y="54"/>
                    </a:cubicBezTo>
                    <a:cubicBezTo>
                      <a:pt x="362" y="55"/>
                      <a:pt x="364" y="59"/>
                      <a:pt x="361" y="60"/>
                    </a:cubicBezTo>
                    <a:cubicBezTo>
                      <a:pt x="358" y="62"/>
                      <a:pt x="353" y="60"/>
                      <a:pt x="349" y="61"/>
                    </a:cubicBezTo>
                    <a:cubicBezTo>
                      <a:pt x="347" y="62"/>
                      <a:pt x="343" y="68"/>
                      <a:pt x="340" y="83"/>
                    </a:cubicBezTo>
                    <a:cubicBezTo>
                      <a:pt x="340" y="87"/>
                      <a:pt x="339" y="98"/>
                      <a:pt x="339" y="103"/>
                    </a:cubicBezTo>
                    <a:cubicBezTo>
                      <a:pt x="339" y="109"/>
                      <a:pt x="361" y="124"/>
                      <a:pt x="347" y="127"/>
                    </a:cubicBezTo>
                    <a:cubicBezTo>
                      <a:pt x="332" y="130"/>
                      <a:pt x="339" y="116"/>
                      <a:pt x="326" y="115"/>
                    </a:cubicBezTo>
                    <a:cubicBezTo>
                      <a:pt x="300" y="113"/>
                      <a:pt x="331" y="120"/>
                      <a:pt x="313" y="123"/>
                    </a:cubicBezTo>
                    <a:cubicBezTo>
                      <a:pt x="310" y="124"/>
                      <a:pt x="307" y="120"/>
                      <a:pt x="304" y="120"/>
                    </a:cubicBezTo>
                    <a:cubicBezTo>
                      <a:pt x="295" y="122"/>
                      <a:pt x="300" y="132"/>
                      <a:pt x="292" y="134"/>
                    </a:cubicBezTo>
                    <a:cubicBezTo>
                      <a:pt x="287" y="135"/>
                      <a:pt x="283" y="120"/>
                      <a:pt x="278" y="117"/>
                    </a:cubicBezTo>
                    <a:cubicBezTo>
                      <a:pt x="274" y="115"/>
                      <a:pt x="268" y="123"/>
                      <a:pt x="265" y="128"/>
                    </a:cubicBezTo>
                    <a:cubicBezTo>
                      <a:pt x="263" y="130"/>
                      <a:pt x="267" y="139"/>
                      <a:pt x="264" y="138"/>
                    </a:cubicBezTo>
                    <a:cubicBezTo>
                      <a:pt x="252" y="135"/>
                      <a:pt x="270" y="139"/>
                      <a:pt x="255" y="129"/>
                    </a:cubicBezTo>
                    <a:cubicBezTo>
                      <a:pt x="247" y="123"/>
                      <a:pt x="250" y="134"/>
                      <a:pt x="245" y="134"/>
                    </a:cubicBezTo>
                    <a:cubicBezTo>
                      <a:pt x="231" y="134"/>
                      <a:pt x="243" y="129"/>
                      <a:pt x="238" y="126"/>
                    </a:cubicBezTo>
                    <a:cubicBezTo>
                      <a:pt x="235" y="124"/>
                      <a:pt x="235" y="133"/>
                      <a:pt x="232" y="135"/>
                    </a:cubicBezTo>
                    <a:cubicBezTo>
                      <a:pt x="229" y="139"/>
                      <a:pt x="224" y="134"/>
                      <a:pt x="221" y="134"/>
                    </a:cubicBezTo>
                    <a:cubicBezTo>
                      <a:pt x="218" y="134"/>
                      <a:pt x="221" y="145"/>
                      <a:pt x="218" y="146"/>
                    </a:cubicBezTo>
                    <a:cubicBezTo>
                      <a:pt x="218" y="147"/>
                      <a:pt x="216" y="146"/>
                      <a:pt x="215" y="145"/>
                    </a:cubicBezTo>
                    <a:cubicBezTo>
                      <a:pt x="207" y="141"/>
                      <a:pt x="228" y="131"/>
                      <a:pt x="205" y="137"/>
                    </a:cubicBezTo>
                    <a:cubicBezTo>
                      <a:pt x="198" y="139"/>
                      <a:pt x="209" y="148"/>
                      <a:pt x="194" y="142"/>
                    </a:cubicBezTo>
                    <a:cubicBezTo>
                      <a:pt x="193" y="142"/>
                      <a:pt x="196" y="138"/>
                      <a:pt x="195" y="137"/>
                    </a:cubicBezTo>
                    <a:cubicBezTo>
                      <a:pt x="194" y="136"/>
                      <a:pt x="192" y="139"/>
                      <a:pt x="190" y="138"/>
                    </a:cubicBezTo>
                    <a:cubicBezTo>
                      <a:pt x="187" y="135"/>
                      <a:pt x="192" y="130"/>
                      <a:pt x="185" y="131"/>
                    </a:cubicBezTo>
                    <a:cubicBezTo>
                      <a:pt x="172" y="135"/>
                      <a:pt x="155" y="137"/>
                      <a:pt x="141" y="135"/>
                    </a:cubicBezTo>
                    <a:cubicBezTo>
                      <a:pt x="139" y="134"/>
                      <a:pt x="138" y="132"/>
                      <a:pt x="137" y="132"/>
                    </a:cubicBezTo>
                    <a:cubicBezTo>
                      <a:pt x="129" y="131"/>
                      <a:pt x="121" y="137"/>
                      <a:pt x="112" y="138"/>
                    </a:cubicBezTo>
                    <a:cubicBezTo>
                      <a:pt x="110" y="138"/>
                      <a:pt x="107" y="138"/>
                      <a:pt x="104" y="138"/>
                    </a:cubicBezTo>
                    <a:cubicBezTo>
                      <a:pt x="101" y="138"/>
                      <a:pt x="98" y="137"/>
                      <a:pt x="95" y="137"/>
                    </a:cubicBezTo>
                    <a:cubicBezTo>
                      <a:pt x="88" y="139"/>
                      <a:pt x="83" y="145"/>
                      <a:pt x="76" y="148"/>
                    </a:cubicBezTo>
                    <a:cubicBezTo>
                      <a:pt x="72" y="150"/>
                      <a:pt x="66" y="148"/>
                      <a:pt x="61" y="151"/>
                    </a:cubicBezTo>
                    <a:cubicBezTo>
                      <a:pt x="59" y="152"/>
                      <a:pt x="51" y="179"/>
                      <a:pt x="46" y="177"/>
                    </a:cubicBezTo>
                    <a:cubicBezTo>
                      <a:pt x="44" y="177"/>
                      <a:pt x="44" y="174"/>
                      <a:pt x="43" y="174"/>
                    </a:cubicBezTo>
                    <a:cubicBezTo>
                      <a:pt x="39" y="173"/>
                      <a:pt x="35" y="173"/>
                      <a:pt x="33" y="174"/>
                    </a:cubicBezTo>
                    <a:cubicBezTo>
                      <a:pt x="23" y="177"/>
                      <a:pt x="37" y="182"/>
                      <a:pt x="30" y="184"/>
                    </a:cubicBezTo>
                    <a:cubicBezTo>
                      <a:pt x="30" y="185"/>
                      <a:pt x="30" y="185"/>
                      <a:pt x="30" y="185"/>
                    </a:cubicBezTo>
                    <a:cubicBezTo>
                      <a:pt x="30" y="184"/>
                      <a:pt x="30" y="184"/>
                      <a:pt x="30" y="184"/>
                    </a:cubicBezTo>
                    <a:cubicBezTo>
                      <a:pt x="31" y="186"/>
                      <a:pt x="34" y="188"/>
                      <a:pt x="35" y="190"/>
                    </a:cubicBezTo>
                    <a:cubicBezTo>
                      <a:pt x="36" y="194"/>
                      <a:pt x="34" y="198"/>
                      <a:pt x="35" y="201"/>
                    </a:cubicBezTo>
                    <a:cubicBezTo>
                      <a:pt x="40" y="211"/>
                      <a:pt x="56" y="222"/>
                      <a:pt x="65" y="229"/>
                    </a:cubicBezTo>
                    <a:cubicBezTo>
                      <a:pt x="67" y="231"/>
                      <a:pt x="54" y="230"/>
                      <a:pt x="57" y="236"/>
                    </a:cubicBezTo>
                    <a:cubicBezTo>
                      <a:pt x="57" y="236"/>
                      <a:pt x="69" y="246"/>
                      <a:pt x="69" y="251"/>
                    </a:cubicBezTo>
                    <a:cubicBezTo>
                      <a:pt x="67" y="271"/>
                      <a:pt x="61" y="259"/>
                      <a:pt x="51" y="267"/>
                    </a:cubicBezTo>
                    <a:cubicBezTo>
                      <a:pt x="46" y="271"/>
                      <a:pt x="12" y="335"/>
                      <a:pt x="13" y="340"/>
                    </a:cubicBezTo>
                    <a:cubicBezTo>
                      <a:pt x="14" y="346"/>
                      <a:pt x="20" y="350"/>
                      <a:pt x="22" y="356"/>
                    </a:cubicBezTo>
                    <a:cubicBezTo>
                      <a:pt x="22" y="359"/>
                      <a:pt x="18" y="363"/>
                      <a:pt x="20" y="365"/>
                    </a:cubicBezTo>
                    <a:cubicBezTo>
                      <a:pt x="30" y="377"/>
                      <a:pt x="24" y="354"/>
                      <a:pt x="31" y="376"/>
                    </a:cubicBezTo>
                    <a:cubicBezTo>
                      <a:pt x="31" y="377"/>
                      <a:pt x="29" y="374"/>
                      <a:pt x="28" y="374"/>
                    </a:cubicBezTo>
                    <a:cubicBezTo>
                      <a:pt x="25" y="373"/>
                      <a:pt x="22" y="374"/>
                      <a:pt x="20" y="374"/>
                    </a:cubicBezTo>
                    <a:cubicBezTo>
                      <a:pt x="18" y="374"/>
                      <a:pt x="16" y="374"/>
                      <a:pt x="14" y="373"/>
                    </a:cubicBezTo>
                    <a:cubicBezTo>
                      <a:pt x="14" y="379"/>
                      <a:pt x="10" y="387"/>
                      <a:pt x="10" y="392"/>
                    </a:cubicBezTo>
                    <a:cubicBezTo>
                      <a:pt x="9" y="396"/>
                      <a:pt x="10" y="400"/>
                      <a:pt x="8" y="404"/>
                    </a:cubicBezTo>
                    <a:cubicBezTo>
                      <a:pt x="7" y="408"/>
                      <a:pt x="1" y="409"/>
                      <a:pt x="1" y="413"/>
                    </a:cubicBezTo>
                    <a:cubicBezTo>
                      <a:pt x="0" y="417"/>
                      <a:pt x="3" y="421"/>
                      <a:pt x="3" y="425"/>
                    </a:cubicBezTo>
                    <a:cubicBezTo>
                      <a:pt x="16" y="426"/>
                      <a:pt x="7" y="432"/>
                      <a:pt x="16" y="435"/>
                    </a:cubicBezTo>
                    <a:cubicBezTo>
                      <a:pt x="18" y="436"/>
                      <a:pt x="20" y="433"/>
                      <a:pt x="22" y="434"/>
                    </a:cubicBezTo>
                    <a:cubicBezTo>
                      <a:pt x="25" y="436"/>
                      <a:pt x="26" y="442"/>
                      <a:pt x="29" y="444"/>
                    </a:cubicBezTo>
                    <a:cubicBezTo>
                      <a:pt x="31" y="445"/>
                      <a:pt x="33" y="442"/>
                      <a:pt x="35" y="442"/>
                    </a:cubicBezTo>
                    <a:cubicBezTo>
                      <a:pt x="37" y="442"/>
                      <a:pt x="39" y="443"/>
                      <a:pt x="40" y="443"/>
                    </a:cubicBezTo>
                    <a:cubicBezTo>
                      <a:pt x="47" y="448"/>
                      <a:pt x="38" y="447"/>
                      <a:pt x="45" y="453"/>
                    </a:cubicBezTo>
                    <a:cubicBezTo>
                      <a:pt x="47" y="454"/>
                      <a:pt x="50" y="452"/>
                      <a:pt x="54" y="441"/>
                    </a:cubicBezTo>
                    <a:cubicBezTo>
                      <a:pt x="55" y="440"/>
                      <a:pt x="55" y="438"/>
                      <a:pt x="56" y="438"/>
                    </a:cubicBezTo>
                    <a:cubicBezTo>
                      <a:pt x="57" y="438"/>
                      <a:pt x="72" y="445"/>
                      <a:pt x="73" y="445"/>
                    </a:cubicBezTo>
                    <a:cubicBezTo>
                      <a:pt x="74" y="445"/>
                      <a:pt x="75" y="442"/>
                      <a:pt x="76" y="442"/>
                    </a:cubicBezTo>
                    <a:cubicBezTo>
                      <a:pt x="83" y="439"/>
                      <a:pt x="102" y="446"/>
                      <a:pt x="111" y="444"/>
                    </a:cubicBezTo>
                    <a:cubicBezTo>
                      <a:pt x="116" y="442"/>
                      <a:pt x="120" y="438"/>
                      <a:pt x="125" y="437"/>
                    </a:cubicBezTo>
                    <a:cubicBezTo>
                      <a:pt x="134" y="436"/>
                      <a:pt x="140" y="448"/>
                      <a:pt x="146" y="450"/>
                    </a:cubicBezTo>
                    <a:cubicBezTo>
                      <a:pt x="155" y="453"/>
                      <a:pt x="158" y="437"/>
                      <a:pt x="160" y="435"/>
                    </a:cubicBezTo>
                    <a:cubicBezTo>
                      <a:pt x="170" y="424"/>
                      <a:pt x="196" y="425"/>
                      <a:pt x="204" y="417"/>
                    </a:cubicBezTo>
                    <a:cubicBezTo>
                      <a:pt x="219" y="403"/>
                      <a:pt x="197" y="415"/>
                      <a:pt x="208" y="401"/>
                    </a:cubicBezTo>
                    <a:cubicBezTo>
                      <a:pt x="211" y="397"/>
                      <a:pt x="215" y="395"/>
                      <a:pt x="220" y="393"/>
                    </a:cubicBezTo>
                    <a:cubicBezTo>
                      <a:pt x="220" y="392"/>
                      <a:pt x="220" y="392"/>
                      <a:pt x="220" y="392"/>
                    </a:cubicBezTo>
                    <a:cubicBezTo>
                      <a:pt x="223" y="387"/>
                      <a:pt x="223" y="387"/>
                      <a:pt x="223" y="387"/>
                    </a:cubicBezTo>
                    <a:cubicBezTo>
                      <a:pt x="223" y="386"/>
                      <a:pt x="223" y="386"/>
                      <a:pt x="223" y="386"/>
                    </a:cubicBezTo>
                    <a:cubicBezTo>
                      <a:pt x="223" y="383"/>
                      <a:pt x="223" y="383"/>
                      <a:pt x="223" y="383"/>
                    </a:cubicBezTo>
                    <a:cubicBezTo>
                      <a:pt x="229" y="384"/>
                      <a:pt x="229" y="384"/>
                      <a:pt x="229" y="384"/>
                    </a:cubicBezTo>
                    <a:cubicBezTo>
                      <a:pt x="228" y="383"/>
                      <a:pt x="227" y="382"/>
                      <a:pt x="227" y="381"/>
                    </a:cubicBezTo>
                    <a:cubicBezTo>
                      <a:pt x="227" y="380"/>
                      <a:pt x="249" y="378"/>
                      <a:pt x="250" y="377"/>
                    </a:cubicBezTo>
                    <a:cubicBezTo>
                      <a:pt x="261" y="372"/>
                      <a:pt x="257" y="363"/>
                      <a:pt x="272" y="365"/>
                    </a:cubicBezTo>
                    <a:cubicBezTo>
                      <a:pt x="279" y="365"/>
                      <a:pt x="285" y="367"/>
                      <a:pt x="291" y="371"/>
                    </a:cubicBezTo>
                    <a:cubicBezTo>
                      <a:pt x="292" y="373"/>
                      <a:pt x="291" y="376"/>
                      <a:pt x="292" y="376"/>
                    </a:cubicBezTo>
                    <a:cubicBezTo>
                      <a:pt x="296" y="376"/>
                      <a:pt x="300" y="373"/>
                      <a:pt x="305" y="372"/>
                    </a:cubicBezTo>
                    <a:cubicBezTo>
                      <a:pt x="307" y="371"/>
                      <a:pt x="304" y="377"/>
                      <a:pt x="305" y="379"/>
                    </a:cubicBezTo>
                    <a:cubicBezTo>
                      <a:pt x="306" y="384"/>
                      <a:pt x="309" y="375"/>
                      <a:pt x="310" y="376"/>
                    </a:cubicBezTo>
                    <a:cubicBezTo>
                      <a:pt x="311" y="379"/>
                      <a:pt x="311" y="382"/>
                      <a:pt x="313" y="383"/>
                    </a:cubicBezTo>
                    <a:cubicBezTo>
                      <a:pt x="315" y="386"/>
                      <a:pt x="313" y="376"/>
                      <a:pt x="317" y="375"/>
                    </a:cubicBezTo>
                    <a:cubicBezTo>
                      <a:pt x="336" y="370"/>
                      <a:pt x="327" y="381"/>
                      <a:pt x="341" y="387"/>
                    </a:cubicBezTo>
                    <a:cubicBezTo>
                      <a:pt x="347" y="389"/>
                      <a:pt x="343" y="378"/>
                      <a:pt x="348" y="380"/>
                    </a:cubicBezTo>
                    <a:cubicBezTo>
                      <a:pt x="361" y="389"/>
                      <a:pt x="352" y="401"/>
                      <a:pt x="356" y="413"/>
                    </a:cubicBezTo>
                    <a:cubicBezTo>
                      <a:pt x="356" y="416"/>
                      <a:pt x="370" y="426"/>
                      <a:pt x="374" y="427"/>
                    </a:cubicBezTo>
                    <a:cubicBezTo>
                      <a:pt x="381" y="430"/>
                      <a:pt x="372" y="417"/>
                      <a:pt x="380" y="422"/>
                    </a:cubicBezTo>
                    <a:cubicBezTo>
                      <a:pt x="390" y="427"/>
                      <a:pt x="377" y="443"/>
                      <a:pt x="384" y="439"/>
                    </a:cubicBezTo>
                    <a:cubicBezTo>
                      <a:pt x="387" y="437"/>
                      <a:pt x="386" y="446"/>
                      <a:pt x="388" y="448"/>
                    </a:cubicBezTo>
                    <a:cubicBezTo>
                      <a:pt x="391" y="451"/>
                      <a:pt x="405" y="451"/>
                      <a:pt x="409" y="454"/>
                    </a:cubicBezTo>
                    <a:cubicBezTo>
                      <a:pt x="414" y="472"/>
                      <a:pt x="414" y="472"/>
                      <a:pt x="414" y="472"/>
                    </a:cubicBezTo>
                    <a:cubicBezTo>
                      <a:pt x="414" y="473"/>
                      <a:pt x="411" y="473"/>
                      <a:pt x="412" y="474"/>
                    </a:cubicBezTo>
                    <a:cubicBezTo>
                      <a:pt x="413" y="478"/>
                      <a:pt x="426" y="479"/>
                      <a:pt x="426" y="480"/>
                    </a:cubicBezTo>
                    <a:cubicBezTo>
                      <a:pt x="422" y="482"/>
                      <a:pt x="418" y="483"/>
                      <a:pt x="416" y="485"/>
                    </a:cubicBezTo>
                    <a:cubicBezTo>
                      <a:pt x="414" y="486"/>
                      <a:pt x="415" y="487"/>
                      <a:pt x="414" y="489"/>
                    </a:cubicBezTo>
                    <a:cubicBezTo>
                      <a:pt x="412" y="491"/>
                      <a:pt x="409" y="481"/>
                      <a:pt x="404" y="481"/>
                    </a:cubicBezTo>
                    <a:cubicBezTo>
                      <a:pt x="401" y="481"/>
                      <a:pt x="404" y="491"/>
                      <a:pt x="401" y="491"/>
                    </a:cubicBezTo>
                    <a:cubicBezTo>
                      <a:pt x="399" y="490"/>
                      <a:pt x="391" y="485"/>
                      <a:pt x="391" y="485"/>
                    </a:cubicBezTo>
                    <a:cubicBezTo>
                      <a:pt x="390" y="486"/>
                      <a:pt x="391" y="490"/>
                      <a:pt x="388" y="490"/>
                    </a:cubicBezTo>
                    <a:cubicBezTo>
                      <a:pt x="387" y="491"/>
                      <a:pt x="387" y="486"/>
                      <a:pt x="386" y="487"/>
                    </a:cubicBezTo>
                    <a:cubicBezTo>
                      <a:pt x="383" y="490"/>
                      <a:pt x="384" y="494"/>
                      <a:pt x="382" y="496"/>
                    </a:cubicBezTo>
                    <a:cubicBezTo>
                      <a:pt x="382" y="496"/>
                      <a:pt x="381" y="496"/>
                      <a:pt x="380" y="495"/>
                    </a:cubicBezTo>
                    <a:cubicBezTo>
                      <a:pt x="380" y="494"/>
                      <a:pt x="381" y="494"/>
                      <a:pt x="381" y="492"/>
                    </a:cubicBezTo>
                    <a:cubicBezTo>
                      <a:pt x="381" y="490"/>
                      <a:pt x="379" y="487"/>
                      <a:pt x="378" y="485"/>
                    </a:cubicBezTo>
                    <a:cubicBezTo>
                      <a:pt x="376" y="481"/>
                      <a:pt x="371" y="489"/>
                      <a:pt x="368" y="492"/>
                    </a:cubicBezTo>
                    <a:cubicBezTo>
                      <a:pt x="360" y="502"/>
                      <a:pt x="374" y="506"/>
                      <a:pt x="375" y="511"/>
                    </a:cubicBezTo>
                    <a:cubicBezTo>
                      <a:pt x="376" y="513"/>
                      <a:pt x="373" y="516"/>
                      <a:pt x="373" y="519"/>
                    </a:cubicBezTo>
                    <a:cubicBezTo>
                      <a:pt x="373" y="522"/>
                      <a:pt x="377" y="524"/>
                      <a:pt x="375" y="526"/>
                    </a:cubicBezTo>
                    <a:cubicBezTo>
                      <a:pt x="374" y="529"/>
                      <a:pt x="370" y="529"/>
                      <a:pt x="368" y="531"/>
                    </a:cubicBezTo>
                    <a:cubicBezTo>
                      <a:pt x="363" y="535"/>
                      <a:pt x="371" y="537"/>
                      <a:pt x="368" y="541"/>
                    </a:cubicBezTo>
                    <a:cubicBezTo>
                      <a:pt x="366" y="544"/>
                      <a:pt x="362" y="546"/>
                      <a:pt x="361" y="548"/>
                    </a:cubicBezTo>
                    <a:cubicBezTo>
                      <a:pt x="356" y="556"/>
                      <a:pt x="364" y="568"/>
                      <a:pt x="360" y="569"/>
                    </a:cubicBezTo>
                    <a:cubicBezTo>
                      <a:pt x="357" y="569"/>
                      <a:pt x="354" y="568"/>
                      <a:pt x="352" y="569"/>
                    </a:cubicBezTo>
                    <a:cubicBezTo>
                      <a:pt x="352" y="569"/>
                      <a:pt x="352" y="569"/>
                      <a:pt x="352" y="569"/>
                    </a:cubicBezTo>
                    <a:cubicBezTo>
                      <a:pt x="349" y="573"/>
                      <a:pt x="349" y="573"/>
                      <a:pt x="349" y="573"/>
                    </a:cubicBezTo>
                    <a:cubicBezTo>
                      <a:pt x="349" y="575"/>
                      <a:pt x="349" y="576"/>
                      <a:pt x="348" y="576"/>
                    </a:cubicBezTo>
                    <a:cubicBezTo>
                      <a:pt x="349" y="576"/>
                      <a:pt x="351" y="575"/>
                      <a:pt x="352" y="576"/>
                    </a:cubicBezTo>
                    <a:cubicBezTo>
                      <a:pt x="353" y="578"/>
                      <a:pt x="353" y="581"/>
                      <a:pt x="355" y="583"/>
                    </a:cubicBezTo>
                    <a:cubicBezTo>
                      <a:pt x="357" y="585"/>
                      <a:pt x="382" y="586"/>
                      <a:pt x="381" y="584"/>
                    </a:cubicBezTo>
                    <a:cubicBezTo>
                      <a:pt x="381" y="583"/>
                      <a:pt x="373" y="581"/>
                      <a:pt x="379" y="578"/>
                    </a:cubicBezTo>
                    <a:cubicBezTo>
                      <a:pt x="382" y="576"/>
                      <a:pt x="386" y="577"/>
                      <a:pt x="390" y="575"/>
                    </a:cubicBezTo>
                    <a:cubicBezTo>
                      <a:pt x="395" y="572"/>
                      <a:pt x="397" y="564"/>
                      <a:pt x="404" y="562"/>
                    </a:cubicBezTo>
                    <a:cubicBezTo>
                      <a:pt x="416" y="558"/>
                      <a:pt x="422" y="562"/>
                      <a:pt x="425" y="573"/>
                    </a:cubicBezTo>
                    <a:cubicBezTo>
                      <a:pt x="426" y="569"/>
                      <a:pt x="431" y="556"/>
                      <a:pt x="424" y="554"/>
                    </a:cubicBezTo>
                    <a:cubicBezTo>
                      <a:pt x="423" y="554"/>
                      <a:pt x="425" y="556"/>
                      <a:pt x="424" y="556"/>
                    </a:cubicBezTo>
                    <a:cubicBezTo>
                      <a:pt x="423" y="557"/>
                      <a:pt x="423" y="555"/>
                      <a:pt x="422" y="554"/>
                    </a:cubicBezTo>
                    <a:cubicBezTo>
                      <a:pt x="419" y="553"/>
                      <a:pt x="421" y="563"/>
                      <a:pt x="417" y="556"/>
                    </a:cubicBezTo>
                    <a:cubicBezTo>
                      <a:pt x="414" y="551"/>
                      <a:pt x="414" y="543"/>
                      <a:pt x="414" y="537"/>
                    </a:cubicBezTo>
                    <a:cubicBezTo>
                      <a:pt x="414" y="535"/>
                      <a:pt x="410" y="529"/>
                      <a:pt x="412" y="530"/>
                    </a:cubicBezTo>
                    <a:cubicBezTo>
                      <a:pt x="417" y="532"/>
                      <a:pt x="416" y="545"/>
                      <a:pt x="421" y="543"/>
                    </a:cubicBezTo>
                    <a:cubicBezTo>
                      <a:pt x="438" y="537"/>
                      <a:pt x="427" y="535"/>
                      <a:pt x="427" y="528"/>
                    </a:cubicBezTo>
                    <a:cubicBezTo>
                      <a:pt x="427" y="526"/>
                      <a:pt x="428" y="530"/>
                      <a:pt x="429" y="529"/>
                    </a:cubicBezTo>
                    <a:cubicBezTo>
                      <a:pt x="431" y="529"/>
                      <a:pt x="426" y="524"/>
                      <a:pt x="428" y="523"/>
                    </a:cubicBezTo>
                    <a:cubicBezTo>
                      <a:pt x="431" y="522"/>
                      <a:pt x="434" y="524"/>
                      <a:pt x="437" y="523"/>
                    </a:cubicBezTo>
                    <a:cubicBezTo>
                      <a:pt x="439" y="522"/>
                      <a:pt x="441" y="520"/>
                      <a:pt x="442" y="518"/>
                    </a:cubicBezTo>
                    <a:cubicBezTo>
                      <a:pt x="447" y="508"/>
                      <a:pt x="452" y="495"/>
                      <a:pt x="455" y="484"/>
                    </a:cubicBezTo>
                    <a:cubicBezTo>
                      <a:pt x="456" y="482"/>
                      <a:pt x="451" y="479"/>
                      <a:pt x="452" y="477"/>
                    </a:cubicBezTo>
                    <a:cubicBezTo>
                      <a:pt x="453" y="475"/>
                      <a:pt x="456" y="475"/>
                      <a:pt x="457" y="473"/>
                    </a:cubicBezTo>
                    <a:cubicBezTo>
                      <a:pt x="461" y="466"/>
                      <a:pt x="450" y="467"/>
                      <a:pt x="455" y="461"/>
                    </a:cubicBezTo>
                    <a:cubicBezTo>
                      <a:pt x="467" y="445"/>
                      <a:pt x="484" y="452"/>
                      <a:pt x="484" y="447"/>
                    </a:cubicBezTo>
                    <a:cubicBezTo>
                      <a:pt x="485" y="442"/>
                      <a:pt x="478" y="436"/>
                      <a:pt x="482" y="433"/>
                    </a:cubicBezTo>
                    <a:cubicBezTo>
                      <a:pt x="485" y="431"/>
                      <a:pt x="483" y="442"/>
                      <a:pt x="487" y="444"/>
                    </a:cubicBezTo>
                    <a:cubicBezTo>
                      <a:pt x="489" y="446"/>
                      <a:pt x="491" y="442"/>
                      <a:pt x="494" y="441"/>
                    </a:cubicBezTo>
                    <a:cubicBezTo>
                      <a:pt x="497" y="440"/>
                      <a:pt x="500" y="441"/>
                      <a:pt x="504" y="440"/>
                    </a:cubicBezTo>
                    <a:cubicBezTo>
                      <a:pt x="511" y="439"/>
                      <a:pt x="502" y="427"/>
                      <a:pt x="502" y="427"/>
                    </a:cubicBezTo>
                    <a:cubicBezTo>
                      <a:pt x="502" y="420"/>
                      <a:pt x="507" y="421"/>
                      <a:pt x="504" y="416"/>
                    </a:cubicBezTo>
                    <a:cubicBezTo>
                      <a:pt x="506" y="416"/>
                      <a:pt x="507" y="415"/>
                      <a:pt x="507" y="416"/>
                    </a:cubicBezTo>
                    <a:cubicBezTo>
                      <a:pt x="508" y="449"/>
                      <a:pt x="526" y="438"/>
                      <a:pt x="544" y="426"/>
                    </a:cubicBezTo>
                    <a:cubicBezTo>
                      <a:pt x="546" y="425"/>
                      <a:pt x="539" y="430"/>
                      <a:pt x="537" y="432"/>
                    </a:cubicBezTo>
                    <a:cubicBezTo>
                      <a:pt x="534" y="436"/>
                      <a:pt x="538" y="442"/>
                      <a:pt x="533" y="443"/>
                    </a:cubicBezTo>
                    <a:cubicBezTo>
                      <a:pt x="523" y="444"/>
                      <a:pt x="512" y="445"/>
                      <a:pt x="503" y="446"/>
                    </a:cubicBezTo>
                    <a:cubicBezTo>
                      <a:pt x="502" y="446"/>
                      <a:pt x="488" y="446"/>
                      <a:pt x="490" y="448"/>
                    </a:cubicBezTo>
                    <a:cubicBezTo>
                      <a:pt x="493" y="451"/>
                      <a:pt x="497" y="455"/>
                      <a:pt x="501" y="456"/>
                    </a:cubicBezTo>
                    <a:cubicBezTo>
                      <a:pt x="503" y="456"/>
                      <a:pt x="500" y="451"/>
                      <a:pt x="502" y="451"/>
                    </a:cubicBezTo>
                    <a:cubicBezTo>
                      <a:pt x="505" y="449"/>
                      <a:pt x="509" y="451"/>
                      <a:pt x="513" y="451"/>
                    </a:cubicBezTo>
                    <a:cubicBezTo>
                      <a:pt x="514" y="451"/>
                      <a:pt x="519" y="448"/>
                      <a:pt x="519" y="451"/>
                    </a:cubicBezTo>
                    <a:cubicBezTo>
                      <a:pt x="520" y="457"/>
                      <a:pt x="506" y="461"/>
                      <a:pt x="510" y="465"/>
                    </a:cubicBezTo>
                    <a:cubicBezTo>
                      <a:pt x="512" y="467"/>
                      <a:pt x="532" y="462"/>
                      <a:pt x="534" y="463"/>
                    </a:cubicBezTo>
                    <a:cubicBezTo>
                      <a:pt x="536" y="464"/>
                      <a:pt x="534" y="468"/>
                      <a:pt x="536" y="468"/>
                    </a:cubicBezTo>
                    <a:cubicBezTo>
                      <a:pt x="540" y="470"/>
                      <a:pt x="545" y="470"/>
                      <a:pt x="550" y="469"/>
                    </a:cubicBezTo>
                    <a:cubicBezTo>
                      <a:pt x="554" y="468"/>
                      <a:pt x="556" y="462"/>
                      <a:pt x="560" y="460"/>
                    </a:cubicBezTo>
                    <a:cubicBezTo>
                      <a:pt x="564" y="458"/>
                      <a:pt x="569" y="459"/>
                      <a:pt x="573" y="457"/>
                    </a:cubicBezTo>
                    <a:cubicBezTo>
                      <a:pt x="574" y="457"/>
                      <a:pt x="572" y="454"/>
                      <a:pt x="573" y="453"/>
                    </a:cubicBezTo>
                    <a:cubicBezTo>
                      <a:pt x="574" y="452"/>
                      <a:pt x="576" y="455"/>
                      <a:pt x="577" y="455"/>
                    </a:cubicBezTo>
                    <a:cubicBezTo>
                      <a:pt x="580" y="453"/>
                      <a:pt x="579" y="446"/>
                      <a:pt x="581" y="447"/>
                    </a:cubicBezTo>
                    <a:cubicBezTo>
                      <a:pt x="586" y="448"/>
                      <a:pt x="591" y="459"/>
                      <a:pt x="595" y="455"/>
                    </a:cubicBezTo>
                    <a:cubicBezTo>
                      <a:pt x="598" y="452"/>
                      <a:pt x="597" y="447"/>
                      <a:pt x="601" y="445"/>
                    </a:cubicBezTo>
                    <a:cubicBezTo>
                      <a:pt x="610" y="439"/>
                      <a:pt x="600" y="455"/>
                      <a:pt x="606" y="460"/>
                    </a:cubicBezTo>
                    <a:cubicBezTo>
                      <a:pt x="609" y="462"/>
                      <a:pt x="614" y="455"/>
                      <a:pt x="614" y="458"/>
                    </a:cubicBezTo>
                    <a:cubicBezTo>
                      <a:pt x="614" y="460"/>
                      <a:pt x="596" y="478"/>
                      <a:pt x="593" y="479"/>
                    </a:cubicBezTo>
                    <a:cubicBezTo>
                      <a:pt x="591" y="480"/>
                      <a:pt x="589" y="477"/>
                      <a:pt x="588" y="478"/>
                    </a:cubicBezTo>
                    <a:cubicBezTo>
                      <a:pt x="587" y="479"/>
                      <a:pt x="590" y="481"/>
                      <a:pt x="590" y="482"/>
                    </a:cubicBezTo>
                    <a:cubicBezTo>
                      <a:pt x="590" y="482"/>
                      <a:pt x="578" y="492"/>
                      <a:pt x="577" y="492"/>
                    </a:cubicBezTo>
                    <a:cubicBezTo>
                      <a:pt x="576" y="494"/>
                      <a:pt x="575" y="495"/>
                      <a:pt x="575" y="497"/>
                    </a:cubicBezTo>
                    <a:cubicBezTo>
                      <a:pt x="575" y="498"/>
                      <a:pt x="576" y="499"/>
                      <a:pt x="576" y="499"/>
                    </a:cubicBezTo>
                    <a:cubicBezTo>
                      <a:pt x="576" y="500"/>
                      <a:pt x="555" y="514"/>
                      <a:pt x="563" y="517"/>
                    </a:cubicBezTo>
                    <a:cubicBezTo>
                      <a:pt x="577" y="522"/>
                      <a:pt x="574" y="513"/>
                      <a:pt x="586" y="513"/>
                    </a:cubicBezTo>
                    <a:cubicBezTo>
                      <a:pt x="590" y="513"/>
                      <a:pt x="602" y="524"/>
                      <a:pt x="606" y="522"/>
                    </a:cubicBezTo>
                    <a:cubicBezTo>
                      <a:pt x="611" y="520"/>
                      <a:pt x="615" y="514"/>
                      <a:pt x="622" y="521"/>
                    </a:cubicBezTo>
                    <a:cubicBezTo>
                      <a:pt x="637" y="537"/>
                      <a:pt x="624" y="534"/>
                      <a:pt x="627" y="543"/>
                    </a:cubicBezTo>
                    <a:cubicBezTo>
                      <a:pt x="630" y="551"/>
                      <a:pt x="634" y="554"/>
                      <a:pt x="633" y="555"/>
                    </a:cubicBezTo>
                    <a:cubicBezTo>
                      <a:pt x="631" y="557"/>
                      <a:pt x="623" y="557"/>
                      <a:pt x="624" y="560"/>
                    </a:cubicBezTo>
                    <a:cubicBezTo>
                      <a:pt x="626" y="564"/>
                      <a:pt x="633" y="562"/>
                      <a:pt x="637" y="564"/>
                    </a:cubicBezTo>
                    <a:cubicBezTo>
                      <a:pt x="641" y="565"/>
                      <a:pt x="641" y="569"/>
                      <a:pt x="646" y="569"/>
                    </a:cubicBezTo>
                    <a:cubicBezTo>
                      <a:pt x="675" y="565"/>
                      <a:pt x="669" y="533"/>
                      <a:pt x="687" y="520"/>
                    </a:cubicBezTo>
                    <a:cubicBezTo>
                      <a:pt x="691" y="517"/>
                      <a:pt x="694" y="515"/>
                      <a:pt x="699" y="515"/>
                    </a:cubicBezTo>
                    <a:cubicBezTo>
                      <a:pt x="701" y="515"/>
                      <a:pt x="704" y="517"/>
                      <a:pt x="705" y="516"/>
                    </a:cubicBezTo>
                    <a:cubicBezTo>
                      <a:pt x="709" y="512"/>
                      <a:pt x="706" y="504"/>
                      <a:pt x="710" y="501"/>
                    </a:cubicBezTo>
                    <a:cubicBezTo>
                      <a:pt x="714" y="498"/>
                      <a:pt x="716" y="499"/>
                      <a:pt x="717" y="494"/>
                    </a:cubicBezTo>
                    <a:cubicBezTo>
                      <a:pt x="718" y="494"/>
                      <a:pt x="716" y="494"/>
                      <a:pt x="715" y="494"/>
                    </a:cubicBezTo>
                    <a:cubicBezTo>
                      <a:pt x="713" y="491"/>
                      <a:pt x="717" y="485"/>
                      <a:pt x="719" y="485"/>
                    </a:cubicBezTo>
                    <a:cubicBezTo>
                      <a:pt x="722" y="483"/>
                      <a:pt x="726" y="483"/>
                      <a:pt x="729" y="483"/>
                    </a:cubicBezTo>
                    <a:cubicBezTo>
                      <a:pt x="732" y="484"/>
                      <a:pt x="735" y="489"/>
                      <a:pt x="738" y="488"/>
                    </a:cubicBezTo>
                    <a:cubicBezTo>
                      <a:pt x="742" y="487"/>
                      <a:pt x="743" y="482"/>
                      <a:pt x="747" y="481"/>
                    </a:cubicBezTo>
                    <a:cubicBezTo>
                      <a:pt x="749" y="479"/>
                      <a:pt x="753" y="481"/>
                      <a:pt x="756" y="479"/>
                    </a:cubicBezTo>
                    <a:cubicBezTo>
                      <a:pt x="767" y="475"/>
                      <a:pt x="758" y="465"/>
                      <a:pt x="759" y="456"/>
                    </a:cubicBezTo>
                    <a:cubicBezTo>
                      <a:pt x="760" y="451"/>
                      <a:pt x="767" y="447"/>
                      <a:pt x="764" y="443"/>
                    </a:cubicBezTo>
                    <a:cubicBezTo>
                      <a:pt x="764" y="443"/>
                      <a:pt x="741" y="448"/>
                      <a:pt x="740" y="448"/>
                    </a:cubicBezTo>
                    <a:cubicBezTo>
                      <a:pt x="737" y="451"/>
                      <a:pt x="740" y="457"/>
                      <a:pt x="736" y="459"/>
                    </a:cubicBezTo>
                    <a:cubicBezTo>
                      <a:pt x="734" y="460"/>
                      <a:pt x="731" y="459"/>
                      <a:pt x="729" y="458"/>
                    </a:cubicBezTo>
                    <a:cubicBezTo>
                      <a:pt x="727" y="457"/>
                      <a:pt x="728" y="454"/>
                      <a:pt x="726" y="454"/>
                    </a:cubicBezTo>
                    <a:cubicBezTo>
                      <a:pt x="722" y="454"/>
                      <a:pt x="726" y="462"/>
                      <a:pt x="723" y="466"/>
                    </a:cubicBezTo>
                    <a:cubicBezTo>
                      <a:pt x="721" y="469"/>
                      <a:pt x="718" y="472"/>
                      <a:pt x="714" y="473"/>
                    </a:cubicBezTo>
                    <a:cubicBezTo>
                      <a:pt x="704" y="476"/>
                      <a:pt x="672" y="446"/>
                      <a:pt x="667" y="439"/>
                    </a:cubicBezTo>
                    <a:cubicBezTo>
                      <a:pt x="666" y="437"/>
                      <a:pt x="658" y="423"/>
                      <a:pt x="659" y="422"/>
                    </a:cubicBezTo>
                    <a:cubicBezTo>
                      <a:pt x="662" y="419"/>
                      <a:pt x="666" y="428"/>
                      <a:pt x="670" y="427"/>
                    </a:cubicBezTo>
                    <a:cubicBezTo>
                      <a:pt x="683" y="425"/>
                      <a:pt x="679" y="399"/>
                      <a:pt x="684" y="391"/>
                    </a:cubicBezTo>
                    <a:cubicBezTo>
                      <a:pt x="686" y="389"/>
                      <a:pt x="689" y="388"/>
                      <a:pt x="691" y="386"/>
                    </a:cubicBezTo>
                    <a:cubicBezTo>
                      <a:pt x="693" y="382"/>
                      <a:pt x="693" y="377"/>
                      <a:pt x="696" y="374"/>
                    </a:cubicBezTo>
                    <a:cubicBezTo>
                      <a:pt x="705" y="362"/>
                      <a:pt x="709" y="363"/>
                      <a:pt x="717" y="367"/>
                    </a:cubicBezTo>
                    <a:cubicBezTo>
                      <a:pt x="717" y="367"/>
                      <a:pt x="717" y="366"/>
                      <a:pt x="718" y="365"/>
                    </a:cubicBezTo>
                    <a:cubicBezTo>
                      <a:pt x="723" y="360"/>
                      <a:pt x="717" y="349"/>
                      <a:pt x="730" y="348"/>
                    </a:cubicBezTo>
                    <a:cubicBezTo>
                      <a:pt x="735" y="348"/>
                      <a:pt x="738" y="357"/>
                      <a:pt x="741" y="354"/>
                    </a:cubicBezTo>
                    <a:cubicBezTo>
                      <a:pt x="745" y="352"/>
                      <a:pt x="740" y="345"/>
                      <a:pt x="742" y="341"/>
                    </a:cubicBezTo>
                    <a:cubicBezTo>
                      <a:pt x="742" y="340"/>
                      <a:pt x="755" y="325"/>
                      <a:pt x="755" y="325"/>
                    </a:cubicBezTo>
                    <a:cubicBezTo>
                      <a:pt x="757" y="324"/>
                      <a:pt x="760" y="330"/>
                      <a:pt x="761" y="328"/>
                    </a:cubicBezTo>
                    <a:cubicBezTo>
                      <a:pt x="762" y="326"/>
                      <a:pt x="763" y="311"/>
                      <a:pt x="766" y="308"/>
                    </a:cubicBezTo>
                    <a:cubicBezTo>
                      <a:pt x="771" y="305"/>
                      <a:pt x="785" y="299"/>
                      <a:pt x="791" y="298"/>
                    </a:cubicBezTo>
                    <a:cubicBezTo>
                      <a:pt x="792" y="298"/>
                      <a:pt x="793" y="303"/>
                      <a:pt x="794" y="302"/>
                    </a:cubicBezTo>
                    <a:cubicBezTo>
                      <a:pt x="796" y="300"/>
                      <a:pt x="795" y="296"/>
                      <a:pt x="797" y="293"/>
                    </a:cubicBez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110" name="Azerbaijan" descr="{&quot;Key&quot;:&quot;azerbaijan&quot;,&quot;Name&quot;:&quot;Azerbaijan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9F4F8981-8722-9673-B75D-D751B75FE9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245735" y="4773960"/>
                <a:ext cx="496125" cy="503352"/>
              </a:xfrm>
              <a:custGeom>
                <a:avLst/>
                <a:gdLst>
                  <a:gd name="T0" fmla="*/ 7 w 297"/>
                  <a:gd name="T1" fmla="*/ 150 h 280"/>
                  <a:gd name="T2" fmla="*/ 9 w 297"/>
                  <a:gd name="T3" fmla="*/ 139 h 280"/>
                  <a:gd name="T4" fmla="*/ 31 w 297"/>
                  <a:gd name="T5" fmla="*/ 148 h 280"/>
                  <a:gd name="T6" fmla="*/ 82 w 297"/>
                  <a:gd name="T7" fmla="*/ 182 h 280"/>
                  <a:gd name="T8" fmla="*/ 70 w 297"/>
                  <a:gd name="T9" fmla="*/ 209 h 280"/>
                  <a:gd name="T10" fmla="*/ 132 w 297"/>
                  <a:gd name="T11" fmla="*/ 212 h 280"/>
                  <a:gd name="T12" fmla="*/ 137 w 297"/>
                  <a:gd name="T13" fmla="*/ 237 h 280"/>
                  <a:gd name="T14" fmla="*/ 152 w 297"/>
                  <a:gd name="T15" fmla="*/ 257 h 280"/>
                  <a:gd name="T16" fmla="*/ 168 w 297"/>
                  <a:gd name="T17" fmla="*/ 223 h 280"/>
                  <a:gd name="T18" fmla="*/ 197 w 297"/>
                  <a:gd name="T19" fmla="*/ 160 h 280"/>
                  <a:gd name="T20" fmla="*/ 227 w 297"/>
                  <a:gd name="T21" fmla="*/ 171 h 280"/>
                  <a:gd name="T22" fmla="*/ 228 w 297"/>
                  <a:gd name="T23" fmla="*/ 216 h 280"/>
                  <a:gd name="T24" fmla="*/ 256 w 297"/>
                  <a:gd name="T25" fmla="*/ 219 h 280"/>
                  <a:gd name="T26" fmla="*/ 268 w 297"/>
                  <a:gd name="T27" fmla="*/ 191 h 280"/>
                  <a:gd name="T28" fmla="*/ 275 w 297"/>
                  <a:gd name="T29" fmla="*/ 166 h 280"/>
                  <a:gd name="T30" fmla="*/ 279 w 297"/>
                  <a:gd name="T31" fmla="*/ 166 h 280"/>
                  <a:gd name="T32" fmla="*/ 281 w 297"/>
                  <a:gd name="T33" fmla="*/ 147 h 280"/>
                  <a:gd name="T34" fmla="*/ 268 w 297"/>
                  <a:gd name="T35" fmla="*/ 119 h 280"/>
                  <a:gd name="T36" fmla="*/ 267 w 297"/>
                  <a:gd name="T37" fmla="*/ 61 h 280"/>
                  <a:gd name="T38" fmla="*/ 279 w 297"/>
                  <a:gd name="T39" fmla="*/ 55 h 280"/>
                  <a:gd name="T40" fmla="*/ 268 w 297"/>
                  <a:gd name="T41" fmla="*/ 41 h 280"/>
                  <a:gd name="T42" fmla="*/ 227 w 297"/>
                  <a:gd name="T43" fmla="*/ 43 h 280"/>
                  <a:gd name="T44" fmla="*/ 152 w 297"/>
                  <a:gd name="T45" fmla="*/ 0 h 280"/>
                  <a:gd name="T46" fmla="*/ 142 w 297"/>
                  <a:gd name="T47" fmla="*/ 41 h 280"/>
                  <a:gd name="T48" fmla="*/ 93 w 297"/>
                  <a:gd name="T49" fmla="*/ 60 h 280"/>
                  <a:gd name="T50" fmla="*/ 61 w 297"/>
                  <a:gd name="T51" fmla="*/ 52 h 280"/>
                  <a:gd name="T52" fmla="*/ 50 w 297"/>
                  <a:gd name="T53" fmla="*/ 56 h 280"/>
                  <a:gd name="T54" fmla="*/ 43 w 297"/>
                  <a:gd name="T55" fmla="*/ 74 h 280"/>
                  <a:gd name="T56" fmla="*/ 54 w 297"/>
                  <a:gd name="T57" fmla="*/ 85 h 280"/>
                  <a:gd name="T58" fmla="*/ 47 w 297"/>
                  <a:gd name="T59" fmla="*/ 120 h 280"/>
                  <a:gd name="T60" fmla="*/ 35 w 297"/>
                  <a:gd name="T61" fmla="*/ 113 h 280"/>
                  <a:gd name="T62" fmla="*/ 134 w 297"/>
                  <a:gd name="T63" fmla="*/ 268 h 280"/>
                  <a:gd name="T64" fmla="*/ 112 w 297"/>
                  <a:gd name="T65" fmla="*/ 246 h 280"/>
                  <a:gd name="T66" fmla="*/ 78 w 297"/>
                  <a:gd name="T67" fmla="*/ 246 h 280"/>
                  <a:gd name="T68" fmla="*/ 48 w 297"/>
                  <a:gd name="T69" fmla="*/ 238 h 280"/>
                  <a:gd name="T70" fmla="*/ 55 w 297"/>
                  <a:gd name="T71" fmla="*/ 264 h 280"/>
                  <a:gd name="T72" fmla="*/ 82 w 297"/>
                  <a:gd name="T73" fmla="*/ 272 h 280"/>
                  <a:gd name="T74" fmla="*/ 134 w 297"/>
                  <a:gd name="T75" fmla="*/ 268 h 280"/>
                  <a:gd name="T76" fmla="*/ 151 w 297"/>
                  <a:gd name="T77" fmla="*/ 0 h 280"/>
                  <a:gd name="T78" fmla="*/ 151 w 297"/>
                  <a:gd name="T79" fmla="*/ 0 h 280"/>
                  <a:gd name="T80" fmla="*/ 46 w 297"/>
                  <a:gd name="T81" fmla="*/ 164 h 280"/>
                  <a:gd name="T82" fmla="*/ 150 w 297"/>
                  <a:gd name="T83" fmla="*/ 0 h 280"/>
                  <a:gd name="T84" fmla="*/ 150 w 297"/>
                  <a:gd name="T85" fmla="*/ 0 h 280"/>
                  <a:gd name="T86" fmla="*/ 150 w 297"/>
                  <a:gd name="T87" fmla="*/ 0 h 280"/>
                  <a:gd name="T88" fmla="*/ 151 w 297"/>
                  <a:gd name="T89" fmla="*/ 0 h 280"/>
                  <a:gd name="T90" fmla="*/ 152 w 297"/>
                  <a:gd name="T91" fmla="*/ 0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97" h="280">
                    <a:moveTo>
                      <a:pt x="7" y="150"/>
                    </a:moveTo>
                    <a:cubicBezTo>
                      <a:pt x="8" y="151"/>
                      <a:pt x="9" y="151"/>
                      <a:pt x="10" y="151"/>
                    </a:cubicBezTo>
                    <a:cubicBezTo>
                      <a:pt x="11" y="154"/>
                      <a:pt x="0" y="154"/>
                      <a:pt x="7" y="150"/>
                    </a:cubicBezTo>
                    <a:moveTo>
                      <a:pt x="0" y="137"/>
                    </a:moveTo>
                    <a:cubicBezTo>
                      <a:pt x="1" y="138"/>
                      <a:pt x="2" y="141"/>
                      <a:pt x="4" y="142"/>
                    </a:cubicBezTo>
                    <a:cubicBezTo>
                      <a:pt x="6" y="142"/>
                      <a:pt x="7" y="139"/>
                      <a:pt x="9" y="139"/>
                    </a:cubicBezTo>
                    <a:cubicBezTo>
                      <a:pt x="23" y="139"/>
                      <a:pt x="7" y="146"/>
                      <a:pt x="9" y="149"/>
                    </a:cubicBezTo>
                    <a:cubicBezTo>
                      <a:pt x="12" y="151"/>
                      <a:pt x="26" y="144"/>
                      <a:pt x="30" y="143"/>
                    </a:cubicBezTo>
                    <a:cubicBezTo>
                      <a:pt x="31" y="143"/>
                      <a:pt x="30" y="148"/>
                      <a:pt x="31" y="148"/>
                    </a:cubicBezTo>
                    <a:cubicBezTo>
                      <a:pt x="35" y="150"/>
                      <a:pt x="39" y="148"/>
                      <a:pt x="43" y="150"/>
                    </a:cubicBezTo>
                    <a:cubicBezTo>
                      <a:pt x="51" y="154"/>
                      <a:pt x="33" y="163"/>
                      <a:pt x="38" y="170"/>
                    </a:cubicBezTo>
                    <a:cubicBezTo>
                      <a:pt x="47" y="182"/>
                      <a:pt x="81" y="180"/>
                      <a:pt x="82" y="182"/>
                    </a:cubicBezTo>
                    <a:cubicBezTo>
                      <a:pt x="83" y="184"/>
                      <a:pt x="85" y="198"/>
                      <a:pt x="83" y="199"/>
                    </a:cubicBezTo>
                    <a:cubicBezTo>
                      <a:pt x="80" y="202"/>
                      <a:pt x="74" y="203"/>
                      <a:pt x="70" y="206"/>
                    </a:cubicBezTo>
                    <a:cubicBezTo>
                      <a:pt x="70" y="207"/>
                      <a:pt x="69" y="209"/>
                      <a:pt x="70" y="209"/>
                    </a:cubicBezTo>
                    <a:cubicBezTo>
                      <a:pt x="74" y="210"/>
                      <a:pt x="77" y="207"/>
                      <a:pt x="81" y="207"/>
                    </a:cubicBezTo>
                    <a:cubicBezTo>
                      <a:pt x="91" y="208"/>
                      <a:pt x="103" y="219"/>
                      <a:pt x="113" y="218"/>
                    </a:cubicBezTo>
                    <a:cubicBezTo>
                      <a:pt x="116" y="218"/>
                      <a:pt x="129" y="207"/>
                      <a:pt x="132" y="212"/>
                    </a:cubicBezTo>
                    <a:cubicBezTo>
                      <a:pt x="135" y="220"/>
                      <a:pt x="126" y="218"/>
                      <a:pt x="127" y="224"/>
                    </a:cubicBezTo>
                    <a:cubicBezTo>
                      <a:pt x="127" y="233"/>
                      <a:pt x="145" y="221"/>
                      <a:pt x="146" y="233"/>
                    </a:cubicBezTo>
                    <a:cubicBezTo>
                      <a:pt x="146" y="236"/>
                      <a:pt x="139" y="236"/>
                      <a:pt x="137" y="237"/>
                    </a:cubicBezTo>
                    <a:cubicBezTo>
                      <a:pt x="137" y="238"/>
                      <a:pt x="136" y="238"/>
                      <a:pt x="136" y="240"/>
                    </a:cubicBezTo>
                    <a:cubicBezTo>
                      <a:pt x="136" y="244"/>
                      <a:pt x="141" y="241"/>
                      <a:pt x="143" y="242"/>
                    </a:cubicBezTo>
                    <a:cubicBezTo>
                      <a:pt x="148" y="245"/>
                      <a:pt x="147" y="253"/>
                      <a:pt x="152" y="257"/>
                    </a:cubicBezTo>
                    <a:cubicBezTo>
                      <a:pt x="152" y="258"/>
                      <a:pt x="152" y="258"/>
                      <a:pt x="152" y="258"/>
                    </a:cubicBezTo>
                    <a:cubicBezTo>
                      <a:pt x="154" y="255"/>
                      <a:pt x="159" y="231"/>
                      <a:pt x="159" y="231"/>
                    </a:cubicBezTo>
                    <a:cubicBezTo>
                      <a:pt x="160" y="227"/>
                      <a:pt x="166" y="227"/>
                      <a:pt x="168" y="223"/>
                    </a:cubicBezTo>
                    <a:cubicBezTo>
                      <a:pt x="169" y="220"/>
                      <a:pt x="167" y="216"/>
                      <a:pt x="167" y="213"/>
                    </a:cubicBezTo>
                    <a:cubicBezTo>
                      <a:pt x="168" y="207"/>
                      <a:pt x="173" y="203"/>
                      <a:pt x="175" y="197"/>
                    </a:cubicBezTo>
                    <a:cubicBezTo>
                      <a:pt x="177" y="192"/>
                      <a:pt x="193" y="160"/>
                      <a:pt x="197" y="160"/>
                    </a:cubicBezTo>
                    <a:cubicBezTo>
                      <a:pt x="202" y="159"/>
                      <a:pt x="206" y="163"/>
                      <a:pt x="211" y="164"/>
                    </a:cubicBezTo>
                    <a:cubicBezTo>
                      <a:pt x="215" y="165"/>
                      <a:pt x="220" y="167"/>
                      <a:pt x="224" y="168"/>
                    </a:cubicBezTo>
                    <a:cubicBezTo>
                      <a:pt x="225" y="169"/>
                      <a:pt x="228" y="169"/>
                      <a:pt x="227" y="171"/>
                    </a:cubicBezTo>
                    <a:cubicBezTo>
                      <a:pt x="225" y="176"/>
                      <a:pt x="216" y="179"/>
                      <a:pt x="219" y="186"/>
                    </a:cubicBezTo>
                    <a:cubicBezTo>
                      <a:pt x="222" y="194"/>
                      <a:pt x="233" y="186"/>
                      <a:pt x="237" y="195"/>
                    </a:cubicBezTo>
                    <a:cubicBezTo>
                      <a:pt x="240" y="204"/>
                      <a:pt x="219" y="210"/>
                      <a:pt x="228" y="216"/>
                    </a:cubicBezTo>
                    <a:cubicBezTo>
                      <a:pt x="236" y="223"/>
                      <a:pt x="234" y="215"/>
                      <a:pt x="243" y="218"/>
                    </a:cubicBezTo>
                    <a:cubicBezTo>
                      <a:pt x="249" y="219"/>
                      <a:pt x="240" y="228"/>
                      <a:pt x="252" y="224"/>
                    </a:cubicBezTo>
                    <a:cubicBezTo>
                      <a:pt x="254" y="223"/>
                      <a:pt x="254" y="219"/>
                      <a:pt x="256" y="219"/>
                    </a:cubicBezTo>
                    <a:cubicBezTo>
                      <a:pt x="261" y="219"/>
                      <a:pt x="271" y="233"/>
                      <a:pt x="276" y="228"/>
                    </a:cubicBezTo>
                    <a:cubicBezTo>
                      <a:pt x="279" y="225"/>
                      <a:pt x="281" y="222"/>
                      <a:pt x="283" y="219"/>
                    </a:cubicBezTo>
                    <a:cubicBezTo>
                      <a:pt x="276" y="207"/>
                      <a:pt x="270" y="195"/>
                      <a:pt x="268" y="191"/>
                    </a:cubicBezTo>
                    <a:cubicBezTo>
                      <a:pt x="267" y="189"/>
                      <a:pt x="270" y="186"/>
                      <a:pt x="270" y="183"/>
                    </a:cubicBezTo>
                    <a:cubicBezTo>
                      <a:pt x="270" y="177"/>
                      <a:pt x="261" y="172"/>
                      <a:pt x="264" y="167"/>
                    </a:cubicBezTo>
                    <a:cubicBezTo>
                      <a:pt x="266" y="164"/>
                      <a:pt x="272" y="164"/>
                      <a:pt x="275" y="166"/>
                    </a:cubicBezTo>
                    <a:cubicBezTo>
                      <a:pt x="279" y="169"/>
                      <a:pt x="275" y="174"/>
                      <a:pt x="276" y="177"/>
                    </a:cubicBezTo>
                    <a:cubicBezTo>
                      <a:pt x="277" y="180"/>
                      <a:pt x="281" y="173"/>
                      <a:pt x="281" y="170"/>
                    </a:cubicBezTo>
                    <a:cubicBezTo>
                      <a:pt x="281" y="169"/>
                      <a:pt x="279" y="168"/>
                      <a:pt x="279" y="166"/>
                    </a:cubicBezTo>
                    <a:cubicBezTo>
                      <a:pt x="278" y="164"/>
                      <a:pt x="279" y="162"/>
                      <a:pt x="278" y="160"/>
                    </a:cubicBezTo>
                    <a:cubicBezTo>
                      <a:pt x="276" y="156"/>
                      <a:pt x="272" y="152"/>
                      <a:pt x="273" y="147"/>
                    </a:cubicBezTo>
                    <a:cubicBezTo>
                      <a:pt x="274" y="145"/>
                      <a:pt x="279" y="148"/>
                      <a:pt x="281" y="147"/>
                    </a:cubicBezTo>
                    <a:cubicBezTo>
                      <a:pt x="283" y="146"/>
                      <a:pt x="279" y="145"/>
                      <a:pt x="278" y="143"/>
                    </a:cubicBezTo>
                    <a:cubicBezTo>
                      <a:pt x="275" y="141"/>
                      <a:pt x="271" y="139"/>
                      <a:pt x="268" y="136"/>
                    </a:cubicBezTo>
                    <a:cubicBezTo>
                      <a:pt x="261" y="126"/>
                      <a:pt x="269" y="129"/>
                      <a:pt x="268" y="119"/>
                    </a:cubicBezTo>
                    <a:cubicBezTo>
                      <a:pt x="267" y="108"/>
                      <a:pt x="252" y="91"/>
                      <a:pt x="257" y="80"/>
                    </a:cubicBezTo>
                    <a:cubicBezTo>
                      <a:pt x="265" y="66"/>
                      <a:pt x="259" y="90"/>
                      <a:pt x="267" y="68"/>
                    </a:cubicBezTo>
                    <a:cubicBezTo>
                      <a:pt x="267" y="66"/>
                      <a:pt x="266" y="62"/>
                      <a:pt x="267" y="61"/>
                    </a:cubicBezTo>
                    <a:cubicBezTo>
                      <a:pt x="268" y="59"/>
                      <a:pt x="270" y="59"/>
                      <a:pt x="271" y="59"/>
                    </a:cubicBezTo>
                    <a:cubicBezTo>
                      <a:pt x="272" y="59"/>
                      <a:pt x="273" y="61"/>
                      <a:pt x="274" y="61"/>
                    </a:cubicBezTo>
                    <a:cubicBezTo>
                      <a:pt x="276" y="59"/>
                      <a:pt x="276" y="56"/>
                      <a:pt x="279" y="55"/>
                    </a:cubicBezTo>
                    <a:cubicBezTo>
                      <a:pt x="281" y="53"/>
                      <a:pt x="284" y="51"/>
                      <a:pt x="287" y="51"/>
                    </a:cubicBezTo>
                    <a:cubicBezTo>
                      <a:pt x="290" y="51"/>
                      <a:pt x="296" y="57"/>
                      <a:pt x="296" y="53"/>
                    </a:cubicBezTo>
                    <a:cubicBezTo>
                      <a:pt x="297" y="44"/>
                      <a:pt x="274" y="39"/>
                      <a:pt x="268" y="41"/>
                    </a:cubicBezTo>
                    <a:cubicBezTo>
                      <a:pt x="254" y="46"/>
                      <a:pt x="257" y="54"/>
                      <a:pt x="240" y="51"/>
                    </a:cubicBezTo>
                    <a:cubicBezTo>
                      <a:pt x="237" y="51"/>
                      <a:pt x="236" y="44"/>
                      <a:pt x="236" y="44"/>
                    </a:cubicBezTo>
                    <a:cubicBezTo>
                      <a:pt x="235" y="42"/>
                      <a:pt x="227" y="43"/>
                      <a:pt x="227" y="43"/>
                    </a:cubicBezTo>
                    <a:cubicBezTo>
                      <a:pt x="212" y="36"/>
                      <a:pt x="212" y="36"/>
                      <a:pt x="212" y="36"/>
                    </a:cubicBezTo>
                    <a:cubicBezTo>
                      <a:pt x="202" y="31"/>
                      <a:pt x="200" y="22"/>
                      <a:pt x="189" y="17"/>
                    </a:cubicBezTo>
                    <a:cubicBezTo>
                      <a:pt x="180" y="12"/>
                      <a:pt x="162" y="1"/>
                      <a:pt x="152" y="0"/>
                    </a:cubicBezTo>
                    <a:cubicBezTo>
                      <a:pt x="152" y="0"/>
                      <a:pt x="153" y="0"/>
                      <a:pt x="154" y="0"/>
                    </a:cubicBezTo>
                    <a:cubicBezTo>
                      <a:pt x="154" y="2"/>
                      <a:pt x="154" y="2"/>
                      <a:pt x="154" y="2"/>
                    </a:cubicBezTo>
                    <a:cubicBezTo>
                      <a:pt x="145" y="34"/>
                      <a:pt x="151" y="17"/>
                      <a:pt x="142" y="41"/>
                    </a:cubicBezTo>
                    <a:cubicBezTo>
                      <a:pt x="140" y="46"/>
                      <a:pt x="144" y="61"/>
                      <a:pt x="142" y="62"/>
                    </a:cubicBezTo>
                    <a:cubicBezTo>
                      <a:pt x="137" y="69"/>
                      <a:pt x="116" y="79"/>
                      <a:pt x="108" y="73"/>
                    </a:cubicBezTo>
                    <a:cubicBezTo>
                      <a:pt x="95" y="63"/>
                      <a:pt x="126" y="68"/>
                      <a:pt x="93" y="60"/>
                    </a:cubicBezTo>
                    <a:cubicBezTo>
                      <a:pt x="91" y="59"/>
                      <a:pt x="91" y="63"/>
                      <a:pt x="90" y="63"/>
                    </a:cubicBezTo>
                    <a:cubicBezTo>
                      <a:pt x="89" y="63"/>
                      <a:pt x="76" y="59"/>
                      <a:pt x="72" y="57"/>
                    </a:cubicBezTo>
                    <a:cubicBezTo>
                      <a:pt x="61" y="52"/>
                      <a:pt x="61" y="52"/>
                      <a:pt x="61" y="52"/>
                    </a:cubicBezTo>
                    <a:cubicBezTo>
                      <a:pt x="61" y="52"/>
                      <a:pt x="61" y="52"/>
                      <a:pt x="61" y="52"/>
                    </a:cubicBezTo>
                    <a:cubicBezTo>
                      <a:pt x="59" y="53"/>
                      <a:pt x="57" y="55"/>
                      <a:pt x="56" y="55"/>
                    </a:cubicBezTo>
                    <a:cubicBezTo>
                      <a:pt x="55" y="55"/>
                      <a:pt x="52" y="56"/>
                      <a:pt x="50" y="56"/>
                    </a:cubicBezTo>
                    <a:cubicBezTo>
                      <a:pt x="50" y="57"/>
                      <a:pt x="50" y="57"/>
                      <a:pt x="50" y="57"/>
                    </a:cubicBezTo>
                    <a:cubicBezTo>
                      <a:pt x="49" y="62"/>
                      <a:pt x="50" y="66"/>
                      <a:pt x="48" y="71"/>
                    </a:cubicBezTo>
                    <a:cubicBezTo>
                      <a:pt x="48" y="73"/>
                      <a:pt x="44" y="72"/>
                      <a:pt x="43" y="74"/>
                    </a:cubicBezTo>
                    <a:cubicBezTo>
                      <a:pt x="42" y="76"/>
                      <a:pt x="48" y="84"/>
                      <a:pt x="51" y="84"/>
                    </a:cubicBezTo>
                    <a:cubicBezTo>
                      <a:pt x="52" y="84"/>
                      <a:pt x="56" y="81"/>
                      <a:pt x="56" y="82"/>
                    </a:cubicBezTo>
                    <a:cubicBezTo>
                      <a:pt x="56" y="83"/>
                      <a:pt x="54" y="84"/>
                      <a:pt x="54" y="85"/>
                    </a:cubicBezTo>
                    <a:cubicBezTo>
                      <a:pt x="53" y="87"/>
                      <a:pt x="89" y="83"/>
                      <a:pt x="85" y="102"/>
                    </a:cubicBezTo>
                    <a:cubicBezTo>
                      <a:pt x="80" y="124"/>
                      <a:pt x="75" y="105"/>
                      <a:pt x="62" y="110"/>
                    </a:cubicBezTo>
                    <a:cubicBezTo>
                      <a:pt x="51" y="114"/>
                      <a:pt x="58" y="120"/>
                      <a:pt x="47" y="120"/>
                    </a:cubicBezTo>
                    <a:cubicBezTo>
                      <a:pt x="43" y="120"/>
                      <a:pt x="39" y="119"/>
                      <a:pt x="34" y="119"/>
                    </a:cubicBezTo>
                    <a:cubicBezTo>
                      <a:pt x="34" y="119"/>
                      <a:pt x="33" y="119"/>
                      <a:pt x="33" y="118"/>
                    </a:cubicBezTo>
                    <a:cubicBezTo>
                      <a:pt x="33" y="116"/>
                      <a:pt x="37" y="113"/>
                      <a:pt x="35" y="113"/>
                    </a:cubicBezTo>
                    <a:cubicBezTo>
                      <a:pt x="26" y="110"/>
                      <a:pt x="18" y="114"/>
                      <a:pt x="10" y="116"/>
                    </a:cubicBezTo>
                    <a:cubicBezTo>
                      <a:pt x="3" y="119"/>
                      <a:pt x="3" y="130"/>
                      <a:pt x="0" y="137"/>
                    </a:cubicBezTo>
                    <a:close/>
                    <a:moveTo>
                      <a:pt x="134" y="268"/>
                    </a:moveTo>
                    <a:cubicBezTo>
                      <a:pt x="129" y="265"/>
                      <a:pt x="114" y="253"/>
                      <a:pt x="114" y="253"/>
                    </a:cubicBezTo>
                    <a:cubicBezTo>
                      <a:pt x="113" y="251"/>
                      <a:pt x="115" y="249"/>
                      <a:pt x="114" y="247"/>
                    </a:cubicBezTo>
                    <a:cubicBezTo>
                      <a:pt x="114" y="246"/>
                      <a:pt x="112" y="246"/>
                      <a:pt x="112" y="246"/>
                    </a:cubicBezTo>
                    <a:cubicBezTo>
                      <a:pt x="107" y="245"/>
                      <a:pt x="103" y="246"/>
                      <a:pt x="99" y="246"/>
                    </a:cubicBezTo>
                    <a:cubicBezTo>
                      <a:pt x="98" y="246"/>
                      <a:pt x="100" y="227"/>
                      <a:pt x="89" y="233"/>
                    </a:cubicBezTo>
                    <a:cubicBezTo>
                      <a:pt x="78" y="246"/>
                      <a:pt x="78" y="246"/>
                      <a:pt x="78" y="246"/>
                    </a:cubicBezTo>
                    <a:cubicBezTo>
                      <a:pt x="73" y="247"/>
                      <a:pt x="69" y="242"/>
                      <a:pt x="65" y="243"/>
                    </a:cubicBezTo>
                    <a:cubicBezTo>
                      <a:pt x="63" y="244"/>
                      <a:pt x="64" y="247"/>
                      <a:pt x="63" y="248"/>
                    </a:cubicBezTo>
                    <a:cubicBezTo>
                      <a:pt x="57" y="255"/>
                      <a:pt x="63" y="234"/>
                      <a:pt x="48" y="238"/>
                    </a:cubicBezTo>
                    <a:cubicBezTo>
                      <a:pt x="43" y="239"/>
                      <a:pt x="41" y="246"/>
                      <a:pt x="38" y="250"/>
                    </a:cubicBezTo>
                    <a:cubicBezTo>
                      <a:pt x="42" y="252"/>
                      <a:pt x="45" y="254"/>
                      <a:pt x="46" y="254"/>
                    </a:cubicBezTo>
                    <a:cubicBezTo>
                      <a:pt x="50" y="257"/>
                      <a:pt x="51" y="262"/>
                      <a:pt x="55" y="264"/>
                    </a:cubicBezTo>
                    <a:cubicBezTo>
                      <a:pt x="58" y="266"/>
                      <a:pt x="63" y="266"/>
                      <a:pt x="66" y="267"/>
                    </a:cubicBezTo>
                    <a:cubicBezTo>
                      <a:pt x="69" y="268"/>
                      <a:pt x="70" y="272"/>
                      <a:pt x="73" y="272"/>
                    </a:cubicBezTo>
                    <a:cubicBezTo>
                      <a:pt x="76" y="273"/>
                      <a:pt x="80" y="271"/>
                      <a:pt x="82" y="272"/>
                    </a:cubicBezTo>
                    <a:cubicBezTo>
                      <a:pt x="86" y="274"/>
                      <a:pt x="88" y="279"/>
                      <a:pt x="93" y="280"/>
                    </a:cubicBezTo>
                    <a:cubicBezTo>
                      <a:pt x="118" y="276"/>
                      <a:pt x="118" y="276"/>
                      <a:pt x="118" y="276"/>
                    </a:cubicBezTo>
                    <a:cubicBezTo>
                      <a:pt x="132" y="273"/>
                      <a:pt x="133" y="271"/>
                      <a:pt x="134" y="268"/>
                    </a:cubicBezTo>
                    <a:close/>
                    <a:moveTo>
                      <a:pt x="150" y="0"/>
                    </a:moveTo>
                    <a:cubicBezTo>
                      <a:pt x="150" y="0"/>
                      <a:pt x="150" y="0"/>
                      <a:pt x="150" y="0"/>
                    </a:cubicBezTo>
                    <a:moveTo>
                      <a:pt x="151" y="0"/>
                    </a:moveTo>
                    <a:cubicBezTo>
                      <a:pt x="151" y="0"/>
                      <a:pt x="151" y="0"/>
                      <a:pt x="151" y="0"/>
                    </a:cubicBezTo>
                    <a:moveTo>
                      <a:pt x="151" y="0"/>
                    </a:moveTo>
                    <a:cubicBezTo>
                      <a:pt x="151" y="0"/>
                      <a:pt x="151" y="0"/>
                      <a:pt x="151" y="0"/>
                    </a:cubicBezTo>
                    <a:moveTo>
                      <a:pt x="46" y="164"/>
                    </a:moveTo>
                    <a:cubicBezTo>
                      <a:pt x="53" y="165"/>
                      <a:pt x="43" y="172"/>
                      <a:pt x="44" y="167"/>
                    </a:cubicBezTo>
                    <a:cubicBezTo>
                      <a:pt x="44" y="166"/>
                      <a:pt x="45" y="165"/>
                      <a:pt x="46" y="164"/>
                    </a:cubicBezTo>
                    <a:close/>
                    <a:moveTo>
                      <a:pt x="150" y="0"/>
                    </a:moveTo>
                    <a:cubicBezTo>
                      <a:pt x="150" y="0"/>
                      <a:pt x="150" y="0"/>
                      <a:pt x="150" y="0"/>
                    </a:cubicBezTo>
                    <a:cubicBezTo>
                      <a:pt x="150" y="0"/>
                      <a:pt x="150" y="0"/>
                      <a:pt x="150" y="0"/>
                    </a:cubicBezTo>
                    <a:close/>
                    <a:moveTo>
                      <a:pt x="150" y="0"/>
                    </a:moveTo>
                    <a:cubicBezTo>
                      <a:pt x="150" y="0"/>
                      <a:pt x="150" y="0"/>
                      <a:pt x="150" y="0"/>
                    </a:cubicBezTo>
                    <a:moveTo>
                      <a:pt x="150" y="0"/>
                    </a:moveTo>
                    <a:cubicBezTo>
                      <a:pt x="150" y="0"/>
                      <a:pt x="150" y="0"/>
                      <a:pt x="150" y="0"/>
                    </a:cubicBezTo>
                    <a:cubicBezTo>
                      <a:pt x="151" y="0"/>
                      <a:pt x="151" y="0"/>
                      <a:pt x="151" y="0"/>
                    </a:cubicBezTo>
                    <a:lnTo>
                      <a:pt x="150" y="0"/>
                    </a:lnTo>
                    <a:close/>
                    <a:moveTo>
                      <a:pt x="151" y="0"/>
                    </a:moveTo>
                    <a:cubicBezTo>
                      <a:pt x="151" y="0"/>
                      <a:pt x="151" y="0"/>
                      <a:pt x="151" y="0"/>
                    </a:cubicBezTo>
                    <a:cubicBezTo>
                      <a:pt x="151" y="0"/>
                      <a:pt x="151" y="0"/>
                      <a:pt x="151" y="0"/>
                    </a:cubicBezTo>
                    <a:close/>
                    <a:moveTo>
                      <a:pt x="151" y="0"/>
                    </a:moveTo>
                    <a:cubicBezTo>
                      <a:pt x="151" y="0"/>
                      <a:pt x="151" y="0"/>
                      <a:pt x="151" y="0"/>
                    </a:cubicBezTo>
                    <a:moveTo>
                      <a:pt x="152" y="0"/>
                    </a:moveTo>
                    <a:cubicBezTo>
                      <a:pt x="152" y="0"/>
                      <a:pt x="152" y="0"/>
                      <a:pt x="152" y="0"/>
                    </a:cubicBezTo>
                  </a:path>
                </a:pathLst>
              </a:custGeom>
              <a:grpFill/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111" name="Georgia" descr="{&quot;Key&quot;:&quot;georgia&quot;,&quot;Name&quot;:&quot;Georgia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D8B1BBD4-DE25-FC75-2A37-D193371556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5547" y="4839270"/>
                <a:ext cx="678285" cy="310613"/>
              </a:xfrm>
              <a:custGeom>
                <a:avLst/>
                <a:gdLst>
                  <a:gd name="T0" fmla="*/ 365 w 406"/>
                  <a:gd name="T1" fmla="*/ 35 h 173"/>
                  <a:gd name="T2" fmla="*/ 368 w 406"/>
                  <a:gd name="T3" fmla="*/ 48 h 173"/>
                  <a:gd name="T4" fmla="*/ 371 w 406"/>
                  <a:gd name="T5" fmla="*/ 49 h 173"/>
                  <a:gd name="T6" fmla="*/ 379 w 406"/>
                  <a:gd name="T7" fmla="*/ 74 h 173"/>
                  <a:gd name="T8" fmla="*/ 351 w 406"/>
                  <a:gd name="T9" fmla="*/ 83 h 173"/>
                  <a:gd name="T10" fmla="*/ 352 w 406"/>
                  <a:gd name="T11" fmla="*/ 77 h 173"/>
                  <a:gd name="T12" fmla="*/ 314 w 406"/>
                  <a:gd name="T13" fmla="*/ 104 h 173"/>
                  <a:gd name="T14" fmla="*/ 312 w 406"/>
                  <a:gd name="T15" fmla="*/ 110 h 173"/>
                  <a:gd name="T16" fmla="*/ 246 w 406"/>
                  <a:gd name="T17" fmla="*/ 152 h 173"/>
                  <a:gd name="T18" fmla="*/ 244 w 406"/>
                  <a:gd name="T19" fmla="*/ 150 h 173"/>
                  <a:gd name="T20" fmla="*/ 231 w 406"/>
                  <a:gd name="T21" fmla="*/ 154 h 173"/>
                  <a:gd name="T22" fmla="*/ 224 w 406"/>
                  <a:gd name="T23" fmla="*/ 152 h 173"/>
                  <a:gd name="T24" fmla="*/ 214 w 406"/>
                  <a:gd name="T25" fmla="*/ 144 h 173"/>
                  <a:gd name="T26" fmla="*/ 204 w 406"/>
                  <a:gd name="T27" fmla="*/ 144 h 173"/>
                  <a:gd name="T28" fmla="*/ 195 w 406"/>
                  <a:gd name="T29" fmla="*/ 139 h 173"/>
                  <a:gd name="T30" fmla="*/ 187 w 406"/>
                  <a:gd name="T31" fmla="*/ 154 h 173"/>
                  <a:gd name="T32" fmla="*/ 157 w 406"/>
                  <a:gd name="T33" fmla="*/ 163 h 173"/>
                  <a:gd name="T34" fmla="*/ 145 w 406"/>
                  <a:gd name="T35" fmla="*/ 172 h 173"/>
                  <a:gd name="T36" fmla="*/ 135 w 406"/>
                  <a:gd name="T37" fmla="*/ 172 h 173"/>
                  <a:gd name="T38" fmla="*/ 140 w 406"/>
                  <a:gd name="T39" fmla="*/ 145 h 173"/>
                  <a:gd name="T40" fmla="*/ 99 w 406"/>
                  <a:gd name="T41" fmla="*/ 93 h 173"/>
                  <a:gd name="T42" fmla="*/ 81 w 406"/>
                  <a:gd name="T43" fmla="*/ 94 h 173"/>
                  <a:gd name="T44" fmla="*/ 45 w 406"/>
                  <a:gd name="T45" fmla="*/ 86 h 173"/>
                  <a:gd name="T46" fmla="*/ 32 w 406"/>
                  <a:gd name="T47" fmla="*/ 86 h 173"/>
                  <a:gd name="T48" fmla="*/ 20 w 406"/>
                  <a:gd name="T49" fmla="*/ 79 h 173"/>
                  <a:gd name="T50" fmla="*/ 3 w 406"/>
                  <a:gd name="T51" fmla="*/ 80 h 173"/>
                  <a:gd name="T52" fmla="*/ 7 w 406"/>
                  <a:gd name="T53" fmla="*/ 78 h 173"/>
                  <a:gd name="T54" fmla="*/ 37 w 406"/>
                  <a:gd name="T55" fmla="*/ 52 h 173"/>
                  <a:gd name="T56" fmla="*/ 77 w 406"/>
                  <a:gd name="T57" fmla="*/ 50 h 173"/>
                  <a:gd name="T58" fmla="*/ 115 w 406"/>
                  <a:gd name="T59" fmla="*/ 45 h 173"/>
                  <a:gd name="T60" fmla="*/ 144 w 406"/>
                  <a:gd name="T61" fmla="*/ 34 h 173"/>
                  <a:gd name="T62" fmla="*/ 165 w 406"/>
                  <a:gd name="T63" fmla="*/ 32 h 173"/>
                  <a:gd name="T64" fmla="*/ 213 w 406"/>
                  <a:gd name="T65" fmla="*/ 32 h 173"/>
                  <a:gd name="T66" fmla="*/ 249 w 406"/>
                  <a:gd name="T67" fmla="*/ 12 h 173"/>
                  <a:gd name="T68" fmla="*/ 266 w 406"/>
                  <a:gd name="T69" fmla="*/ 3 h 173"/>
                  <a:gd name="T70" fmla="*/ 302 w 406"/>
                  <a:gd name="T71" fmla="*/ 2 h 173"/>
                  <a:gd name="T72" fmla="*/ 317 w 406"/>
                  <a:gd name="T73" fmla="*/ 22 h 173"/>
                  <a:gd name="T74" fmla="*/ 327 w 406"/>
                  <a:gd name="T75" fmla="*/ 22 h 173"/>
                  <a:gd name="T76" fmla="*/ 339 w 406"/>
                  <a:gd name="T77" fmla="*/ 26 h 173"/>
                  <a:gd name="T78" fmla="*/ 360 w 406"/>
                  <a:gd name="T79" fmla="*/ 22 h 173"/>
                  <a:gd name="T80" fmla="*/ 367 w 406"/>
                  <a:gd name="T81" fmla="*/ 21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06" h="173">
                    <a:moveTo>
                      <a:pt x="367" y="21"/>
                    </a:moveTo>
                    <a:cubicBezTo>
                      <a:pt x="366" y="26"/>
                      <a:pt x="367" y="30"/>
                      <a:pt x="365" y="35"/>
                    </a:cubicBezTo>
                    <a:cubicBezTo>
                      <a:pt x="365" y="37"/>
                      <a:pt x="361" y="36"/>
                      <a:pt x="360" y="38"/>
                    </a:cubicBezTo>
                    <a:cubicBezTo>
                      <a:pt x="359" y="40"/>
                      <a:pt x="365" y="48"/>
                      <a:pt x="368" y="48"/>
                    </a:cubicBezTo>
                    <a:cubicBezTo>
                      <a:pt x="369" y="48"/>
                      <a:pt x="373" y="45"/>
                      <a:pt x="373" y="46"/>
                    </a:cubicBezTo>
                    <a:cubicBezTo>
                      <a:pt x="373" y="47"/>
                      <a:pt x="371" y="48"/>
                      <a:pt x="371" y="49"/>
                    </a:cubicBezTo>
                    <a:cubicBezTo>
                      <a:pt x="370" y="51"/>
                      <a:pt x="406" y="47"/>
                      <a:pt x="402" y="66"/>
                    </a:cubicBezTo>
                    <a:cubicBezTo>
                      <a:pt x="397" y="88"/>
                      <a:pt x="392" y="69"/>
                      <a:pt x="379" y="74"/>
                    </a:cubicBezTo>
                    <a:cubicBezTo>
                      <a:pt x="368" y="78"/>
                      <a:pt x="375" y="84"/>
                      <a:pt x="364" y="84"/>
                    </a:cubicBezTo>
                    <a:cubicBezTo>
                      <a:pt x="360" y="84"/>
                      <a:pt x="356" y="83"/>
                      <a:pt x="351" y="83"/>
                    </a:cubicBezTo>
                    <a:cubicBezTo>
                      <a:pt x="351" y="83"/>
                      <a:pt x="350" y="83"/>
                      <a:pt x="350" y="82"/>
                    </a:cubicBezTo>
                    <a:cubicBezTo>
                      <a:pt x="350" y="80"/>
                      <a:pt x="354" y="77"/>
                      <a:pt x="352" y="77"/>
                    </a:cubicBezTo>
                    <a:cubicBezTo>
                      <a:pt x="343" y="74"/>
                      <a:pt x="335" y="78"/>
                      <a:pt x="327" y="80"/>
                    </a:cubicBezTo>
                    <a:cubicBezTo>
                      <a:pt x="318" y="83"/>
                      <a:pt x="321" y="99"/>
                      <a:pt x="314" y="104"/>
                    </a:cubicBezTo>
                    <a:cubicBezTo>
                      <a:pt x="312" y="105"/>
                      <a:pt x="305" y="106"/>
                      <a:pt x="308" y="107"/>
                    </a:cubicBezTo>
                    <a:cubicBezTo>
                      <a:pt x="309" y="108"/>
                      <a:pt x="313" y="109"/>
                      <a:pt x="312" y="110"/>
                    </a:cubicBezTo>
                    <a:cubicBezTo>
                      <a:pt x="302" y="116"/>
                      <a:pt x="286" y="119"/>
                      <a:pt x="278" y="126"/>
                    </a:cubicBezTo>
                    <a:cubicBezTo>
                      <a:pt x="268" y="135"/>
                      <a:pt x="260" y="145"/>
                      <a:pt x="246" y="152"/>
                    </a:cubicBezTo>
                    <a:cubicBezTo>
                      <a:pt x="245" y="153"/>
                      <a:pt x="245" y="153"/>
                      <a:pt x="245" y="153"/>
                    </a:cubicBezTo>
                    <a:cubicBezTo>
                      <a:pt x="245" y="152"/>
                      <a:pt x="245" y="151"/>
                      <a:pt x="244" y="150"/>
                    </a:cubicBezTo>
                    <a:cubicBezTo>
                      <a:pt x="243" y="149"/>
                      <a:pt x="240" y="148"/>
                      <a:pt x="239" y="149"/>
                    </a:cubicBezTo>
                    <a:cubicBezTo>
                      <a:pt x="236" y="150"/>
                      <a:pt x="234" y="153"/>
                      <a:pt x="231" y="154"/>
                    </a:cubicBezTo>
                    <a:cubicBezTo>
                      <a:pt x="230" y="154"/>
                      <a:pt x="230" y="150"/>
                      <a:pt x="228" y="150"/>
                    </a:cubicBezTo>
                    <a:cubicBezTo>
                      <a:pt x="226" y="150"/>
                      <a:pt x="225" y="154"/>
                      <a:pt x="224" y="152"/>
                    </a:cubicBezTo>
                    <a:cubicBezTo>
                      <a:pt x="223" y="150"/>
                      <a:pt x="226" y="149"/>
                      <a:pt x="226" y="146"/>
                    </a:cubicBezTo>
                    <a:cubicBezTo>
                      <a:pt x="227" y="142"/>
                      <a:pt x="218" y="145"/>
                      <a:pt x="214" y="144"/>
                    </a:cubicBezTo>
                    <a:cubicBezTo>
                      <a:pt x="211" y="143"/>
                      <a:pt x="208" y="141"/>
                      <a:pt x="205" y="141"/>
                    </a:cubicBezTo>
                    <a:cubicBezTo>
                      <a:pt x="204" y="141"/>
                      <a:pt x="205" y="144"/>
                      <a:pt x="204" y="144"/>
                    </a:cubicBezTo>
                    <a:cubicBezTo>
                      <a:pt x="195" y="146"/>
                      <a:pt x="202" y="139"/>
                      <a:pt x="200" y="136"/>
                    </a:cubicBezTo>
                    <a:cubicBezTo>
                      <a:pt x="198" y="135"/>
                      <a:pt x="196" y="138"/>
                      <a:pt x="195" y="139"/>
                    </a:cubicBezTo>
                    <a:cubicBezTo>
                      <a:pt x="192" y="140"/>
                      <a:pt x="188" y="140"/>
                      <a:pt x="187" y="142"/>
                    </a:cubicBezTo>
                    <a:cubicBezTo>
                      <a:pt x="185" y="146"/>
                      <a:pt x="189" y="150"/>
                      <a:pt x="187" y="154"/>
                    </a:cubicBezTo>
                    <a:cubicBezTo>
                      <a:pt x="185" y="156"/>
                      <a:pt x="182" y="155"/>
                      <a:pt x="180" y="156"/>
                    </a:cubicBezTo>
                    <a:cubicBezTo>
                      <a:pt x="172" y="158"/>
                      <a:pt x="163" y="158"/>
                      <a:pt x="157" y="163"/>
                    </a:cubicBezTo>
                    <a:cubicBezTo>
                      <a:pt x="155" y="165"/>
                      <a:pt x="157" y="169"/>
                      <a:pt x="154" y="171"/>
                    </a:cubicBezTo>
                    <a:cubicBezTo>
                      <a:pt x="152" y="173"/>
                      <a:pt x="148" y="172"/>
                      <a:pt x="145" y="172"/>
                    </a:cubicBezTo>
                    <a:cubicBezTo>
                      <a:pt x="142" y="172"/>
                      <a:pt x="140" y="172"/>
                      <a:pt x="136" y="172"/>
                    </a:cubicBezTo>
                    <a:cubicBezTo>
                      <a:pt x="135" y="172"/>
                      <a:pt x="135" y="172"/>
                      <a:pt x="135" y="172"/>
                    </a:cubicBezTo>
                    <a:cubicBezTo>
                      <a:pt x="136" y="169"/>
                      <a:pt x="136" y="166"/>
                      <a:pt x="137" y="163"/>
                    </a:cubicBezTo>
                    <a:cubicBezTo>
                      <a:pt x="140" y="153"/>
                      <a:pt x="144" y="155"/>
                      <a:pt x="140" y="145"/>
                    </a:cubicBezTo>
                    <a:cubicBezTo>
                      <a:pt x="136" y="131"/>
                      <a:pt x="121" y="124"/>
                      <a:pt x="112" y="112"/>
                    </a:cubicBezTo>
                    <a:cubicBezTo>
                      <a:pt x="108" y="107"/>
                      <a:pt x="106" y="96"/>
                      <a:pt x="99" y="93"/>
                    </a:cubicBezTo>
                    <a:cubicBezTo>
                      <a:pt x="95" y="91"/>
                      <a:pt x="90" y="92"/>
                      <a:pt x="86" y="92"/>
                    </a:cubicBezTo>
                    <a:cubicBezTo>
                      <a:pt x="84" y="92"/>
                      <a:pt x="83" y="94"/>
                      <a:pt x="81" y="94"/>
                    </a:cubicBezTo>
                    <a:cubicBezTo>
                      <a:pt x="76" y="94"/>
                      <a:pt x="75" y="86"/>
                      <a:pt x="70" y="84"/>
                    </a:cubicBezTo>
                    <a:cubicBezTo>
                      <a:pt x="56" y="78"/>
                      <a:pt x="56" y="83"/>
                      <a:pt x="45" y="86"/>
                    </a:cubicBezTo>
                    <a:cubicBezTo>
                      <a:pt x="43" y="87"/>
                      <a:pt x="42" y="86"/>
                      <a:pt x="40" y="86"/>
                    </a:cubicBezTo>
                    <a:cubicBezTo>
                      <a:pt x="37" y="86"/>
                      <a:pt x="34" y="85"/>
                      <a:pt x="32" y="86"/>
                    </a:cubicBezTo>
                    <a:cubicBezTo>
                      <a:pt x="30" y="86"/>
                      <a:pt x="32" y="88"/>
                      <a:pt x="31" y="89"/>
                    </a:cubicBezTo>
                    <a:cubicBezTo>
                      <a:pt x="26" y="91"/>
                      <a:pt x="25" y="80"/>
                      <a:pt x="20" y="79"/>
                    </a:cubicBezTo>
                    <a:cubicBezTo>
                      <a:pt x="16" y="77"/>
                      <a:pt x="12" y="79"/>
                      <a:pt x="7" y="79"/>
                    </a:cubicBezTo>
                    <a:cubicBezTo>
                      <a:pt x="6" y="79"/>
                      <a:pt x="4" y="80"/>
                      <a:pt x="3" y="80"/>
                    </a:cubicBezTo>
                    <a:cubicBezTo>
                      <a:pt x="2" y="79"/>
                      <a:pt x="1" y="79"/>
                      <a:pt x="0" y="77"/>
                    </a:cubicBezTo>
                    <a:cubicBezTo>
                      <a:pt x="7" y="78"/>
                      <a:pt x="7" y="78"/>
                      <a:pt x="7" y="78"/>
                    </a:cubicBezTo>
                    <a:cubicBezTo>
                      <a:pt x="7" y="51"/>
                      <a:pt x="13" y="66"/>
                      <a:pt x="30" y="58"/>
                    </a:cubicBezTo>
                    <a:cubicBezTo>
                      <a:pt x="33" y="56"/>
                      <a:pt x="34" y="53"/>
                      <a:pt x="37" y="52"/>
                    </a:cubicBezTo>
                    <a:cubicBezTo>
                      <a:pt x="45" y="50"/>
                      <a:pt x="52" y="58"/>
                      <a:pt x="59" y="56"/>
                    </a:cubicBezTo>
                    <a:cubicBezTo>
                      <a:pt x="60" y="56"/>
                      <a:pt x="75" y="50"/>
                      <a:pt x="77" y="50"/>
                    </a:cubicBezTo>
                    <a:cubicBezTo>
                      <a:pt x="81" y="50"/>
                      <a:pt x="85" y="55"/>
                      <a:pt x="90" y="55"/>
                    </a:cubicBezTo>
                    <a:cubicBezTo>
                      <a:pt x="90" y="55"/>
                      <a:pt x="115" y="45"/>
                      <a:pt x="115" y="45"/>
                    </a:cubicBezTo>
                    <a:cubicBezTo>
                      <a:pt x="130" y="36"/>
                      <a:pt x="98" y="41"/>
                      <a:pt x="131" y="33"/>
                    </a:cubicBezTo>
                    <a:cubicBezTo>
                      <a:pt x="135" y="33"/>
                      <a:pt x="140" y="35"/>
                      <a:pt x="144" y="34"/>
                    </a:cubicBezTo>
                    <a:cubicBezTo>
                      <a:pt x="144" y="34"/>
                      <a:pt x="154" y="26"/>
                      <a:pt x="163" y="28"/>
                    </a:cubicBezTo>
                    <a:cubicBezTo>
                      <a:pt x="164" y="29"/>
                      <a:pt x="163" y="31"/>
                      <a:pt x="165" y="32"/>
                    </a:cubicBezTo>
                    <a:cubicBezTo>
                      <a:pt x="167" y="33"/>
                      <a:pt x="170" y="34"/>
                      <a:pt x="172" y="35"/>
                    </a:cubicBezTo>
                    <a:cubicBezTo>
                      <a:pt x="185" y="36"/>
                      <a:pt x="200" y="32"/>
                      <a:pt x="213" y="32"/>
                    </a:cubicBezTo>
                    <a:cubicBezTo>
                      <a:pt x="217" y="32"/>
                      <a:pt x="207" y="43"/>
                      <a:pt x="215" y="43"/>
                    </a:cubicBezTo>
                    <a:cubicBezTo>
                      <a:pt x="238" y="43"/>
                      <a:pt x="232" y="20"/>
                      <a:pt x="249" y="12"/>
                    </a:cubicBezTo>
                    <a:cubicBezTo>
                      <a:pt x="254" y="10"/>
                      <a:pt x="260" y="20"/>
                      <a:pt x="264" y="17"/>
                    </a:cubicBezTo>
                    <a:cubicBezTo>
                      <a:pt x="268" y="14"/>
                      <a:pt x="261" y="4"/>
                      <a:pt x="266" y="3"/>
                    </a:cubicBezTo>
                    <a:cubicBezTo>
                      <a:pt x="283" y="0"/>
                      <a:pt x="282" y="8"/>
                      <a:pt x="294" y="8"/>
                    </a:cubicBezTo>
                    <a:cubicBezTo>
                      <a:pt x="297" y="8"/>
                      <a:pt x="299" y="3"/>
                      <a:pt x="302" y="2"/>
                    </a:cubicBezTo>
                    <a:cubicBezTo>
                      <a:pt x="305" y="0"/>
                      <a:pt x="309" y="0"/>
                      <a:pt x="313" y="0"/>
                    </a:cubicBezTo>
                    <a:cubicBezTo>
                      <a:pt x="319" y="0"/>
                      <a:pt x="316" y="19"/>
                      <a:pt x="317" y="22"/>
                    </a:cubicBezTo>
                    <a:cubicBezTo>
                      <a:pt x="317" y="23"/>
                      <a:pt x="318" y="22"/>
                      <a:pt x="319" y="22"/>
                    </a:cubicBezTo>
                    <a:cubicBezTo>
                      <a:pt x="322" y="22"/>
                      <a:pt x="324" y="22"/>
                      <a:pt x="327" y="22"/>
                    </a:cubicBezTo>
                    <a:cubicBezTo>
                      <a:pt x="329" y="22"/>
                      <a:pt x="332" y="21"/>
                      <a:pt x="334" y="22"/>
                    </a:cubicBezTo>
                    <a:cubicBezTo>
                      <a:pt x="337" y="23"/>
                      <a:pt x="338" y="26"/>
                      <a:pt x="339" y="26"/>
                    </a:cubicBezTo>
                    <a:cubicBezTo>
                      <a:pt x="340" y="26"/>
                      <a:pt x="354" y="20"/>
                      <a:pt x="354" y="20"/>
                    </a:cubicBezTo>
                    <a:cubicBezTo>
                      <a:pt x="356" y="20"/>
                      <a:pt x="358" y="22"/>
                      <a:pt x="360" y="22"/>
                    </a:cubicBezTo>
                    <a:cubicBezTo>
                      <a:pt x="361" y="22"/>
                      <a:pt x="364" y="21"/>
                      <a:pt x="367" y="20"/>
                    </a:cubicBezTo>
                    <a:lnTo>
                      <a:pt x="367" y="21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112" name="Turkey" descr="{&quot;Key&quot;:&quot;turkey&quot;,&quot;Name&quot;:&quot;Turkey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1CB0EE09-D64E-2618-4B6B-85758215ED1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91490" y="5081389"/>
                <a:ext cx="1849734" cy="1181922"/>
              </a:xfrm>
              <a:custGeom>
                <a:avLst/>
                <a:gdLst>
                  <a:gd name="T0" fmla="*/ 1002 w 1106"/>
                  <a:gd name="T1" fmla="*/ 290 h 656"/>
                  <a:gd name="T2" fmla="*/ 1095 w 1106"/>
                  <a:gd name="T3" fmla="*/ 254 h 656"/>
                  <a:gd name="T4" fmla="*/ 1052 w 1106"/>
                  <a:gd name="T5" fmla="*/ 217 h 656"/>
                  <a:gd name="T6" fmla="*/ 1016 w 1106"/>
                  <a:gd name="T7" fmla="*/ 143 h 656"/>
                  <a:gd name="T8" fmla="*/ 1030 w 1106"/>
                  <a:gd name="T9" fmla="*/ 81 h 656"/>
                  <a:gd name="T10" fmla="*/ 945 w 1106"/>
                  <a:gd name="T11" fmla="*/ 40 h 656"/>
                  <a:gd name="T12" fmla="*/ 900 w 1106"/>
                  <a:gd name="T13" fmla="*/ 15 h 656"/>
                  <a:gd name="T14" fmla="*/ 876 w 1106"/>
                  <a:gd name="T15" fmla="*/ 9 h 656"/>
                  <a:gd name="T16" fmla="*/ 852 w 1106"/>
                  <a:gd name="T17" fmla="*/ 21 h 656"/>
                  <a:gd name="T18" fmla="*/ 807 w 1106"/>
                  <a:gd name="T19" fmla="*/ 37 h 656"/>
                  <a:gd name="T20" fmla="*/ 740 w 1106"/>
                  <a:gd name="T21" fmla="*/ 115 h 656"/>
                  <a:gd name="T22" fmla="*/ 700 w 1106"/>
                  <a:gd name="T23" fmla="*/ 122 h 656"/>
                  <a:gd name="T24" fmla="*/ 627 w 1106"/>
                  <a:gd name="T25" fmla="*/ 149 h 656"/>
                  <a:gd name="T26" fmla="*/ 585 w 1106"/>
                  <a:gd name="T27" fmla="*/ 156 h 656"/>
                  <a:gd name="T28" fmla="*/ 517 w 1106"/>
                  <a:gd name="T29" fmla="*/ 144 h 656"/>
                  <a:gd name="T30" fmla="*/ 453 w 1106"/>
                  <a:gd name="T31" fmla="*/ 147 h 656"/>
                  <a:gd name="T32" fmla="*/ 289 w 1106"/>
                  <a:gd name="T33" fmla="*/ 254 h 656"/>
                  <a:gd name="T34" fmla="*/ 227 w 1106"/>
                  <a:gd name="T35" fmla="*/ 280 h 656"/>
                  <a:gd name="T36" fmla="*/ 176 w 1106"/>
                  <a:gd name="T37" fmla="*/ 320 h 656"/>
                  <a:gd name="T38" fmla="*/ 216 w 1106"/>
                  <a:gd name="T39" fmla="*/ 318 h 656"/>
                  <a:gd name="T40" fmla="*/ 143 w 1106"/>
                  <a:gd name="T41" fmla="*/ 366 h 656"/>
                  <a:gd name="T42" fmla="*/ 101 w 1106"/>
                  <a:gd name="T43" fmla="*/ 367 h 656"/>
                  <a:gd name="T44" fmla="*/ 45 w 1106"/>
                  <a:gd name="T45" fmla="*/ 392 h 656"/>
                  <a:gd name="T46" fmla="*/ 21 w 1106"/>
                  <a:gd name="T47" fmla="*/ 430 h 656"/>
                  <a:gd name="T48" fmla="*/ 60 w 1106"/>
                  <a:gd name="T49" fmla="*/ 471 h 656"/>
                  <a:gd name="T50" fmla="*/ 72 w 1106"/>
                  <a:gd name="T51" fmla="*/ 517 h 656"/>
                  <a:gd name="T52" fmla="*/ 74 w 1106"/>
                  <a:gd name="T53" fmla="*/ 533 h 656"/>
                  <a:gd name="T54" fmla="*/ 56 w 1106"/>
                  <a:gd name="T55" fmla="*/ 535 h 656"/>
                  <a:gd name="T56" fmla="*/ 50 w 1106"/>
                  <a:gd name="T57" fmla="*/ 551 h 656"/>
                  <a:gd name="T58" fmla="*/ 96 w 1106"/>
                  <a:gd name="T59" fmla="*/ 555 h 656"/>
                  <a:gd name="T60" fmla="*/ 119 w 1106"/>
                  <a:gd name="T61" fmla="*/ 604 h 656"/>
                  <a:gd name="T62" fmla="*/ 137 w 1106"/>
                  <a:gd name="T63" fmla="*/ 624 h 656"/>
                  <a:gd name="T64" fmla="*/ 190 w 1106"/>
                  <a:gd name="T65" fmla="*/ 611 h 656"/>
                  <a:gd name="T66" fmla="*/ 150 w 1106"/>
                  <a:gd name="T67" fmla="*/ 647 h 656"/>
                  <a:gd name="T68" fmla="*/ 176 w 1106"/>
                  <a:gd name="T69" fmla="*/ 647 h 656"/>
                  <a:gd name="T70" fmla="*/ 225 w 1106"/>
                  <a:gd name="T71" fmla="*/ 633 h 656"/>
                  <a:gd name="T72" fmla="*/ 284 w 1106"/>
                  <a:gd name="T73" fmla="*/ 655 h 656"/>
                  <a:gd name="T74" fmla="*/ 325 w 1106"/>
                  <a:gd name="T75" fmla="*/ 623 h 656"/>
                  <a:gd name="T76" fmla="*/ 459 w 1106"/>
                  <a:gd name="T77" fmla="*/ 610 h 656"/>
                  <a:gd name="T78" fmla="*/ 513 w 1106"/>
                  <a:gd name="T79" fmla="*/ 581 h 656"/>
                  <a:gd name="T80" fmla="*/ 553 w 1106"/>
                  <a:gd name="T81" fmla="*/ 522 h 656"/>
                  <a:gd name="T82" fmla="*/ 619 w 1106"/>
                  <a:gd name="T83" fmla="*/ 502 h 656"/>
                  <a:gd name="T84" fmla="*/ 649 w 1106"/>
                  <a:gd name="T85" fmla="*/ 496 h 656"/>
                  <a:gd name="T86" fmla="*/ 665 w 1106"/>
                  <a:gd name="T87" fmla="*/ 544 h 656"/>
                  <a:gd name="T88" fmla="*/ 670 w 1106"/>
                  <a:gd name="T89" fmla="*/ 474 h 656"/>
                  <a:gd name="T90" fmla="*/ 765 w 1106"/>
                  <a:gd name="T91" fmla="*/ 431 h 656"/>
                  <a:gd name="T92" fmla="*/ 958 w 1106"/>
                  <a:gd name="T93" fmla="*/ 321 h 656"/>
                  <a:gd name="T94" fmla="*/ 81 w 1106"/>
                  <a:gd name="T95" fmla="*/ 259 h 656"/>
                  <a:gd name="T96" fmla="*/ 17 w 1106"/>
                  <a:gd name="T97" fmla="*/ 276 h 656"/>
                  <a:gd name="T98" fmla="*/ 16 w 1106"/>
                  <a:gd name="T99" fmla="*/ 355 h 656"/>
                  <a:gd name="T100" fmla="*/ 19 w 1106"/>
                  <a:gd name="T101" fmla="*/ 402 h 656"/>
                  <a:gd name="T102" fmla="*/ 73 w 1106"/>
                  <a:gd name="T103" fmla="*/ 361 h 656"/>
                  <a:gd name="T104" fmla="*/ 119 w 1106"/>
                  <a:gd name="T105" fmla="*/ 320 h 656"/>
                  <a:gd name="T106" fmla="*/ 163 w 1106"/>
                  <a:gd name="T107" fmla="*/ 297 h 6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106" h="656">
                    <a:moveTo>
                      <a:pt x="977" y="319"/>
                    </a:moveTo>
                    <a:cubicBezTo>
                      <a:pt x="979" y="318"/>
                      <a:pt x="980" y="316"/>
                      <a:pt x="981" y="315"/>
                    </a:cubicBezTo>
                    <a:cubicBezTo>
                      <a:pt x="984" y="312"/>
                      <a:pt x="986" y="311"/>
                      <a:pt x="987" y="308"/>
                    </a:cubicBezTo>
                    <a:cubicBezTo>
                      <a:pt x="988" y="306"/>
                      <a:pt x="988" y="291"/>
                      <a:pt x="991" y="290"/>
                    </a:cubicBezTo>
                    <a:cubicBezTo>
                      <a:pt x="995" y="289"/>
                      <a:pt x="999" y="292"/>
                      <a:pt x="1002" y="290"/>
                    </a:cubicBezTo>
                    <a:cubicBezTo>
                      <a:pt x="1006" y="289"/>
                      <a:pt x="1007" y="282"/>
                      <a:pt x="1011" y="281"/>
                    </a:cubicBezTo>
                    <a:cubicBezTo>
                      <a:pt x="1019" y="276"/>
                      <a:pt x="1048" y="282"/>
                      <a:pt x="1055" y="272"/>
                    </a:cubicBezTo>
                    <a:cubicBezTo>
                      <a:pt x="1064" y="261"/>
                      <a:pt x="1051" y="263"/>
                      <a:pt x="1064" y="259"/>
                    </a:cubicBezTo>
                    <a:cubicBezTo>
                      <a:pt x="1081" y="254"/>
                      <a:pt x="1071" y="272"/>
                      <a:pt x="1081" y="278"/>
                    </a:cubicBezTo>
                    <a:cubicBezTo>
                      <a:pt x="1085" y="281"/>
                      <a:pt x="1089" y="259"/>
                      <a:pt x="1095" y="254"/>
                    </a:cubicBezTo>
                    <a:cubicBezTo>
                      <a:pt x="1098" y="252"/>
                      <a:pt x="1106" y="254"/>
                      <a:pt x="1105" y="251"/>
                    </a:cubicBezTo>
                    <a:cubicBezTo>
                      <a:pt x="1092" y="232"/>
                      <a:pt x="1102" y="249"/>
                      <a:pt x="1086" y="238"/>
                    </a:cubicBezTo>
                    <a:cubicBezTo>
                      <a:pt x="1078" y="233"/>
                      <a:pt x="1079" y="220"/>
                      <a:pt x="1079" y="219"/>
                    </a:cubicBezTo>
                    <a:cubicBezTo>
                      <a:pt x="1078" y="217"/>
                      <a:pt x="1061" y="215"/>
                      <a:pt x="1059" y="215"/>
                    </a:cubicBezTo>
                    <a:cubicBezTo>
                      <a:pt x="1057" y="215"/>
                      <a:pt x="1053" y="220"/>
                      <a:pt x="1052" y="217"/>
                    </a:cubicBezTo>
                    <a:cubicBezTo>
                      <a:pt x="1050" y="209"/>
                      <a:pt x="1053" y="198"/>
                      <a:pt x="1053" y="190"/>
                    </a:cubicBezTo>
                    <a:cubicBezTo>
                      <a:pt x="1053" y="187"/>
                      <a:pt x="1054" y="184"/>
                      <a:pt x="1054" y="181"/>
                    </a:cubicBezTo>
                    <a:cubicBezTo>
                      <a:pt x="1049" y="168"/>
                      <a:pt x="1045" y="187"/>
                      <a:pt x="1040" y="178"/>
                    </a:cubicBezTo>
                    <a:cubicBezTo>
                      <a:pt x="1040" y="177"/>
                      <a:pt x="1027" y="149"/>
                      <a:pt x="1027" y="149"/>
                    </a:cubicBezTo>
                    <a:cubicBezTo>
                      <a:pt x="1020" y="147"/>
                      <a:pt x="1024" y="159"/>
                      <a:pt x="1016" y="143"/>
                    </a:cubicBezTo>
                    <a:cubicBezTo>
                      <a:pt x="1015" y="140"/>
                      <a:pt x="1016" y="136"/>
                      <a:pt x="1015" y="133"/>
                    </a:cubicBezTo>
                    <a:cubicBezTo>
                      <a:pt x="1012" y="127"/>
                      <a:pt x="1002" y="127"/>
                      <a:pt x="998" y="121"/>
                    </a:cubicBezTo>
                    <a:cubicBezTo>
                      <a:pt x="995" y="115"/>
                      <a:pt x="1015" y="117"/>
                      <a:pt x="1016" y="107"/>
                    </a:cubicBezTo>
                    <a:cubicBezTo>
                      <a:pt x="1018" y="92"/>
                      <a:pt x="995" y="74"/>
                      <a:pt x="1029" y="82"/>
                    </a:cubicBezTo>
                    <a:cubicBezTo>
                      <a:pt x="1030" y="81"/>
                      <a:pt x="1030" y="81"/>
                      <a:pt x="1030" y="81"/>
                    </a:cubicBezTo>
                    <a:cubicBezTo>
                      <a:pt x="1023" y="78"/>
                      <a:pt x="1012" y="73"/>
                      <a:pt x="1007" y="71"/>
                    </a:cubicBezTo>
                    <a:cubicBezTo>
                      <a:pt x="987" y="65"/>
                      <a:pt x="980" y="80"/>
                      <a:pt x="956" y="81"/>
                    </a:cubicBezTo>
                    <a:cubicBezTo>
                      <a:pt x="955" y="81"/>
                      <a:pt x="959" y="77"/>
                      <a:pt x="958" y="76"/>
                    </a:cubicBezTo>
                    <a:cubicBezTo>
                      <a:pt x="956" y="72"/>
                      <a:pt x="951" y="71"/>
                      <a:pt x="947" y="67"/>
                    </a:cubicBezTo>
                    <a:cubicBezTo>
                      <a:pt x="941" y="61"/>
                      <a:pt x="946" y="48"/>
                      <a:pt x="945" y="40"/>
                    </a:cubicBezTo>
                    <a:cubicBezTo>
                      <a:pt x="941" y="25"/>
                      <a:pt x="924" y="26"/>
                      <a:pt x="919" y="22"/>
                    </a:cubicBezTo>
                    <a:cubicBezTo>
                      <a:pt x="917" y="20"/>
                      <a:pt x="918" y="17"/>
                      <a:pt x="916" y="15"/>
                    </a:cubicBezTo>
                    <a:cubicBezTo>
                      <a:pt x="915" y="14"/>
                      <a:pt x="912" y="13"/>
                      <a:pt x="911" y="14"/>
                    </a:cubicBezTo>
                    <a:cubicBezTo>
                      <a:pt x="908" y="15"/>
                      <a:pt x="906" y="18"/>
                      <a:pt x="903" y="19"/>
                    </a:cubicBezTo>
                    <a:cubicBezTo>
                      <a:pt x="902" y="19"/>
                      <a:pt x="902" y="15"/>
                      <a:pt x="900" y="15"/>
                    </a:cubicBezTo>
                    <a:cubicBezTo>
                      <a:pt x="898" y="15"/>
                      <a:pt x="897" y="19"/>
                      <a:pt x="896" y="17"/>
                    </a:cubicBezTo>
                    <a:cubicBezTo>
                      <a:pt x="895" y="15"/>
                      <a:pt x="898" y="14"/>
                      <a:pt x="898" y="11"/>
                    </a:cubicBezTo>
                    <a:cubicBezTo>
                      <a:pt x="899" y="7"/>
                      <a:pt x="890" y="10"/>
                      <a:pt x="886" y="9"/>
                    </a:cubicBezTo>
                    <a:cubicBezTo>
                      <a:pt x="883" y="8"/>
                      <a:pt x="880" y="6"/>
                      <a:pt x="877" y="6"/>
                    </a:cubicBezTo>
                    <a:cubicBezTo>
                      <a:pt x="876" y="6"/>
                      <a:pt x="877" y="9"/>
                      <a:pt x="876" y="9"/>
                    </a:cubicBezTo>
                    <a:cubicBezTo>
                      <a:pt x="867" y="11"/>
                      <a:pt x="874" y="4"/>
                      <a:pt x="872" y="1"/>
                    </a:cubicBezTo>
                    <a:cubicBezTo>
                      <a:pt x="870" y="0"/>
                      <a:pt x="868" y="3"/>
                      <a:pt x="867" y="4"/>
                    </a:cubicBezTo>
                    <a:cubicBezTo>
                      <a:pt x="864" y="5"/>
                      <a:pt x="860" y="5"/>
                      <a:pt x="859" y="7"/>
                    </a:cubicBezTo>
                    <a:cubicBezTo>
                      <a:pt x="857" y="11"/>
                      <a:pt x="861" y="15"/>
                      <a:pt x="859" y="19"/>
                    </a:cubicBezTo>
                    <a:cubicBezTo>
                      <a:pt x="857" y="21"/>
                      <a:pt x="854" y="20"/>
                      <a:pt x="852" y="21"/>
                    </a:cubicBezTo>
                    <a:cubicBezTo>
                      <a:pt x="844" y="23"/>
                      <a:pt x="835" y="23"/>
                      <a:pt x="829" y="28"/>
                    </a:cubicBezTo>
                    <a:cubicBezTo>
                      <a:pt x="827" y="30"/>
                      <a:pt x="829" y="34"/>
                      <a:pt x="826" y="36"/>
                    </a:cubicBezTo>
                    <a:cubicBezTo>
                      <a:pt x="824" y="38"/>
                      <a:pt x="820" y="37"/>
                      <a:pt x="817" y="37"/>
                    </a:cubicBezTo>
                    <a:cubicBezTo>
                      <a:pt x="814" y="37"/>
                      <a:pt x="812" y="37"/>
                      <a:pt x="808" y="37"/>
                    </a:cubicBezTo>
                    <a:cubicBezTo>
                      <a:pt x="807" y="37"/>
                      <a:pt x="807" y="37"/>
                      <a:pt x="807" y="37"/>
                    </a:cubicBezTo>
                    <a:cubicBezTo>
                      <a:pt x="804" y="51"/>
                      <a:pt x="800" y="62"/>
                      <a:pt x="788" y="73"/>
                    </a:cubicBezTo>
                    <a:cubicBezTo>
                      <a:pt x="786" y="75"/>
                      <a:pt x="783" y="74"/>
                      <a:pt x="782" y="76"/>
                    </a:cubicBezTo>
                    <a:cubicBezTo>
                      <a:pt x="775" y="84"/>
                      <a:pt x="766" y="106"/>
                      <a:pt x="755" y="112"/>
                    </a:cubicBezTo>
                    <a:cubicBezTo>
                      <a:pt x="752" y="113"/>
                      <a:pt x="748" y="109"/>
                      <a:pt x="745" y="110"/>
                    </a:cubicBezTo>
                    <a:cubicBezTo>
                      <a:pt x="743" y="110"/>
                      <a:pt x="743" y="114"/>
                      <a:pt x="740" y="115"/>
                    </a:cubicBezTo>
                    <a:cubicBezTo>
                      <a:pt x="738" y="116"/>
                      <a:pt x="736" y="114"/>
                      <a:pt x="734" y="114"/>
                    </a:cubicBezTo>
                    <a:cubicBezTo>
                      <a:pt x="731" y="114"/>
                      <a:pt x="730" y="117"/>
                      <a:pt x="727" y="117"/>
                    </a:cubicBezTo>
                    <a:cubicBezTo>
                      <a:pt x="726" y="117"/>
                      <a:pt x="715" y="111"/>
                      <a:pt x="712" y="114"/>
                    </a:cubicBezTo>
                    <a:cubicBezTo>
                      <a:pt x="709" y="116"/>
                      <a:pt x="709" y="120"/>
                      <a:pt x="707" y="122"/>
                    </a:cubicBezTo>
                    <a:cubicBezTo>
                      <a:pt x="705" y="123"/>
                      <a:pt x="702" y="121"/>
                      <a:pt x="700" y="122"/>
                    </a:cubicBezTo>
                    <a:cubicBezTo>
                      <a:pt x="697" y="123"/>
                      <a:pt x="697" y="126"/>
                      <a:pt x="695" y="128"/>
                    </a:cubicBezTo>
                    <a:cubicBezTo>
                      <a:pt x="692" y="131"/>
                      <a:pt x="687" y="131"/>
                      <a:pt x="683" y="134"/>
                    </a:cubicBezTo>
                    <a:cubicBezTo>
                      <a:pt x="678" y="139"/>
                      <a:pt x="677" y="143"/>
                      <a:pt x="671" y="148"/>
                    </a:cubicBezTo>
                    <a:cubicBezTo>
                      <a:pt x="663" y="153"/>
                      <a:pt x="645" y="156"/>
                      <a:pt x="637" y="156"/>
                    </a:cubicBezTo>
                    <a:cubicBezTo>
                      <a:pt x="616" y="156"/>
                      <a:pt x="639" y="154"/>
                      <a:pt x="627" y="149"/>
                    </a:cubicBezTo>
                    <a:cubicBezTo>
                      <a:pt x="620" y="147"/>
                      <a:pt x="619" y="160"/>
                      <a:pt x="616" y="161"/>
                    </a:cubicBezTo>
                    <a:cubicBezTo>
                      <a:pt x="612" y="163"/>
                      <a:pt x="607" y="160"/>
                      <a:pt x="603" y="160"/>
                    </a:cubicBezTo>
                    <a:cubicBezTo>
                      <a:pt x="602" y="159"/>
                      <a:pt x="602" y="157"/>
                      <a:pt x="601" y="157"/>
                    </a:cubicBezTo>
                    <a:cubicBezTo>
                      <a:pt x="597" y="158"/>
                      <a:pt x="593" y="162"/>
                      <a:pt x="588" y="161"/>
                    </a:cubicBezTo>
                    <a:cubicBezTo>
                      <a:pt x="586" y="161"/>
                      <a:pt x="586" y="157"/>
                      <a:pt x="585" y="156"/>
                    </a:cubicBezTo>
                    <a:cubicBezTo>
                      <a:pt x="582" y="154"/>
                      <a:pt x="578" y="152"/>
                      <a:pt x="574" y="152"/>
                    </a:cubicBezTo>
                    <a:cubicBezTo>
                      <a:pt x="552" y="153"/>
                      <a:pt x="563" y="175"/>
                      <a:pt x="541" y="165"/>
                    </a:cubicBezTo>
                    <a:cubicBezTo>
                      <a:pt x="534" y="162"/>
                      <a:pt x="530" y="144"/>
                      <a:pt x="523" y="146"/>
                    </a:cubicBezTo>
                    <a:cubicBezTo>
                      <a:pt x="520" y="146"/>
                      <a:pt x="520" y="152"/>
                      <a:pt x="517" y="151"/>
                    </a:cubicBezTo>
                    <a:cubicBezTo>
                      <a:pt x="515" y="151"/>
                      <a:pt x="520" y="144"/>
                      <a:pt x="517" y="144"/>
                    </a:cubicBezTo>
                    <a:cubicBezTo>
                      <a:pt x="511" y="144"/>
                      <a:pt x="502" y="165"/>
                      <a:pt x="482" y="158"/>
                    </a:cubicBezTo>
                    <a:cubicBezTo>
                      <a:pt x="461" y="150"/>
                      <a:pt x="473" y="139"/>
                      <a:pt x="472" y="138"/>
                    </a:cubicBezTo>
                    <a:cubicBezTo>
                      <a:pt x="469" y="135"/>
                      <a:pt x="464" y="137"/>
                      <a:pt x="460" y="137"/>
                    </a:cubicBezTo>
                    <a:cubicBezTo>
                      <a:pt x="459" y="137"/>
                      <a:pt x="457" y="136"/>
                      <a:pt x="456" y="137"/>
                    </a:cubicBezTo>
                    <a:cubicBezTo>
                      <a:pt x="455" y="140"/>
                      <a:pt x="456" y="144"/>
                      <a:pt x="453" y="147"/>
                    </a:cubicBezTo>
                    <a:cubicBezTo>
                      <a:pt x="447" y="159"/>
                      <a:pt x="388" y="166"/>
                      <a:pt x="374" y="173"/>
                    </a:cubicBezTo>
                    <a:cubicBezTo>
                      <a:pt x="367" y="175"/>
                      <a:pt x="361" y="184"/>
                      <a:pt x="356" y="189"/>
                    </a:cubicBezTo>
                    <a:cubicBezTo>
                      <a:pt x="352" y="193"/>
                      <a:pt x="344" y="195"/>
                      <a:pt x="339" y="198"/>
                    </a:cubicBezTo>
                    <a:cubicBezTo>
                      <a:pt x="324" y="209"/>
                      <a:pt x="315" y="227"/>
                      <a:pt x="302" y="241"/>
                    </a:cubicBezTo>
                    <a:cubicBezTo>
                      <a:pt x="298" y="245"/>
                      <a:pt x="293" y="251"/>
                      <a:pt x="289" y="254"/>
                    </a:cubicBezTo>
                    <a:cubicBezTo>
                      <a:pt x="288" y="255"/>
                      <a:pt x="285" y="254"/>
                      <a:pt x="285" y="255"/>
                    </a:cubicBezTo>
                    <a:cubicBezTo>
                      <a:pt x="283" y="267"/>
                      <a:pt x="292" y="267"/>
                      <a:pt x="281" y="275"/>
                    </a:cubicBezTo>
                    <a:cubicBezTo>
                      <a:pt x="280" y="276"/>
                      <a:pt x="277" y="275"/>
                      <a:pt x="275" y="275"/>
                    </a:cubicBezTo>
                    <a:cubicBezTo>
                      <a:pt x="262" y="280"/>
                      <a:pt x="272" y="282"/>
                      <a:pt x="255" y="282"/>
                    </a:cubicBezTo>
                    <a:cubicBezTo>
                      <a:pt x="249" y="282"/>
                      <a:pt x="233" y="278"/>
                      <a:pt x="227" y="280"/>
                    </a:cubicBezTo>
                    <a:cubicBezTo>
                      <a:pt x="225" y="281"/>
                      <a:pt x="226" y="284"/>
                      <a:pt x="224" y="285"/>
                    </a:cubicBezTo>
                    <a:cubicBezTo>
                      <a:pt x="218" y="290"/>
                      <a:pt x="207" y="293"/>
                      <a:pt x="199" y="293"/>
                    </a:cubicBezTo>
                    <a:cubicBezTo>
                      <a:pt x="189" y="294"/>
                      <a:pt x="167" y="295"/>
                      <a:pt x="167" y="296"/>
                    </a:cubicBezTo>
                    <a:cubicBezTo>
                      <a:pt x="164" y="301"/>
                      <a:pt x="163" y="307"/>
                      <a:pt x="162" y="312"/>
                    </a:cubicBezTo>
                    <a:cubicBezTo>
                      <a:pt x="160" y="320"/>
                      <a:pt x="175" y="320"/>
                      <a:pt x="176" y="320"/>
                    </a:cubicBezTo>
                    <a:cubicBezTo>
                      <a:pt x="177" y="320"/>
                      <a:pt x="179" y="320"/>
                      <a:pt x="180" y="321"/>
                    </a:cubicBezTo>
                    <a:cubicBezTo>
                      <a:pt x="180" y="323"/>
                      <a:pt x="177" y="325"/>
                      <a:pt x="178" y="326"/>
                    </a:cubicBezTo>
                    <a:cubicBezTo>
                      <a:pt x="180" y="327"/>
                      <a:pt x="181" y="323"/>
                      <a:pt x="183" y="323"/>
                    </a:cubicBezTo>
                    <a:cubicBezTo>
                      <a:pt x="184" y="324"/>
                      <a:pt x="184" y="327"/>
                      <a:pt x="185" y="327"/>
                    </a:cubicBezTo>
                    <a:cubicBezTo>
                      <a:pt x="195" y="328"/>
                      <a:pt x="205" y="317"/>
                      <a:pt x="216" y="318"/>
                    </a:cubicBezTo>
                    <a:cubicBezTo>
                      <a:pt x="226" y="319"/>
                      <a:pt x="199" y="329"/>
                      <a:pt x="197" y="330"/>
                    </a:cubicBezTo>
                    <a:cubicBezTo>
                      <a:pt x="195" y="330"/>
                      <a:pt x="195" y="326"/>
                      <a:pt x="194" y="327"/>
                    </a:cubicBezTo>
                    <a:cubicBezTo>
                      <a:pt x="193" y="327"/>
                      <a:pt x="160" y="348"/>
                      <a:pt x="158" y="350"/>
                    </a:cubicBezTo>
                    <a:cubicBezTo>
                      <a:pt x="150" y="361"/>
                      <a:pt x="187" y="344"/>
                      <a:pt x="176" y="360"/>
                    </a:cubicBezTo>
                    <a:cubicBezTo>
                      <a:pt x="174" y="363"/>
                      <a:pt x="151" y="364"/>
                      <a:pt x="143" y="366"/>
                    </a:cubicBezTo>
                    <a:cubicBezTo>
                      <a:pt x="128" y="368"/>
                      <a:pt x="115" y="378"/>
                      <a:pt x="115" y="377"/>
                    </a:cubicBezTo>
                    <a:cubicBezTo>
                      <a:pt x="112" y="374"/>
                      <a:pt x="120" y="368"/>
                      <a:pt x="117" y="366"/>
                    </a:cubicBezTo>
                    <a:cubicBezTo>
                      <a:pt x="114" y="363"/>
                      <a:pt x="108" y="366"/>
                      <a:pt x="104" y="367"/>
                    </a:cubicBezTo>
                    <a:cubicBezTo>
                      <a:pt x="103" y="367"/>
                      <a:pt x="104" y="368"/>
                      <a:pt x="103" y="368"/>
                    </a:cubicBezTo>
                    <a:cubicBezTo>
                      <a:pt x="102" y="368"/>
                      <a:pt x="100" y="366"/>
                      <a:pt x="101" y="367"/>
                    </a:cubicBezTo>
                    <a:cubicBezTo>
                      <a:pt x="103" y="370"/>
                      <a:pt x="108" y="371"/>
                      <a:pt x="108" y="375"/>
                    </a:cubicBezTo>
                    <a:cubicBezTo>
                      <a:pt x="106" y="381"/>
                      <a:pt x="99" y="384"/>
                      <a:pt x="94" y="386"/>
                    </a:cubicBezTo>
                    <a:cubicBezTo>
                      <a:pt x="82" y="391"/>
                      <a:pt x="79" y="378"/>
                      <a:pt x="76" y="378"/>
                    </a:cubicBezTo>
                    <a:cubicBezTo>
                      <a:pt x="69" y="376"/>
                      <a:pt x="65" y="387"/>
                      <a:pt x="60" y="388"/>
                    </a:cubicBezTo>
                    <a:cubicBezTo>
                      <a:pt x="57" y="388"/>
                      <a:pt x="48" y="388"/>
                      <a:pt x="45" y="392"/>
                    </a:cubicBezTo>
                    <a:cubicBezTo>
                      <a:pt x="42" y="396"/>
                      <a:pt x="41" y="402"/>
                      <a:pt x="38" y="406"/>
                    </a:cubicBezTo>
                    <a:cubicBezTo>
                      <a:pt x="36" y="407"/>
                      <a:pt x="33" y="406"/>
                      <a:pt x="32" y="408"/>
                    </a:cubicBezTo>
                    <a:cubicBezTo>
                      <a:pt x="31" y="410"/>
                      <a:pt x="33" y="413"/>
                      <a:pt x="33" y="414"/>
                    </a:cubicBezTo>
                    <a:cubicBezTo>
                      <a:pt x="32" y="417"/>
                      <a:pt x="32" y="421"/>
                      <a:pt x="30" y="423"/>
                    </a:cubicBezTo>
                    <a:cubicBezTo>
                      <a:pt x="27" y="426"/>
                      <a:pt x="21" y="423"/>
                      <a:pt x="21" y="430"/>
                    </a:cubicBezTo>
                    <a:cubicBezTo>
                      <a:pt x="21" y="439"/>
                      <a:pt x="26" y="443"/>
                      <a:pt x="26" y="450"/>
                    </a:cubicBezTo>
                    <a:cubicBezTo>
                      <a:pt x="26" y="452"/>
                      <a:pt x="19" y="465"/>
                      <a:pt x="27" y="466"/>
                    </a:cubicBezTo>
                    <a:cubicBezTo>
                      <a:pt x="29" y="466"/>
                      <a:pt x="64" y="449"/>
                      <a:pt x="68" y="448"/>
                    </a:cubicBezTo>
                    <a:cubicBezTo>
                      <a:pt x="69" y="448"/>
                      <a:pt x="71" y="447"/>
                      <a:pt x="70" y="448"/>
                    </a:cubicBezTo>
                    <a:cubicBezTo>
                      <a:pt x="69" y="454"/>
                      <a:pt x="64" y="466"/>
                      <a:pt x="60" y="471"/>
                    </a:cubicBezTo>
                    <a:cubicBezTo>
                      <a:pt x="59" y="473"/>
                      <a:pt x="54" y="471"/>
                      <a:pt x="57" y="473"/>
                    </a:cubicBezTo>
                    <a:cubicBezTo>
                      <a:pt x="61" y="476"/>
                      <a:pt x="74" y="476"/>
                      <a:pt x="76" y="484"/>
                    </a:cubicBezTo>
                    <a:cubicBezTo>
                      <a:pt x="76" y="487"/>
                      <a:pt x="70" y="491"/>
                      <a:pt x="72" y="494"/>
                    </a:cubicBezTo>
                    <a:cubicBezTo>
                      <a:pt x="74" y="495"/>
                      <a:pt x="91" y="489"/>
                      <a:pt x="89" y="496"/>
                    </a:cubicBezTo>
                    <a:cubicBezTo>
                      <a:pt x="86" y="505"/>
                      <a:pt x="69" y="512"/>
                      <a:pt x="72" y="517"/>
                    </a:cubicBezTo>
                    <a:cubicBezTo>
                      <a:pt x="76" y="522"/>
                      <a:pt x="85" y="530"/>
                      <a:pt x="86" y="529"/>
                    </a:cubicBezTo>
                    <a:cubicBezTo>
                      <a:pt x="89" y="527"/>
                      <a:pt x="91" y="526"/>
                      <a:pt x="94" y="525"/>
                    </a:cubicBezTo>
                    <a:cubicBezTo>
                      <a:pt x="96" y="525"/>
                      <a:pt x="101" y="523"/>
                      <a:pt x="101" y="525"/>
                    </a:cubicBezTo>
                    <a:cubicBezTo>
                      <a:pt x="100" y="526"/>
                      <a:pt x="83" y="537"/>
                      <a:pt x="81" y="537"/>
                    </a:cubicBezTo>
                    <a:cubicBezTo>
                      <a:pt x="78" y="538"/>
                      <a:pt x="77" y="531"/>
                      <a:pt x="74" y="533"/>
                    </a:cubicBezTo>
                    <a:cubicBezTo>
                      <a:pt x="72" y="535"/>
                      <a:pt x="78" y="543"/>
                      <a:pt x="76" y="542"/>
                    </a:cubicBezTo>
                    <a:cubicBezTo>
                      <a:pt x="74" y="542"/>
                      <a:pt x="65" y="521"/>
                      <a:pt x="61" y="519"/>
                    </a:cubicBezTo>
                    <a:cubicBezTo>
                      <a:pt x="60" y="518"/>
                      <a:pt x="56" y="517"/>
                      <a:pt x="55" y="520"/>
                    </a:cubicBezTo>
                    <a:cubicBezTo>
                      <a:pt x="53" y="523"/>
                      <a:pt x="56" y="527"/>
                      <a:pt x="56" y="531"/>
                    </a:cubicBezTo>
                    <a:cubicBezTo>
                      <a:pt x="56" y="533"/>
                      <a:pt x="55" y="535"/>
                      <a:pt x="56" y="535"/>
                    </a:cubicBezTo>
                    <a:cubicBezTo>
                      <a:pt x="59" y="537"/>
                      <a:pt x="65" y="534"/>
                      <a:pt x="64" y="536"/>
                    </a:cubicBezTo>
                    <a:cubicBezTo>
                      <a:pt x="63" y="540"/>
                      <a:pt x="58" y="543"/>
                      <a:pt x="54" y="545"/>
                    </a:cubicBezTo>
                    <a:cubicBezTo>
                      <a:pt x="53" y="545"/>
                      <a:pt x="52" y="542"/>
                      <a:pt x="51" y="543"/>
                    </a:cubicBezTo>
                    <a:cubicBezTo>
                      <a:pt x="51" y="544"/>
                      <a:pt x="53" y="545"/>
                      <a:pt x="53" y="546"/>
                    </a:cubicBezTo>
                    <a:cubicBezTo>
                      <a:pt x="53" y="548"/>
                      <a:pt x="48" y="550"/>
                      <a:pt x="50" y="551"/>
                    </a:cubicBezTo>
                    <a:cubicBezTo>
                      <a:pt x="53" y="553"/>
                      <a:pt x="58" y="551"/>
                      <a:pt x="62" y="552"/>
                    </a:cubicBezTo>
                    <a:cubicBezTo>
                      <a:pt x="63" y="552"/>
                      <a:pt x="72" y="559"/>
                      <a:pt x="73" y="558"/>
                    </a:cubicBezTo>
                    <a:cubicBezTo>
                      <a:pt x="77" y="555"/>
                      <a:pt x="77" y="550"/>
                      <a:pt x="81" y="547"/>
                    </a:cubicBezTo>
                    <a:cubicBezTo>
                      <a:pt x="86" y="545"/>
                      <a:pt x="85" y="557"/>
                      <a:pt x="90" y="559"/>
                    </a:cubicBezTo>
                    <a:cubicBezTo>
                      <a:pt x="92" y="560"/>
                      <a:pt x="94" y="555"/>
                      <a:pt x="96" y="555"/>
                    </a:cubicBezTo>
                    <a:cubicBezTo>
                      <a:pt x="99" y="555"/>
                      <a:pt x="114" y="560"/>
                      <a:pt x="114" y="560"/>
                    </a:cubicBezTo>
                    <a:cubicBezTo>
                      <a:pt x="115" y="561"/>
                      <a:pt x="118" y="574"/>
                      <a:pt x="116" y="577"/>
                    </a:cubicBezTo>
                    <a:cubicBezTo>
                      <a:pt x="112" y="581"/>
                      <a:pt x="99" y="583"/>
                      <a:pt x="103" y="585"/>
                    </a:cubicBezTo>
                    <a:cubicBezTo>
                      <a:pt x="108" y="586"/>
                      <a:pt x="113" y="585"/>
                      <a:pt x="117" y="587"/>
                    </a:cubicBezTo>
                    <a:cubicBezTo>
                      <a:pt x="121" y="590"/>
                      <a:pt x="113" y="603"/>
                      <a:pt x="119" y="604"/>
                    </a:cubicBezTo>
                    <a:cubicBezTo>
                      <a:pt x="124" y="604"/>
                      <a:pt x="126" y="596"/>
                      <a:pt x="131" y="596"/>
                    </a:cubicBezTo>
                    <a:cubicBezTo>
                      <a:pt x="135" y="596"/>
                      <a:pt x="137" y="603"/>
                      <a:pt x="141" y="605"/>
                    </a:cubicBezTo>
                    <a:cubicBezTo>
                      <a:pt x="142" y="606"/>
                      <a:pt x="145" y="603"/>
                      <a:pt x="145" y="604"/>
                    </a:cubicBezTo>
                    <a:cubicBezTo>
                      <a:pt x="153" y="632"/>
                      <a:pt x="104" y="603"/>
                      <a:pt x="126" y="626"/>
                    </a:cubicBezTo>
                    <a:cubicBezTo>
                      <a:pt x="129" y="629"/>
                      <a:pt x="133" y="624"/>
                      <a:pt x="137" y="624"/>
                    </a:cubicBezTo>
                    <a:cubicBezTo>
                      <a:pt x="142" y="624"/>
                      <a:pt x="140" y="630"/>
                      <a:pt x="146" y="626"/>
                    </a:cubicBezTo>
                    <a:cubicBezTo>
                      <a:pt x="147" y="626"/>
                      <a:pt x="145" y="624"/>
                      <a:pt x="146" y="624"/>
                    </a:cubicBezTo>
                    <a:cubicBezTo>
                      <a:pt x="150" y="622"/>
                      <a:pt x="154" y="624"/>
                      <a:pt x="158" y="623"/>
                    </a:cubicBezTo>
                    <a:cubicBezTo>
                      <a:pt x="163" y="620"/>
                      <a:pt x="173" y="615"/>
                      <a:pt x="176" y="614"/>
                    </a:cubicBezTo>
                    <a:cubicBezTo>
                      <a:pt x="181" y="612"/>
                      <a:pt x="187" y="607"/>
                      <a:pt x="190" y="611"/>
                    </a:cubicBezTo>
                    <a:cubicBezTo>
                      <a:pt x="201" y="624"/>
                      <a:pt x="173" y="619"/>
                      <a:pt x="173" y="624"/>
                    </a:cubicBezTo>
                    <a:cubicBezTo>
                      <a:pt x="173" y="627"/>
                      <a:pt x="179" y="630"/>
                      <a:pt x="177" y="633"/>
                    </a:cubicBezTo>
                    <a:cubicBezTo>
                      <a:pt x="173" y="636"/>
                      <a:pt x="168" y="633"/>
                      <a:pt x="163" y="634"/>
                    </a:cubicBezTo>
                    <a:cubicBezTo>
                      <a:pt x="154" y="636"/>
                      <a:pt x="146" y="643"/>
                      <a:pt x="139" y="649"/>
                    </a:cubicBezTo>
                    <a:cubicBezTo>
                      <a:pt x="136" y="651"/>
                      <a:pt x="146" y="647"/>
                      <a:pt x="150" y="647"/>
                    </a:cubicBezTo>
                    <a:cubicBezTo>
                      <a:pt x="152" y="647"/>
                      <a:pt x="155" y="649"/>
                      <a:pt x="157" y="648"/>
                    </a:cubicBezTo>
                    <a:cubicBezTo>
                      <a:pt x="159" y="646"/>
                      <a:pt x="156" y="642"/>
                      <a:pt x="159" y="640"/>
                    </a:cubicBezTo>
                    <a:cubicBezTo>
                      <a:pt x="162" y="638"/>
                      <a:pt x="167" y="639"/>
                      <a:pt x="171" y="638"/>
                    </a:cubicBezTo>
                    <a:cubicBezTo>
                      <a:pt x="182" y="635"/>
                      <a:pt x="181" y="629"/>
                      <a:pt x="181" y="630"/>
                    </a:cubicBezTo>
                    <a:cubicBezTo>
                      <a:pt x="189" y="647"/>
                      <a:pt x="181" y="642"/>
                      <a:pt x="176" y="647"/>
                    </a:cubicBezTo>
                    <a:cubicBezTo>
                      <a:pt x="175" y="648"/>
                      <a:pt x="179" y="650"/>
                      <a:pt x="180" y="649"/>
                    </a:cubicBezTo>
                    <a:cubicBezTo>
                      <a:pt x="181" y="647"/>
                      <a:pt x="198" y="628"/>
                      <a:pt x="198" y="628"/>
                    </a:cubicBezTo>
                    <a:cubicBezTo>
                      <a:pt x="199" y="625"/>
                      <a:pt x="198" y="620"/>
                      <a:pt x="200" y="619"/>
                    </a:cubicBezTo>
                    <a:cubicBezTo>
                      <a:pt x="215" y="612"/>
                      <a:pt x="208" y="627"/>
                      <a:pt x="212" y="630"/>
                    </a:cubicBezTo>
                    <a:cubicBezTo>
                      <a:pt x="215" y="633"/>
                      <a:pt x="221" y="632"/>
                      <a:pt x="225" y="633"/>
                    </a:cubicBezTo>
                    <a:cubicBezTo>
                      <a:pt x="226" y="633"/>
                      <a:pt x="226" y="636"/>
                      <a:pt x="227" y="636"/>
                    </a:cubicBezTo>
                    <a:cubicBezTo>
                      <a:pt x="232" y="630"/>
                      <a:pt x="221" y="623"/>
                      <a:pt x="229" y="622"/>
                    </a:cubicBezTo>
                    <a:cubicBezTo>
                      <a:pt x="245" y="619"/>
                      <a:pt x="244" y="645"/>
                      <a:pt x="245" y="646"/>
                    </a:cubicBezTo>
                    <a:cubicBezTo>
                      <a:pt x="257" y="654"/>
                      <a:pt x="266" y="650"/>
                      <a:pt x="279" y="651"/>
                    </a:cubicBezTo>
                    <a:cubicBezTo>
                      <a:pt x="280" y="651"/>
                      <a:pt x="281" y="656"/>
                      <a:pt x="284" y="655"/>
                    </a:cubicBezTo>
                    <a:cubicBezTo>
                      <a:pt x="289" y="655"/>
                      <a:pt x="307" y="637"/>
                      <a:pt x="309" y="636"/>
                    </a:cubicBezTo>
                    <a:cubicBezTo>
                      <a:pt x="311" y="633"/>
                      <a:pt x="320" y="632"/>
                      <a:pt x="323" y="633"/>
                    </a:cubicBezTo>
                    <a:cubicBezTo>
                      <a:pt x="324" y="634"/>
                      <a:pt x="323" y="639"/>
                      <a:pt x="324" y="638"/>
                    </a:cubicBezTo>
                    <a:cubicBezTo>
                      <a:pt x="327" y="635"/>
                      <a:pt x="329" y="630"/>
                      <a:pt x="329" y="626"/>
                    </a:cubicBezTo>
                    <a:cubicBezTo>
                      <a:pt x="329" y="624"/>
                      <a:pt x="325" y="624"/>
                      <a:pt x="325" y="623"/>
                    </a:cubicBezTo>
                    <a:cubicBezTo>
                      <a:pt x="324" y="619"/>
                      <a:pt x="327" y="616"/>
                      <a:pt x="328" y="612"/>
                    </a:cubicBezTo>
                    <a:cubicBezTo>
                      <a:pt x="331" y="606"/>
                      <a:pt x="319" y="596"/>
                      <a:pt x="326" y="588"/>
                    </a:cubicBezTo>
                    <a:cubicBezTo>
                      <a:pt x="328" y="585"/>
                      <a:pt x="355" y="580"/>
                      <a:pt x="360" y="580"/>
                    </a:cubicBezTo>
                    <a:cubicBezTo>
                      <a:pt x="361" y="580"/>
                      <a:pt x="410" y="585"/>
                      <a:pt x="412" y="585"/>
                    </a:cubicBezTo>
                    <a:cubicBezTo>
                      <a:pt x="434" y="591"/>
                      <a:pt x="430" y="608"/>
                      <a:pt x="459" y="610"/>
                    </a:cubicBezTo>
                    <a:cubicBezTo>
                      <a:pt x="474" y="611"/>
                      <a:pt x="461" y="607"/>
                      <a:pt x="473" y="600"/>
                    </a:cubicBezTo>
                    <a:cubicBezTo>
                      <a:pt x="476" y="599"/>
                      <a:pt x="480" y="602"/>
                      <a:pt x="483" y="600"/>
                    </a:cubicBezTo>
                    <a:cubicBezTo>
                      <a:pt x="485" y="599"/>
                      <a:pt x="483" y="595"/>
                      <a:pt x="484" y="594"/>
                    </a:cubicBezTo>
                    <a:cubicBezTo>
                      <a:pt x="488" y="591"/>
                      <a:pt x="506" y="589"/>
                      <a:pt x="508" y="588"/>
                    </a:cubicBezTo>
                    <a:cubicBezTo>
                      <a:pt x="510" y="586"/>
                      <a:pt x="511" y="582"/>
                      <a:pt x="513" y="581"/>
                    </a:cubicBezTo>
                    <a:cubicBezTo>
                      <a:pt x="515" y="580"/>
                      <a:pt x="515" y="584"/>
                      <a:pt x="516" y="583"/>
                    </a:cubicBezTo>
                    <a:cubicBezTo>
                      <a:pt x="517" y="583"/>
                      <a:pt x="523" y="566"/>
                      <a:pt x="524" y="567"/>
                    </a:cubicBezTo>
                    <a:cubicBezTo>
                      <a:pt x="526" y="567"/>
                      <a:pt x="528" y="573"/>
                      <a:pt x="530" y="572"/>
                    </a:cubicBezTo>
                    <a:cubicBezTo>
                      <a:pt x="542" y="569"/>
                      <a:pt x="533" y="562"/>
                      <a:pt x="533" y="557"/>
                    </a:cubicBezTo>
                    <a:cubicBezTo>
                      <a:pt x="535" y="546"/>
                      <a:pt x="547" y="530"/>
                      <a:pt x="553" y="522"/>
                    </a:cubicBezTo>
                    <a:cubicBezTo>
                      <a:pt x="564" y="507"/>
                      <a:pt x="598" y="526"/>
                      <a:pt x="602" y="523"/>
                    </a:cubicBezTo>
                    <a:cubicBezTo>
                      <a:pt x="605" y="520"/>
                      <a:pt x="606" y="516"/>
                      <a:pt x="610" y="513"/>
                    </a:cubicBezTo>
                    <a:cubicBezTo>
                      <a:pt x="611" y="512"/>
                      <a:pt x="627" y="516"/>
                      <a:pt x="619" y="503"/>
                    </a:cubicBezTo>
                    <a:cubicBezTo>
                      <a:pt x="618" y="501"/>
                      <a:pt x="614" y="511"/>
                      <a:pt x="614" y="509"/>
                    </a:cubicBezTo>
                    <a:cubicBezTo>
                      <a:pt x="615" y="506"/>
                      <a:pt x="621" y="504"/>
                      <a:pt x="619" y="502"/>
                    </a:cubicBezTo>
                    <a:cubicBezTo>
                      <a:pt x="618" y="500"/>
                      <a:pt x="615" y="505"/>
                      <a:pt x="612" y="505"/>
                    </a:cubicBezTo>
                    <a:cubicBezTo>
                      <a:pt x="610" y="504"/>
                      <a:pt x="614" y="502"/>
                      <a:pt x="615" y="501"/>
                    </a:cubicBezTo>
                    <a:cubicBezTo>
                      <a:pt x="618" y="499"/>
                      <a:pt x="622" y="497"/>
                      <a:pt x="624" y="495"/>
                    </a:cubicBezTo>
                    <a:cubicBezTo>
                      <a:pt x="627" y="491"/>
                      <a:pt x="626" y="482"/>
                      <a:pt x="632" y="480"/>
                    </a:cubicBezTo>
                    <a:cubicBezTo>
                      <a:pt x="640" y="478"/>
                      <a:pt x="648" y="490"/>
                      <a:pt x="649" y="496"/>
                    </a:cubicBezTo>
                    <a:cubicBezTo>
                      <a:pt x="650" y="499"/>
                      <a:pt x="631" y="525"/>
                      <a:pt x="632" y="529"/>
                    </a:cubicBezTo>
                    <a:cubicBezTo>
                      <a:pt x="636" y="536"/>
                      <a:pt x="649" y="538"/>
                      <a:pt x="650" y="547"/>
                    </a:cubicBezTo>
                    <a:cubicBezTo>
                      <a:pt x="651" y="548"/>
                      <a:pt x="650" y="551"/>
                      <a:pt x="648" y="553"/>
                    </a:cubicBezTo>
                    <a:cubicBezTo>
                      <a:pt x="652" y="551"/>
                      <a:pt x="663" y="559"/>
                      <a:pt x="665" y="556"/>
                    </a:cubicBezTo>
                    <a:cubicBezTo>
                      <a:pt x="668" y="553"/>
                      <a:pt x="663" y="548"/>
                      <a:pt x="665" y="544"/>
                    </a:cubicBezTo>
                    <a:cubicBezTo>
                      <a:pt x="666" y="541"/>
                      <a:pt x="671" y="540"/>
                      <a:pt x="672" y="538"/>
                    </a:cubicBezTo>
                    <a:cubicBezTo>
                      <a:pt x="668" y="523"/>
                      <a:pt x="668" y="523"/>
                      <a:pt x="668" y="523"/>
                    </a:cubicBezTo>
                    <a:cubicBezTo>
                      <a:pt x="668" y="522"/>
                      <a:pt x="685" y="516"/>
                      <a:pt x="686" y="515"/>
                    </a:cubicBezTo>
                    <a:cubicBezTo>
                      <a:pt x="687" y="513"/>
                      <a:pt x="677" y="507"/>
                      <a:pt x="676" y="506"/>
                    </a:cubicBezTo>
                    <a:cubicBezTo>
                      <a:pt x="671" y="500"/>
                      <a:pt x="667" y="480"/>
                      <a:pt x="670" y="474"/>
                    </a:cubicBezTo>
                    <a:cubicBezTo>
                      <a:pt x="671" y="472"/>
                      <a:pt x="692" y="471"/>
                      <a:pt x="695" y="474"/>
                    </a:cubicBezTo>
                    <a:cubicBezTo>
                      <a:pt x="695" y="474"/>
                      <a:pt x="692" y="484"/>
                      <a:pt x="698" y="480"/>
                    </a:cubicBezTo>
                    <a:cubicBezTo>
                      <a:pt x="700" y="479"/>
                      <a:pt x="699" y="476"/>
                      <a:pt x="700" y="475"/>
                    </a:cubicBezTo>
                    <a:cubicBezTo>
                      <a:pt x="706" y="472"/>
                      <a:pt x="713" y="474"/>
                      <a:pt x="719" y="470"/>
                    </a:cubicBezTo>
                    <a:cubicBezTo>
                      <a:pt x="735" y="462"/>
                      <a:pt x="744" y="432"/>
                      <a:pt x="765" y="431"/>
                    </a:cubicBezTo>
                    <a:cubicBezTo>
                      <a:pt x="773" y="430"/>
                      <a:pt x="781" y="437"/>
                      <a:pt x="789" y="437"/>
                    </a:cubicBezTo>
                    <a:cubicBezTo>
                      <a:pt x="805" y="437"/>
                      <a:pt x="824" y="423"/>
                      <a:pt x="838" y="414"/>
                    </a:cubicBezTo>
                    <a:cubicBezTo>
                      <a:pt x="860" y="400"/>
                      <a:pt x="870" y="374"/>
                      <a:pt x="891" y="359"/>
                    </a:cubicBezTo>
                    <a:cubicBezTo>
                      <a:pt x="904" y="350"/>
                      <a:pt x="923" y="348"/>
                      <a:pt x="936" y="339"/>
                    </a:cubicBezTo>
                    <a:cubicBezTo>
                      <a:pt x="942" y="335"/>
                      <a:pt x="954" y="328"/>
                      <a:pt x="958" y="321"/>
                    </a:cubicBezTo>
                    <a:cubicBezTo>
                      <a:pt x="960" y="317"/>
                      <a:pt x="962" y="302"/>
                      <a:pt x="972" y="312"/>
                    </a:cubicBezTo>
                    <a:cubicBezTo>
                      <a:pt x="975" y="314"/>
                      <a:pt x="976" y="316"/>
                      <a:pt x="977" y="319"/>
                    </a:cubicBezTo>
                    <a:close/>
                    <a:moveTo>
                      <a:pt x="92" y="258"/>
                    </a:moveTo>
                    <a:cubicBezTo>
                      <a:pt x="91" y="258"/>
                      <a:pt x="91" y="258"/>
                      <a:pt x="91" y="258"/>
                    </a:cubicBezTo>
                    <a:cubicBezTo>
                      <a:pt x="88" y="259"/>
                      <a:pt x="85" y="258"/>
                      <a:pt x="81" y="259"/>
                    </a:cubicBezTo>
                    <a:cubicBezTo>
                      <a:pt x="77" y="261"/>
                      <a:pt x="73" y="265"/>
                      <a:pt x="69" y="268"/>
                    </a:cubicBezTo>
                    <a:cubicBezTo>
                      <a:pt x="68" y="268"/>
                      <a:pt x="69" y="271"/>
                      <a:pt x="69" y="270"/>
                    </a:cubicBezTo>
                    <a:cubicBezTo>
                      <a:pt x="56" y="267"/>
                      <a:pt x="52" y="257"/>
                      <a:pt x="39" y="264"/>
                    </a:cubicBezTo>
                    <a:cubicBezTo>
                      <a:pt x="29" y="275"/>
                      <a:pt x="29" y="275"/>
                      <a:pt x="29" y="275"/>
                    </a:cubicBezTo>
                    <a:cubicBezTo>
                      <a:pt x="25" y="276"/>
                      <a:pt x="20" y="273"/>
                      <a:pt x="17" y="276"/>
                    </a:cubicBezTo>
                    <a:cubicBezTo>
                      <a:pt x="14" y="279"/>
                      <a:pt x="17" y="285"/>
                      <a:pt x="15" y="288"/>
                    </a:cubicBezTo>
                    <a:cubicBezTo>
                      <a:pt x="12" y="292"/>
                      <a:pt x="0" y="290"/>
                      <a:pt x="5" y="299"/>
                    </a:cubicBezTo>
                    <a:cubicBezTo>
                      <a:pt x="18" y="302"/>
                      <a:pt x="35" y="314"/>
                      <a:pt x="26" y="324"/>
                    </a:cubicBezTo>
                    <a:cubicBezTo>
                      <a:pt x="20" y="331"/>
                      <a:pt x="14" y="327"/>
                      <a:pt x="12" y="338"/>
                    </a:cubicBezTo>
                    <a:cubicBezTo>
                      <a:pt x="16" y="355"/>
                      <a:pt x="16" y="355"/>
                      <a:pt x="16" y="355"/>
                    </a:cubicBezTo>
                    <a:cubicBezTo>
                      <a:pt x="16" y="359"/>
                      <a:pt x="8" y="372"/>
                      <a:pt x="4" y="374"/>
                    </a:cubicBezTo>
                    <a:cubicBezTo>
                      <a:pt x="3" y="380"/>
                      <a:pt x="3" y="380"/>
                      <a:pt x="3" y="380"/>
                    </a:cubicBezTo>
                    <a:cubicBezTo>
                      <a:pt x="4" y="381"/>
                      <a:pt x="6" y="382"/>
                      <a:pt x="9" y="383"/>
                    </a:cubicBezTo>
                    <a:cubicBezTo>
                      <a:pt x="18" y="386"/>
                      <a:pt x="51" y="363"/>
                      <a:pt x="49" y="374"/>
                    </a:cubicBezTo>
                    <a:cubicBezTo>
                      <a:pt x="48" y="382"/>
                      <a:pt x="20" y="393"/>
                      <a:pt x="19" y="402"/>
                    </a:cubicBezTo>
                    <a:cubicBezTo>
                      <a:pt x="19" y="404"/>
                      <a:pt x="22" y="405"/>
                      <a:pt x="23" y="406"/>
                    </a:cubicBezTo>
                    <a:cubicBezTo>
                      <a:pt x="23" y="408"/>
                      <a:pt x="23" y="410"/>
                      <a:pt x="23" y="411"/>
                    </a:cubicBezTo>
                    <a:cubicBezTo>
                      <a:pt x="22" y="415"/>
                      <a:pt x="18" y="424"/>
                      <a:pt x="21" y="422"/>
                    </a:cubicBezTo>
                    <a:cubicBezTo>
                      <a:pt x="32" y="413"/>
                      <a:pt x="34" y="398"/>
                      <a:pt x="43" y="387"/>
                    </a:cubicBezTo>
                    <a:cubicBezTo>
                      <a:pt x="51" y="375"/>
                      <a:pt x="66" y="373"/>
                      <a:pt x="73" y="361"/>
                    </a:cubicBezTo>
                    <a:cubicBezTo>
                      <a:pt x="76" y="357"/>
                      <a:pt x="78" y="352"/>
                      <a:pt x="79" y="348"/>
                    </a:cubicBezTo>
                    <a:cubicBezTo>
                      <a:pt x="80" y="344"/>
                      <a:pt x="78" y="340"/>
                      <a:pt x="80" y="337"/>
                    </a:cubicBezTo>
                    <a:cubicBezTo>
                      <a:pt x="90" y="325"/>
                      <a:pt x="94" y="336"/>
                      <a:pt x="105" y="332"/>
                    </a:cubicBezTo>
                    <a:cubicBezTo>
                      <a:pt x="107" y="332"/>
                      <a:pt x="106" y="328"/>
                      <a:pt x="107" y="327"/>
                    </a:cubicBezTo>
                    <a:cubicBezTo>
                      <a:pt x="111" y="324"/>
                      <a:pt x="114" y="321"/>
                      <a:pt x="119" y="320"/>
                    </a:cubicBezTo>
                    <a:cubicBezTo>
                      <a:pt x="132" y="316"/>
                      <a:pt x="138" y="330"/>
                      <a:pt x="135" y="316"/>
                    </a:cubicBezTo>
                    <a:cubicBezTo>
                      <a:pt x="134" y="313"/>
                      <a:pt x="137" y="324"/>
                      <a:pt x="140" y="323"/>
                    </a:cubicBezTo>
                    <a:cubicBezTo>
                      <a:pt x="145" y="323"/>
                      <a:pt x="159" y="320"/>
                      <a:pt x="160" y="315"/>
                    </a:cubicBezTo>
                    <a:cubicBezTo>
                      <a:pt x="162" y="312"/>
                      <a:pt x="160" y="308"/>
                      <a:pt x="161" y="304"/>
                    </a:cubicBezTo>
                    <a:cubicBezTo>
                      <a:pt x="161" y="302"/>
                      <a:pt x="165" y="298"/>
                      <a:pt x="163" y="297"/>
                    </a:cubicBezTo>
                    <a:cubicBezTo>
                      <a:pt x="151" y="293"/>
                      <a:pt x="124" y="297"/>
                      <a:pt x="109" y="288"/>
                    </a:cubicBezTo>
                    <a:cubicBezTo>
                      <a:pt x="87" y="275"/>
                      <a:pt x="96" y="267"/>
                      <a:pt x="92" y="258"/>
                    </a:cubicBezTo>
                    <a:close/>
                  </a:path>
                </a:pathLst>
              </a:custGeom>
              <a:solidFill>
                <a:srgbClr val="6785C1">
                  <a:lumMod val="40000"/>
                  <a:lumOff val="60000"/>
                </a:srgbClr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113" name="Armenia" descr="{&quot;Key&quot;:&quot;armenia&quot;,&quot;Name&quot;:&quot;Armenia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41104708-D88F-B4D6-217B-5EB0BCD6B6D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25777" y="5020858"/>
                <a:ext cx="377647" cy="235747"/>
              </a:xfrm>
              <a:custGeom>
                <a:avLst/>
                <a:gdLst>
                  <a:gd name="T0" fmla="*/ 116 w 226"/>
                  <a:gd name="T1" fmla="*/ 30 h 131"/>
                  <a:gd name="T2" fmla="*/ 80 w 226"/>
                  <a:gd name="T3" fmla="*/ 104 h 131"/>
                  <a:gd name="T4" fmla="*/ 81 w 226"/>
                  <a:gd name="T5" fmla="*/ 104 h 131"/>
                  <a:gd name="T6" fmla="*/ 82 w 226"/>
                  <a:gd name="T7" fmla="*/ 104 h 131"/>
                  <a:gd name="T8" fmla="*/ 86 w 226"/>
                  <a:gd name="T9" fmla="*/ 104 h 131"/>
                  <a:gd name="T10" fmla="*/ 88 w 226"/>
                  <a:gd name="T11" fmla="*/ 105 h 131"/>
                  <a:gd name="T12" fmla="*/ 89 w 226"/>
                  <a:gd name="T13" fmla="*/ 105 h 131"/>
                  <a:gd name="T14" fmla="*/ 90 w 226"/>
                  <a:gd name="T15" fmla="*/ 105 h 131"/>
                  <a:gd name="T16" fmla="*/ 91 w 226"/>
                  <a:gd name="T17" fmla="*/ 105 h 131"/>
                  <a:gd name="T18" fmla="*/ 92 w 226"/>
                  <a:gd name="T19" fmla="*/ 106 h 131"/>
                  <a:gd name="T20" fmla="*/ 93 w 226"/>
                  <a:gd name="T21" fmla="*/ 107 h 131"/>
                  <a:gd name="T22" fmla="*/ 94 w 226"/>
                  <a:gd name="T23" fmla="*/ 107 h 131"/>
                  <a:gd name="T24" fmla="*/ 95 w 226"/>
                  <a:gd name="T25" fmla="*/ 107 h 131"/>
                  <a:gd name="T26" fmla="*/ 96 w 226"/>
                  <a:gd name="T27" fmla="*/ 108 h 131"/>
                  <a:gd name="T28" fmla="*/ 97 w 226"/>
                  <a:gd name="T29" fmla="*/ 108 h 131"/>
                  <a:gd name="T30" fmla="*/ 98 w 226"/>
                  <a:gd name="T31" fmla="*/ 108 h 131"/>
                  <a:gd name="T32" fmla="*/ 99 w 226"/>
                  <a:gd name="T33" fmla="*/ 109 h 131"/>
                  <a:gd name="T34" fmla="*/ 106 w 226"/>
                  <a:gd name="T35" fmla="*/ 112 h 131"/>
                  <a:gd name="T36" fmla="*/ 107 w 226"/>
                  <a:gd name="T37" fmla="*/ 112 h 131"/>
                  <a:gd name="T38" fmla="*/ 120 w 226"/>
                  <a:gd name="T39" fmla="*/ 101 h 131"/>
                  <a:gd name="T40" fmla="*/ 137 w 226"/>
                  <a:gd name="T41" fmla="*/ 106 h 131"/>
                  <a:gd name="T42" fmla="*/ 161 w 226"/>
                  <a:gd name="T43" fmla="*/ 96 h 131"/>
                  <a:gd name="T44" fmla="*/ 184 w 226"/>
                  <a:gd name="T45" fmla="*/ 109 h 131"/>
                  <a:gd name="T46" fmla="*/ 186 w 226"/>
                  <a:gd name="T47" fmla="*/ 116 h 131"/>
                  <a:gd name="T48" fmla="*/ 214 w 226"/>
                  <a:gd name="T49" fmla="*/ 124 h 131"/>
                  <a:gd name="T50" fmla="*/ 226 w 226"/>
                  <a:gd name="T51" fmla="*/ 116 h 131"/>
                  <a:gd name="T52" fmla="*/ 224 w 226"/>
                  <a:gd name="T53" fmla="*/ 120 h 131"/>
                  <a:gd name="T54" fmla="*/ 208 w 226"/>
                  <a:gd name="T55" fmla="*/ 103 h 131"/>
                  <a:gd name="T56" fmla="*/ 218 w 226"/>
                  <a:gd name="T57" fmla="*/ 96 h 131"/>
                  <a:gd name="T58" fmla="*/ 204 w 226"/>
                  <a:gd name="T59" fmla="*/ 75 h 131"/>
                  <a:gd name="T60" fmla="*/ 153 w 226"/>
                  <a:gd name="T61" fmla="*/ 70 h 131"/>
                  <a:gd name="T62" fmla="*/ 142 w 226"/>
                  <a:gd name="T63" fmla="*/ 69 h 131"/>
                  <a:gd name="T64" fmla="*/ 154 w 226"/>
                  <a:gd name="T65" fmla="*/ 45 h 131"/>
                  <a:gd name="T66" fmla="*/ 115 w 226"/>
                  <a:gd name="T67" fmla="*/ 13 h 131"/>
                  <a:gd name="T68" fmla="*/ 102 w 226"/>
                  <a:gd name="T69" fmla="*/ 6 h 131"/>
                  <a:gd name="T70" fmla="*/ 81 w 226"/>
                  <a:gd name="T71" fmla="*/ 2 h 131"/>
                  <a:gd name="T72" fmla="*/ 72 w 226"/>
                  <a:gd name="T73" fmla="*/ 0 h 131"/>
                  <a:gd name="T74" fmla="*/ 63 w 226"/>
                  <a:gd name="T75" fmla="*/ 6 h 131"/>
                  <a:gd name="T76" fmla="*/ 33 w 226"/>
                  <a:gd name="T77" fmla="*/ 25 h 131"/>
                  <a:gd name="T78" fmla="*/ 0 w 226"/>
                  <a:gd name="T79" fmla="*/ 52 h 131"/>
                  <a:gd name="T80" fmla="*/ 2 w 226"/>
                  <a:gd name="T81" fmla="*/ 56 h 131"/>
                  <a:gd name="T82" fmla="*/ 30 w 226"/>
                  <a:gd name="T83" fmla="*/ 101 h 131"/>
                  <a:gd name="T84" fmla="*/ 39 w 226"/>
                  <a:gd name="T85" fmla="*/ 115 h 131"/>
                  <a:gd name="T86" fmla="*/ 79 w 226"/>
                  <a:gd name="T87" fmla="*/ 13 h 131"/>
                  <a:gd name="T88" fmla="*/ 79 w 226"/>
                  <a:gd name="T89" fmla="*/ 13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26" h="131">
                    <a:moveTo>
                      <a:pt x="118" y="27"/>
                    </a:moveTo>
                    <a:cubicBezTo>
                      <a:pt x="125" y="28"/>
                      <a:pt x="115" y="35"/>
                      <a:pt x="116" y="30"/>
                    </a:cubicBezTo>
                    <a:cubicBezTo>
                      <a:pt x="116" y="29"/>
                      <a:pt x="117" y="28"/>
                      <a:pt x="118" y="27"/>
                    </a:cubicBezTo>
                    <a:moveTo>
                      <a:pt x="80" y="104"/>
                    </a:moveTo>
                    <a:cubicBezTo>
                      <a:pt x="80" y="104"/>
                      <a:pt x="80" y="104"/>
                      <a:pt x="80" y="104"/>
                    </a:cubicBezTo>
                    <a:cubicBezTo>
                      <a:pt x="81" y="104"/>
                      <a:pt x="81" y="104"/>
                      <a:pt x="81" y="104"/>
                    </a:cubicBezTo>
                    <a:cubicBezTo>
                      <a:pt x="81" y="104"/>
                      <a:pt x="81" y="104"/>
                      <a:pt x="81" y="104"/>
                    </a:cubicBezTo>
                    <a:cubicBezTo>
                      <a:pt x="81" y="104"/>
                      <a:pt x="81" y="104"/>
                      <a:pt x="82" y="104"/>
                    </a:cubicBezTo>
                    <a:cubicBezTo>
                      <a:pt x="82" y="104"/>
                      <a:pt x="82" y="104"/>
                      <a:pt x="82" y="104"/>
                    </a:cubicBezTo>
                    <a:cubicBezTo>
                      <a:pt x="84" y="104"/>
                      <a:pt x="85" y="104"/>
                      <a:pt x="86" y="104"/>
                    </a:cubicBezTo>
                    <a:cubicBezTo>
                      <a:pt x="86" y="104"/>
                      <a:pt x="86" y="104"/>
                      <a:pt x="87" y="104"/>
                    </a:cubicBezTo>
                    <a:cubicBezTo>
                      <a:pt x="87" y="104"/>
                      <a:pt x="88" y="104"/>
                      <a:pt x="88" y="105"/>
                    </a:cubicBezTo>
                    <a:cubicBezTo>
                      <a:pt x="88" y="105"/>
                      <a:pt x="88" y="105"/>
                      <a:pt x="88" y="105"/>
                    </a:cubicBezTo>
                    <a:cubicBezTo>
                      <a:pt x="89" y="105"/>
                      <a:pt x="89" y="105"/>
                      <a:pt x="89" y="105"/>
                    </a:cubicBezTo>
                    <a:cubicBezTo>
                      <a:pt x="89" y="105"/>
                      <a:pt x="89" y="105"/>
                      <a:pt x="89" y="105"/>
                    </a:cubicBezTo>
                    <a:cubicBezTo>
                      <a:pt x="89" y="105"/>
                      <a:pt x="90" y="105"/>
                      <a:pt x="90" y="105"/>
                    </a:cubicBezTo>
                    <a:cubicBezTo>
                      <a:pt x="90" y="105"/>
                      <a:pt x="90" y="105"/>
                      <a:pt x="90" y="105"/>
                    </a:cubicBezTo>
                    <a:cubicBezTo>
                      <a:pt x="91" y="105"/>
                      <a:pt x="91" y="105"/>
                      <a:pt x="91" y="105"/>
                    </a:cubicBezTo>
                    <a:cubicBezTo>
                      <a:pt x="92" y="106"/>
                      <a:pt x="92" y="106"/>
                      <a:pt x="92" y="106"/>
                    </a:cubicBezTo>
                    <a:cubicBezTo>
                      <a:pt x="92" y="106"/>
                      <a:pt x="92" y="106"/>
                      <a:pt x="92" y="106"/>
                    </a:cubicBezTo>
                    <a:cubicBezTo>
                      <a:pt x="92" y="106"/>
                      <a:pt x="92" y="106"/>
                      <a:pt x="93" y="106"/>
                    </a:cubicBezTo>
                    <a:cubicBezTo>
                      <a:pt x="93" y="106"/>
                      <a:pt x="93" y="106"/>
                      <a:pt x="93" y="107"/>
                    </a:cubicBezTo>
                    <a:cubicBezTo>
                      <a:pt x="93" y="107"/>
                      <a:pt x="93" y="107"/>
                      <a:pt x="94" y="107"/>
                    </a:cubicBezTo>
                    <a:cubicBezTo>
                      <a:pt x="94" y="107"/>
                      <a:pt x="94" y="107"/>
                      <a:pt x="94" y="107"/>
                    </a:cubicBezTo>
                    <a:cubicBezTo>
                      <a:pt x="94" y="107"/>
                      <a:pt x="94" y="107"/>
                      <a:pt x="94" y="107"/>
                    </a:cubicBezTo>
                    <a:cubicBezTo>
                      <a:pt x="95" y="107"/>
                      <a:pt x="95" y="107"/>
                      <a:pt x="95" y="107"/>
                    </a:cubicBezTo>
                    <a:cubicBezTo>
                      <a:pt x="95" y="107"/>
                      <a:pt x="95" y="107"/>
                      <a:pt x="95" y="107"/>
                    </a:cubicBezTo>
                    <a:cubicBezTo>
                      <a:pt x="95" y="107"/>
                      <a:pt x="96" y="107"/>
                      <a:pt x="96" y="108"/>
                    </a:cubicBezTo>
                    <a:cubicBezTo>
                      <a:pt x="96" y="108"/>
                      <a:pt x="96" y="108"/>
                      <a:pt x="97" y="108"/>
                    </a:cubicBezTo>
                    <a:cubicBezTo>
                      <a:pt x="97" y="108"/>
                      <a:pt x="97" y="108"/>
                      <a:pt x="97" y="108"/>
                    </a:cubicBezTo>
                    <a:cubicBezTo>
                      <a:pt x="97" y="108"/>
                      <a:pt x="98" y="108"/>
                      <a:pt x="98" y="108"/>
                    </a:cubicBezTo>
                    <a:cubicBezTo>
                      <a:pt x="98" y="108"/>
                      <a:pt x="98" y="108"/>
                      <a:pt x="98" y="108"/>
                    </a:cubicBezTo>
                    <a:cubicBezTo>
                      <a:pt x="99" y="109"/>
                      <a:pt x="99" y="109"/>
                      <a:pt x="99" y="109"/>
                    </a:cubicBezTo>
                    <a:cubicBezTo>
                      <a:pt x="99" y="109"/>
                      <a:pt x="99" y="109"/>
                      <a:pt x="99" y="109"/>
                    </a:cubicBezTo>
                    <a:cubicBezTo>
                      <a:pt x="102" y="110"/>
                      <a:pt x="103" y="111"/>
                      <a:pt x="105" y="111"/>
                    </a:cubicBezTo>
                    <a:cubicBezTo>
                      <a:pt x="106" y="112"/>
                      <a:pt x="106" y="112"/>
                      <a:pt x="106" y="112"/>
                    </a:cubicBezTo>
                    <a:cubicBezTo>
                      <a:pt x="106" y="112"/>
                      <a:pt x="107" y="112"/>
                      <a:pt x="107" y="112"/>
                    </a:cubicBezTo>
                    <a:cubicBezTo>
                      <a:pt x="107" y="112"/>
                      <a:pt x="107" y="112"/>
                      <a:pt x="107" y="112"/>
                    </a:cubicBezTo>
                    <a:cubicBezTo>
                      <a:pt x="108" y="113"/>
                      <a:pt x="109" y="113"/>
                      <a:pt x="110" y="113"/>
                    </a:cubicBezTo>
                    <a:cubicBezTo>
                      <a:pt x="113" y="109"/>
                      <a:pt x="115" y="102"/>
                      <a:pt x="120" y="101"/>
                    </a:cubicBezTo>
                    <a:cubicBezTo>
                      <a:pt x="135" y="97"/>
                      <a:pt x="129" y="118"/>
                      <a:pt x="135" y="111"/>
                    </a:cubicBezTo>
                    <a:cubicBezTo>
                      <a:pt x="136" y="110"/>
                      <a:pt x="135" y="107"/>
                      <a:pt x="137" y="106"/>
                    </a:cubicBezTo>
                    <a:cubicBezTo>
                      <a:pt x="141" y="105"/>
                      <a:pt x="145" y="110"/>
                      <a:pt x="150" y="109"/>
                    </a:cubicBezTo>
                    <a:cubicBezTo>
                      <a:pt x="161" y="96"/>
                      <a:pt x="161" y="96"/>
                      <a:pt x="161" y="96"/>
                    </a:cubicBezTo>
                    <a:cubicBezTo>
                      <a:pt x="172" y="90"/>
                      <a:pt x="170" y="109"/>
                      <a:pt x="171" y="109"/>
                    </a:cubicBezTo>
                    <a:cubicBezTo>
                      <a:pt x="175" y="109"/>
                      <a:pt x="179" y="108"/>
                      <a:pt x="184" y="109"/>
                    </a:cubicBezTo>
                    <a:cubicBezTo>
                      <a:pt x="184" y="109"/>
                      <a:pt x="186" y="109"/>
                      <a:pt x="186" y="110"/>
                    </a:cubicBezTo>
                    <a:cubicBezTo>
                      <a:pt x="187" y="112"/>
                      <a:pt x="185" y="114"/>
                      <a:pt x="186" y="116"/>
                    </a:cubicBezTo>
                    <a:cubicBezTo>
                      <a:pt x="186" y="116"/>
                      <a:pt x="201" y="128"/>
                      <a:pt x="206" y="131"/>
                    </a:cubicBezTo>
                    <a:cubicBezTo>
                      <a:pt x="207" y="130"/>
                      <a:pt x="209" y="127"/>
                      <a:pt x="214" y="124"/>
                    </a:cubicBezTo>
                    <a:cubicBezTo>
                      <a:pt x="217" y="121"/>
                      <a:pt x="222" y="124"/>
                      <a:pt x="224" y="121"/>
                    </a:cubicBezTo>
                    <a:cubicBezTo>
                      <a:pt x="224" y="121"/>
                      <a:pt x="225" y="119"/>
                      <a:pt x="226" y="116"/>
                    </a:cubicBezTo>
                    <a:cubicBezTo>
                      <a:pt x="225" y="118"/>
                      <a:pt x="225" y="120"/>
                      <a:pt x="224" y="121"/>
                    </a:cubicBezTo>
                    <a:cubicBezTo>
                      <a:pt x="224" y="120"/>
                      <a:pt x="224" y="120"/>
                      <a:pt x="224" y="120"/>
                    </a:cubicBezTo>
                    <a:cubicBezTo>
                      <a:pt x="219" y="116"/>
                      <a:pt x="220" y="108"/>
                      <a:pt x="215" y="105"/>
                    </a:cubicBezTo>
                    <a:cubicBezTo>
                      <a:pt x="213" y="104"/>
                      <a:pt x="208" y="107"/>
                      <a:pt x="208" y="103"/>
                    </a:cubicBezTo>
                    <a:cubicBezTo>
                      <a:pt x="208" y="101"/>
                      <a:pt x="209" y="101"/>
                      <a:pt x="209" y="100"/>
                    </a:cubicBezTo>
                    <a:cubicBezTo>
                      <a:pt x="211" y="99"/>
                      <a:pt x="218" y="99"/>
                      <a:pt x="218" y="96"/>
                    </a:cubicBezTo>
                    <a:cubicBezTo>
                      <a:pt x="217" y="84"/>
                      <a:pt x="199" y="96"/>
                      <a:pt x="199" y="87"/>
                    </a:cubicBezTo>
                    <a:cubicBezTo>
                      <a:pt x="198" y="81"/>
                      <a:pt x="207" y="83"/>
                      <a:pt x="204" y="75"/>
                    </a:cubicBezTo>
                    <a:cubicBezTo>
                      <a:pt x="201" y="70"/>
                      <a:pt x="188" y="81"/>
                      <a:pt x="185" y="81"/>
                    </a:cubicBezTo>
                    <a:cubicBezTo>
                      <a:pt x="175" y="82"/>
                      <a:pt x="163" y="71"/>
                      <a:pt x="153" y="70"/>
                    </a:cubicBezTo>
                    <a:cubicBezTo>
                      <a:pt x="149" y="70"/>
                      <a:pt x="146" y="73"/>
                      <a:pt x="142" y="72"/>
                    </a:cubicBezTo>
                    <a:cubicBezTo>
                      <a:pt x="141" y="72"/>
                      <a:pt x="142" y="70"/>
                      <a:pt x="142" y="69"/>
                    </a:cubicBezTo>
                    <a:cubicBezTo>
                      <a:pt x="146" y="66"/>
                      <a:pt x="152" y="65"/>
                      <a:pt x="155" y="62"/>
                    </a:cubicBezTo>
                    <a:cubicBezTo>
                      <a:pt x="157" y="61"/>
                      <a:pt x="155" y="47"/>
                      <a:pt x="154" y="45"/>
                    </a:cubicBezTo>
                    <a:cubicBezTo>
                      <a:pt x="153" y="43"/>
                      <a:pt x="119" y="45"/>
                      <a:pt x="110" y="33"/>
                    </a:cubicBezTo>
                    <a:cubicBezTo>
                      <a:pt x="105" y="26"/>
                      <a:pt x="123" y="17"/>
                      <a:pt x="115" y="13"/>
                    </a:cubicBezTo>
                    <a:cubicBezTo>
                      <a:pt x="111" y="11"/>
                      <a:pt x="107" y="13"/>
                      <a:pt x="103" y="11"/>
                    </a:cubicBezTo>
                    <a:cubicBezTo>
                      <a:pt x="102" y="11"/>
                      <a:pt x="103" y="6"/>
                      <a:pt x="102" y="6"/>
                    </a:cubicBezTo>
                    <a:cubicBezTo>
                      <a:pt x="98" y="7"/>
                      <a:pt x="84" y="14"/>
                      <a:pt x="81" y="12"/>
                    </a:cubicBezTo>
                    <a:cubicBezTo>
                      <a:pt x="79" y="9"/>
                      <a:pt x="95" y="2"/>
                      <a:pt x="81" y="2"/>
                    </a:cubicBezTo>
                    <a:cubicBezTo>
                      <a:pt x="79" y="2"/>
                      <a:pt x="78" y="5"/>
                      <a:pt x="76" y="5"/>
                    </a:cubicBezTo>
                    <a:cubicBezTo>
                      <a:pt x="74" y="4"/>
                      <a:pt x="73" y="1"/>
                      <a:pt x="72" y="0"/>
                    </a:cubicBezTo>
                    <a:cubicBezTo>
                      <a:pt x="71" y="1"/>
                      <a:pt x="71" y="2"/>
                      <a:pt x="69" y="3"/>
                    </a:cubicBezTo>
                    <a:cubicBezTo>
                      <a:pt x="67" y="4"/>
                      <a:pt x="60" y="5"/>
                      <a:pt x="63" y="6"/>
                    </a:cubicBezTo>
                    <a:cubicBezTo>
                      <a:pt x="64" y="7"/>
                      <a:pt x="68" y="8"/>
                      <a:pt x="67" y="9"/>
                    </a:cubicBezTo>
                    <a:cubicBezTo>
                      <a:pt x="57" y="15"/>
                      <a:pt x="41" y="18"/>
                      <a:pt x="33" y="25"/>
                    </a:cubicBezTo>
                    <a:cubicBezTo>
                      <a:pt x="23" y="34"/>
                      <a:pt x="15" y="44"/>
                      <a:pt x="1" y="51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51"/>
                      <a:pt x="0" y="51"/>
                      <a:pt x="0" y="50"/>
                    </a:cubicBezTo>
                    <a:cubicBezTo>
                      <a:pt x="1" y="52"/>
                      <a:pt x="0" y="54"/>
                      <a:pt x="2" y="56"/>
                    </a:cubicBezTo>
                    <a:cubicBezTo>
                      <a:pt x="7" y="60"/>
                      <a:pt x="24" y="59"/>
                      <a:pt x="28" y="74"/>
                    </a:cubicBezTo>
                    <a:cubicBezTo>
                      <a:pt x="29" y="82"/>
                      <a:pt x="24" y="95"/>
                      <a:pt x="30" y="101"/>
                    </a:cubicBezTo>
                    <a:cubicBezTo>
                      <a:pt x="34" y="105"/>
                      <a:pt x="39" y="106"/>
                      <a:pt x="41" y="110"/>
                    </a:cubicBezTo>
                    <a:cubicBezTo>
                      <a:pt x="42" y="111"/>
                      <a:pt x="38" y="115"/>
                      <a:pt x="39" y="115"/>
                    </a:cubicBezTo>
                    <a:cubicBezTo>
                      <a:pt x="58" y="114"/>
                      <a:pt x="67" y="104"/>
                      <a:pt x="80" y="104"/>
                    </a:cubicBezTo>
                    <a:close/>
                    <a:moveTo>
                      <a:pt x="79" y="13"/>
                    </a:moveTo>
                    <a:cubicBezTo>
                      <a:pt x="80" y="14"/>
                      <a:pt x="81" y="14"/>
                      <a:pt x="82" y="14"/>
                    </a:cubicBezTo>
                    <a:cubicBezTo>
                      <a:pt x="83" y="17"/>
                      <a:pt x="72" y="17"/>
                      <a:pt x="79" y="13"/>
                    </a:cubicBez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114" name="Cyprus" descr="{&quot;Key&quot;:&quot;cyprus&quot;,&quot;Name&quot;:&quot;Cyprus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FFEF55A1-899F-E706-7166-61540B4AEF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43824" y="6159771"/>
                <a:ext cx="213260" cy="210261"/>
              </a:xfrm>
              <a:custGeom>
                <a:avLst/>
                <a:gdLst>
                  <a:gd name="T0" fmla="*/ 127 w 127"/>
                  <a:gd name="T1" fmla="*/ 0 h 117"/>
                  <a:gd name="T2" fmla="*/ 97 w 127"/>
                  <a:gd name="T3" fmla="*/ 42 h 117"/>
                  <a:gd name="T4" fmla="*/ 114 w 127"/>
                  <a:gd name="T5" fmla="*/ 60 h 117"/>
                  <a:gd name="T6" fmla="*/ 106 w 127"/>
                  <a:gd name="T7" fmla="*/ 61 h 117"/>
                  <a:gd name="T8" fmla="*/ 101 w 127"/>
                  <a:gd name="T9" fmla="*/ 66 h 117"/>
                  <a:gd name="T10" fmla="*/ 89 w 127"/>
                  <a:gd name="T11" fmla="*/ 69 h 117"/>
                  <a:gd name="T12" fmla="*/ 88 w 127"/>
                  <a:gd name="T13" fmla="*/ 80 h 117"/>
                  <a:gd name="T14" fmla="*/ 59 w 127"/>
                  <a:gd name="T15" fmla="*/ 99 h 117"/>
                  <a:gd name="T16" fmla="*/ 59 w 127"/>
                  <a:gd name="T17" fmla="*/ 108 h 117"/>
                  <a:gd name="T18" fmla="*/ 48 w 127"/>
                  <a:gd name="T19" fmla="*/ 104 h 117"/>
                  <a:gd name="T20" fmla="*/ 39 w 127"/>
                  <a:gd name="T21" fmla="*/ 110 h 117"/>
                  <a:gd name="T22" fmla="*/ 18 w 127"/>
                  <a:gd name="T23" fmla="*/ 107 h 117"/>
                  <a:gd name="T24" fmla="*/ 16 w 127"/>
                  <a:gd name="T25" fmla="*/ 102 h 117"/>
                  <a:gd name="T26" fmla="*/ 5 w 127"/>
                  <a:gd name="T27" fmla="*/ 85 h 117"/>
                  <a:gd name="T28" fmla="*/ 12 w 127"/>
                  <a:gd name="T29" fmla="*/ 87 h 117"/>
                  <a:gd name="T30" fmla="*/ 19 w 127"/>
                  <a:gd name="T31" fmla="*/ 75 h 117"/>
                  <a:gd name="T32" fmla="*/ 38 w 127"/>
                  <a:gd name="T33" fmla="*/ 70 h 117"/>
                  <a:gd name="T34" fmla="*/ 40 w 127"/>
                  <a:gd name="T35" fmla="*/ 60 h 117"/>
                  <a:gd name="T36" fmla="*/ 36 w 127"/>
                  <a:gd name="T37" fmla="*/ 51 h 117"/>
                  <a:gd name="T38" fmla="*/ 46 w 127"/>
                  <a:gd name="T39" fmla="*/ 52 h 117"/>
                  <a:gd name="T40" fmla="*/ 75 w 127"/>
                  <a:gd name="T41" fmla="*/ 44 h 117"/>
                  <a:gd name="T42" fmla="*/ 127 w 127"/>
                  <a:gd name="T43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27" h="117">
                    <a:moveTo>
                      <a:pt x="127" y="0"/>
                    </a:moveTo>
                    <a:cubicBezTo>
                      <a:pt x="127" y="9"/>
                      <a:pt x="101" y="31"/>
                      <a:pt x="97" y="42"/>
                    </a:cubicBezTo>
                    <a:cubicBezTo>
                      <a:pt x="92" y="54"/>
                      <a:pt x="117" y="56"/>
                      <a:pt x="114" y="60"/>
                    </a:cubicBezTo>
                    <a:cubicBezTo>
                      <a:pt x="113" y="63"/>
                      <a:pt x="108" y="60"/>
                      <a:pt x="106" y="61"/>
                    </a:cubicBezTo>
                    <a:cubicBezTo>
                      <a:pt x="104" y="61"/>
                      <a:pt x="103" y="65"/>
                      <a:pt x="101" y="66"/>
                    </a:cubicBezTo>
                    <a:cubicBezTo>
                      <a:pt x="97" y="68"/>
                      <a:pt x="92" y="66"/>
                      <a:pt x="89" y="69"/>
                    </a:cubicBezTo>
                    <a:cubicBezTo>
                      <a:pt x="87" y="72"/>
                      <a:pt x="89" y="77"/>
                      <a:pt x="88" y="80"/>
                    </a:cubicBezTo>
                    <a:cubicBezTo>
                      <a:pt x="83" y="87"/>
                      <a:pt x="63" y="93"/>
                      <a:pt x="59" y="99"/>
                    </a:cubicBezTo>
                    <a:cubicBezTo>
                      <a:pt x="57" y="102"/>
                      <a:pt x="61" y="106"/>
                      <a:pt x="59" y="108"/>
                    </a:cubicBezTo>
                    <a:cubicBezTo>
                      <a:pt x="54" y="117"/>
                      <a:pt x="50" y="104"/>
                      <a:pt x="48" y="104"/>
                    </a:cubicBezTo>
                    <a:cubicBezTo>
                      <a:pt x="45" y="104"/>
                      <a:pt x="43" y="108"/>
                      <a:pt x="39" y="110"/>
                    </a:cubicBezTo>
                    <a:cubicBezTo>
                      <a:pt x="37" y="110"/>
                      <a:pt x="19" y="107"/>
                      <a:pt x="18" y="107"/>
                    </a:cubicBezTo>
                    <a:cubicBezTo>
                      <a:pt x="16" y="106"/>
                      <a:pt x="17" y="103"/>
                      <a:pt x="16" y="102"/>
                    </a:cubicBezTo>
                    <a:cubicBezTo>
                      <a:pt x="14" y="100"/>
                      <a:pt x="0" y="84"/>
                      <a:pt x="5" y="85"/>
                    </a:cubicBezTo>
                    <a:cubicBezTo>
                      <a:pt x="7" y="85"/>
                      <a:pt x="9" y="87"/>
                      <a:pt x="12" y="87"/>
                    </a:cubicBezTo>
                    <a:cubicBezTo>
                      <a:pt x="17" y="87"/>
                      <a:pt x="18" y="77"/>
                      <a:pt x="19" y="75"/>
                    </a:cubicBezTo>
                    <a:cubicBezTo>
                      <a:pt x="23" y="69"/>
                      <a:pt x="34" y="73"/>
                      <a:pt x="38" y="70"/>
                    </a:cubicBezTo>
                    <a:cubicBezTo>
                      <a:pt x="41" y="68"/>
                      <a:pt x="40" y="64"/>
                      <a:pt x="40" y="60"/>
                    </a:cubicBezTo>
                    <a:cubicBezTo>
                      <a:pt x="39" y="57"/>
                      <a:pt x="34" y="54"/>
                      <a:pt x="36" y="51"/>
                    </a:cubicBezTo>
                    <a:cubicBezTo>
                      <a:pt x="38" y="49"/>
                      <a:pt x="43" y="52"/>
                      <a:pt x="46" y="52"/>
                    </a:cubicBezTo>
                    <a:cubicBezTo>
                      <a:pt x="53" y="51"/>
                      <a:pt x="69" y="47"/>
                      <a:pt x="75" y="44"/>
                    </a:cubicBezTo>
                    <a:cubicBezTo>
                      <a:pt x="83" y="39"/>
                      <a:pt x="127" y="0"/>
                      <a:pt x="127" y="0"/>
                    </a:cubicBezTo>
                    <a:close/>
                  </a:path>
                </a:pathLst>
              </a:custGeom>
              <a:solidFill>
                <a:srgbClr val="C2CEE6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115" name="Ireland" descr="{&quot;Key&quot;:&quot;ireland&quot;,&quot;Name&quot;:&quot;Ireland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2C5C6B48-0ED0-9C31-ED5C-B43FED7525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43650" y="3824601"/>
                <a:ext cx="380609" cy="461937"/>
              </a:xfrm>
              <a:custGeom>
                <a:avLst/>
                <a:gdLst>
                  <a:gd name="T0" fmla="*/ 212 w 227"/>
                  <a:gd name="T1" fmla="*/ 110 h 256"/>
                  <a:gd name="T2" fmla="*/ 219 w 227"/>
                  <a:gd name="T3" fmla="*/ 139 h 256"/>
                  <a:gd name="T4" fmla="*/ 210 w 227"/>
                  <a:gd name="T5" fmla="*/ 153 h 256"/>
                  <a:gd name="T6" fmla="*/ 213 w 227"/>
                  <a:gd name="T7" fmla="*/ 183 h 256"/>
                  <a:gd name="T8" fmla="*/ 184 w 227"/>
                  <a:gd name="T9" fmla="*/ 236 h 256"/>
                  <a:gd name="T10" fmla="*/ 169 w 227"/>
                  <a:gd name="T11" fmla="*/ 231 h 256"/>
                  <a:gd name="T12" fmla="*/ 147 w 227"/>
                  <a:gd name="T13" fmla="*/ 231 h 256"/>
                  <a:gd name="T14" fmla="*/ 119 w 227"/>
                  <a:gd name="T15" fmla="*/ 239 h 256"/>
                  <a:gd name="T16" fmla="*/ 89 w 227"/>
                  <a:gd name="T17" fmla="*/ 236 h 256"/>
                  <a:gd name="T18" fmla="*/ 77 w 227"/>
                  <a:gd name="T19" fmla="*/ 255 h 256"/>
                  <a:gd name="T20" fmla="*/ 69 w 227"/>
                  <a:gd name="T21" fmla="*/ 255 h 256"/>
                  <a:gd name="T22" fmla="*/ 35 w 227"/>
                  <a:gd name="T23" fmla="*/ 248 h 256"/>
                  <a:gd name="T24" fmla="*/ 36 w 227"/>
                  <a:gd name="T25" fmla="*/ 233 h 256"/>
                  <a:gd name="T26" fmla="*/ 17 w 227"/>
                  <a:gd name="T27" fmla="*/ 229 h 256"/>
                  <a:gd name="T28" fmla="*/ 36 w 227"/>
                  <a:gd name="T29" fmla="*/ 222 h 256"/>
                  <a:gd name="T30" fmla="*/ 7 w 227"/>
                  <a:gd name="T31" fmla="*/ 212 h 256"/>
                  <a:gd name="T32" fmla="*/ 33 w 227"/>
                  <a:gd name="T33" fmla="*/ 201 h 256"/>
                  <a:gd name="T34" fmla="*/ 4 w 227"/>
                  <a:gd name="T35" fmla="*/ 188 h 256"/>
                  <a:gd name="T36" fmla="*/ 24 w 227"/>
                  <a:gd name="T37" fmla="*/ 186 h 256"/>
                  <a:gd name="T38" fmla="*/ 43 w 227"/>
                  <a:gd name="T39" fmla="*/ 176 h 256"/>
                  <a:gd name="T40" fmla="*/ 79 w 227"/>
                  <a:gd name="T41" fmla="*/ 171 h 256"/>
                  <a:gd name="T42" fmla="*/ 65 w 227"/>
                  <a:gd name="T43" fmla="*/ 171 h 256"/>
                  <a:gd name="T44" fmla="*/ 53 w 227"/>
                  <a:gd name="T45" fmla="*/ 165 h 256"/>
                  <a:gd name="T46" fmla="*/ 53 w 227"/>
                  <a:gd name="T47" fmla="*/ 160 h 256"/>
                  <a:gd name="T48" fmla="*/ 68 w 227"/>
                  <a:gd name="T49" fmla="*/ 149 h 256"/>
                  <a:gd name="T50" fmla="*/ 75 w 227"/>
                  <a:gd name="T51" fmla="*/ 134 h 256"/>
                  <a:gd name="T52" fmla="*/ 88 w 227"/>
                  <a:gd name="T53" fmla="*/ 132 h 256"/>
                  <a:gd name="T54" fmla="*/ 65 w 227"/>
                  <a:gd name="T55" fmla="*/ 114 h 256"/>
                  <a:gd name="T56" fmla="*/ 51 w 227"/>
                  <a:gd name="T57" fmla="*/ 92 h 256"/>
                  <a:gd name="T58" fmla="*/ 77 w 227"/>
                  <a:gd name="T59" fmla="*/ 84 h 256"/>
                  <a:gd name="T60" fmla="*/ 66 w 227"/>
                  <a:gd name="T61" fmla="*/ 64 h 256"/>
                  <a:gd name="T62" fmla="*/ 64 w 227"/>
                  <a:gd name="T63" fmla="*/ 47 h 256"/>
                  <a:gd name="T64" fmla="*/ 101 w 227"/>
                  <a:gd name="T65" fmla="*/ 62 h 256"/>
                  <a:gd name="T66" fmla="*/ 124 w 227"/>
                  <a:gd name="T67" fmla="*/ 54 h 256"/>
                  <a:gd name="T68" fmla="*/ 145 w 227"/>
                  <a:gd name="T69" fmla="*/ 41 h 256"/>
                  <a:gd name="T70" fmla="*/ 137 w 227"/>
                  <a:gd name="T71" fmla="*/ 37 h 256"/>
                  <a:gd name="T72" fmla="*/ 138 w 227"/>
                  <a:gd name="T73" fmla="*/ 22 h 256"/>
                  <a:gd name="T74" fmla="*/ 148 w 227"/>
                  <a:gd name="T75" fmla="*/ 15 h 256"/>
                  <a:gd name="T76" fmla="*/ 186 w 227"/>
                  <a:gd name="T77" fmla="*/ 9 h 256"/>
                  <a:gd name="T78" fmla="*/ 188 w 227"/>
                  <a:gd name="T79" fmla="*/ 11 h 256"/>
                  <a:gd name="T80" fmla="*/ 163 w 227"/>
                  <a:gd name="T81" fmla="*/ 39 h 256"/>
                  <a:gd name="T82" fmla="*/ 175 w 227"/>
                  <a:gd name="T83" fmla="*/ 85 h 256"/>
                  <a:gd name="T84" fmla="*/ 207 w 227"/>
                  <a:gd name="T85" fmla="*/ 91 h 256"/>
                  <a:gd name="T86" fmla="*/ 223 w 227"/>
                  <a:gd name="T87" fmla="*/ 101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27" h="256">
                    <a:moveTo>
                      <a:pt x="221" y="100"/>
                    </a:moveTo>
                    <a:cubicBezTo>
                      <a:pt x="222" y="102"/>
                      <a:pt x="227" y="105"/>
                      <a:pt x="225" y="107"/>
                    </a:cubicBezTo>
                    <a:cubicBezTo>
                      <a:pt x="223" y="111"/>
                      <a:pt x="216" y="108"/>
                      <a:pt x="212" y="110"/>
                    </a:cubicBezTo>
                    <a:cubicBezTo>
                      <a:pt x="211" y="112"/>
                      <a:pt x="217" y="113"/>
                      <a:pt x="217" y="115"/>
                    </a:cubicBezTo>
                    <a:cubicBezTo>
                      <a:pt x="218" y="120"/>
                      <a:pt x="215" y="124"/>
                      <a:pt x="215" y="129"/>
                    </a:cubicBezTo>
                    <a:cubicBezTo>
                      <a:pt x="215" y="133"/>
                      <a:pt x="219" y="135"/>
                      <a:pt x="219" y="139"/>
                    </a:cubicBezTo>
                    <a:cubicBezTo>
                      <a:pt x="219" y="142"/>
                      <a:pt x="215" y="144"/>
                      <a:pt x="215" y="147"/>
                    </a:cubicBezTo>
                    <a:cubicBezTo>
                      <a:pt x="214" y="149"/>
                      <a:pt x="219" y="152"/>
                      <a:pt x="218" y="154"/>
                    </a:cubicBezTo>
                    <a:cubicBezTo>
                      <a:pt x="216" y="156"/>
                      <a:pt x="211" y="151"/>
                      <a:pt x="210" y="153"/>
                    </a:cubicBezTo>
                    <a:cubicBezTo>
                      <a:pt x="208" y="156"/>
                      <a:pt x="213" y="158"/>
                      <a:pt x="214" y="161"/>
                    </a:cubicBezTo>
                    <a:cubicBezTo>
                      <a:pt x="214" y="162"/>
                      <a:pt x="212" y="163"/>
                      <a:pt x="212" y="164"/>
                    </a:cubicBezTo>
                    <a:cubicBezTo>
                      <a:pt x="213" y="171"/>
                      <a:pt x="215" y="176"/>
                      <a:pt x="213" y="183"/>
                    </a:cubicBezTo>
                    <a:cubicBezTo>
                      <a:pt x="211" y="188"/>
                      <a:pt x="191" y="217"/>
                      <a:pt x="188" y="220"/>
                    </a:cubicBezTo>
                    <a:cubicBezTo>
                      <a:pt x="187" y="221"/>
                      <a:pt x="184" y="222"/>
                      <a:pt x="184" y="224"/>
                    </a:cubicBezTo>
                    <a:cubicBezTo>
                      <a:pt x="182" y="228"/>
                      <a:pt x="184" y="232"/>
                      <a:pt x="184" y="236"/>
                    </a:cubicBezTo>
                    <a:cubicBezTo>
                      <a:pt x="184" y="237"/>
                      <a:pt x="182" y="237"/>
                      <a:pt x="182" y="236"/>
                    </a:cubicBezTo>
                    <a:cubicBezTo>
                      <a:pt x="181" y="232"/>
                      <a:pt x="180" y="238"/>
                      <a:pt x="174" y="235"/>
                    </a:cubicBezTo>
                    <a:cubicBezTo>
                      <a:pt x="172" y="235"/>
                      <a:pt x="172" y="231"/>
                      <a:pt x="169" y="231"/>
                    </a:cubicBezTo>
                    <a:cubicBezTo>
                      <a:pt x="165" y="230"/>
                      <a:pt x="153" y="236"/>
                      <a:pt x="150" y="232"/>
                    </a:cubicBezTo>
                    <a:cubicBezTo>
                      <a:pt x="150" y="231"/>
                      <a:pt x="152" y="231"/>
                      <a:pt x="152" y="230"/>
                    </a:cubicBezTo>
                    <a:cubicBezTo>
                      <a:pt x="153" y="229"/>
                      <a:pt x="148" y="232"/>
                      <a:pt x="147" y="231"/>
                    </a:cubicBezTo>
                    <a:cubicBezTo>
                      <a:pt x="138" y="231"/>
                      <a:pt x="135" y="226"/>
                      <a:pt x="128" y="229"/>
                    </a:cubicBezTo>
                    <a:cubicBezTo>
                      <a:pt x="126" y="230"/>
                      <a:pt x="130" y="232"/>
                      <a:pt x="130" y="234"/>
                    </a:cubicBezTo>
                    <a:cubicBezTo>
                      <a:pt x="129" y="236"/>
                      <a:pt x="119" y="239"/>
                      <a:pt x="119" y="239"/>
                    </a:cubicBezTo>
                    <a:cubicBezTo>
                      <a:pt x="117" y="239"/>
                      <a:pt x="116" y="235"/>
                      <a:pt x="113" y="236"/>
                    </a:cubicBezTo>
                    <a:cubicBezTo>
                      <a:pt x="109" y="238"/>
                      <a:pt x="108" y="243"/>
                      <a:pt x="104" y="245"/>
                    </a:cubicBezTo>
                    <a:cubicBezTo>
                      <a:pt x="92" y="251"/>
                      <a:pt x="100" y="234"/>
                      <a:pt x="89" y="236"/>
                    </a:cubicBezTo>
                    <a:cubicBezTo>
                      <a:pt x="86" y="236"/>
                      <a:pt x="92" y="243"/>
                      <a:pt x="91" y="245"/>
                    </a:cubicBezTo>
                    <a:cubicBezTo>
                      <a:pt x="89" y="248"/>
                      <a:pt x="85" y="248"/>
                      <a:pt x="82" y="249"/>
                    </a:cubicBezTo>
                    <a:cubicBezTo>
                      <a:pt x="81" y="251"/>
                      <a:pt x="79" y="254"/>
                      <a:pt x="77" y="255"/>
                    </a:cubicBezTo>
                    <a:cubicBezTo>
                      <a:pt x="76" y="255"/>
                      <a:pt x="77" y="252"/>
                      <a:pt x="75" y="252"/>
                    </a:cubicBezTo>
                    <a:cubicBezTo>
                      <a:pt x="74" y="251"/>
                      <a:pt x="73" y="249"/>
                      <a:pt x="71" y="250"/>
                    </a:cubicBezTo>
                    <a:cubicBezTo>
                      <a:pt x="70" y="251"/>
                      <a:pt x="71" y="255"/>
                      <a:pt x="69" y="255"/>
                    </a:cubicBezTo>
                    <a:cubicBezTo>
                      <a:pt x="64" y="256"/>
                      <a:pt x="53" y="249"/>
                      <a:pt x="50" y="249"/>
                    </a:cubicBezTo>
                    <a:cubicBezTo>
                      <a:pt x="46" y="250"/>
                      <a:pt x="42" y="253"/>
                      <a:pt x="38" y="254"/>
                    </a:cubicBezTo>
                    <a:cubicBezTo>
                      <a:pt x="27" y="255"/>
                      <a:pt x="44" y="246"/>
                      <a:pt x="35" y="248"/>
                    </a:cubicBezTo>
                    <a:cubicBezTo>
                      <a:pt x="32" y="249"/>
                      <a:pt x="18" y="251"/>
                      <a:pt x="17" y="249"/>
                    </a:cubicBezTo>
                    <a:cubicBezTo>
                      <a:pt x="15" y="246"/>
                      <a:pt x="36" y="240"/>
                      <a:pt x="39" y="235"/>
                    </a:cubicBezTo>
                    <a:cubicBezTo>
                      <a:pt x="39" y="234"/>
                      <a:pt x="37" y="234"/>
                      <a:pt x="36" y="233"/>
                    </a:cubicBezTo>
                    <a:cubicBezTo>
                      <a:pt x="35" y="232"/>
                      <a:pt x="22" y="235"/>
                      <a:pt x="6" y="233"/>
                    </a:cubicBezTo>
                    <a:cubicBezTo>
                      <a:pt x="5" y="233"/>
                      <a:pt x="7" y="232"/>
                      <a:pt x="14" y="230"/>
                    </a:cubicBezTo>
                    <a:cubicBezTo>
                      <a:pt x="16" y="230"/>
                      <a:pt x="17" y="230"/>
                      <a:pt x="17" y="229"/>
                    </a:cubicBezTo>
                    <a:cubicBezTo>
                      <a:pt x="17" y="228"/>
                      <a:pt x="15" y="227"/>
                      <a:pt x="16" y="227"/>
                    </a:cubicBezTo>
                    <a:cubicBezTo>
                      <a:pt x="21" y="222"/>
                      <a:pt x="18" y="230"/>
                      <a:pt x="25" y="227"/>
                    </a:cubicBezTo>
                    <a:cubicBezTo>
                      <a:pt x="29" y="226"/>
                      <a:pt x="38" y="225"/>
                      <a:pt x="36" y="222"/>
                    </a:cubicBezTo>
                    <a:cubicBezTo>
                      <a:pt x="35" y="222"/>
                      <a:pt x="10" y="225"/>
                      <a:pt x="9" y="225"/>
                    </a:cubicBezTo>
                    <a:cubicBezTo>
                      <a:pt x="4" y="224"/>
                      <a:pt x="0" y="216"/>
                      <a:pt x="0" y="210"/>
                    </a:cubicBezTo>
                    <a:cubicBezTo>
                      <a:pt x="1" y="208"/>
                      <a:pt x="5" y="213"/>
                      <a:pt x="7" y="212"/>
                    </a:cubicBezTo>
                    <a:cubicBezTo>
                      <a:pt x="9" y="210"/>
                      <a:pt x="6" y="209"/>
                      <a:pt x="6" y="207"/>
                    </a:cubicBezTo>
                    <a:cubicBezTo>
                      <a:pt x="7" y="202"/>
                      <a:pt x="16" y="205"/>
                      <a:pt x="21" y="204"/>
                    </a:cubicBezTo>
                    <a:cubicBezTo>
                      <a:pt x="25" y="203"/>
                      <a:pt x="30" y="204"/>
                      <a:pt x="33" y="201"/>
                    </a:cubicBezTo>
                    <a:cubicBezTo>
                      <a:pt x="35" y="199"/>
                      <a:pt x="27" y="195"/>
                      <a:pt x="25" y="197"/>
                    </a:cubicBezTo>
                    <a:cubicBezTo>
                      <a:pt x="24" y="198"/>
                      <a:pt x="26" y="200"/>
                      <a:pt x="25" y="201"/>
                    </a:cubicBezTo>
                    <a:cubicBezTo>
                      <a:pt x="24" y="201"/>
                      <a:pt x="7" y="193"/>
                      <a:pt x="4" y="188"/>
                    </a:cubicBezTo>
                    <a:cubicBezTo>
                      <a:pt x="3" y="187"/>
                      <a:pt x="7" y="190"/>
                      <a:pt x="8" y="189"/>
                    </a:cubicBezTo>
                    <a:cubicBezTo>
                      <a:pt x="9" y="189"/>
                      <a:pt x="8" y="187"/>
                      <a:pt x="9" y="186"/>
                    </a:cubicBezTo>
                    <a:cubicBezTo>
                      <a:pt x="12" y="184"/>
                      <a:pt x="20" y="185"/>
                      <a:pt x="24" y="186"/>
                    </a:cubicBezTo>
                    <a:cubicBezTo>
                      <a:pt x="29" y="186"/>
                      <a:pt x="32" y="191"/>
                      <a:pt x="37" y="193"/>
                    </a:cubicBezTo>
                    <a:cubicBezTo>
                      <a:pt x="42" y="195"/>
                      <a:pt x="29" y="184"/>
                      <a:pt x="31" y="179"/>
                    </a:cubicBezTo>
                    <a:cubicBezTo>
                      <a:pt x="32" y="175"/>
                      <a:pt x="39" y="178"/>
                      <a:pt x="43" y="176"/>
                    </a:cubicBezTo>
                    <a:cubicBezTo>
                      <a:pt x="46" y="175"/>
                      <a:pt x="46" y="172"/>
                      <a:pt x="48" y="171"/>
                    </a:cubicBezTo>
                    <a:cubicBezTo>
                      <a:pt x="48" y="171"/>
                      <a:pt x="85" y="178"/>
                      <a:pt x="89" y="175"/>
                    </a:cubicBezTo>
                    <a:cubicBezTo>
                      <a:pt x="91" y="174"/>
                      <a:pt x="81" y="174"/>
                      <a:pt x="79" y="171"/>
                    </a:cubicBezTo>
                    <a:cubicBezTo>
                      <a:pt x="79" y="170"/>
                      <a:pt x="81" y="167"/>
                      <a:pt x="81" y="165"/>
                    </a:cubicBezTo>
                    <a:cubicBezTo>
                      <a:pt x="80" y="164"/>
                      <a:pt x="69" y="175"/>
                      <a:pt x="63" y="175"/>
                    </a:cubicBezTo>
                    <a:cubicBezTo>
                      <a:pt x="62" y="174"/>
                      <a:pt x="66" y="171"/>
                      <a:pt x="65" y="171"/>
                    </a:cubicBezTo>
                    <a:cubicBezTo>
                      <a:pt x="63" y="170"/>
                      <a:pt x="61" y="172"/>
                      <a:pt x="59" y="172"/>
                    </a:cubicBezTo>
                    <a:cubicBezTo>
                      <a:pt x="56" y="171"/>
                      <a:pt x="55" y="170"/>
                      <a:pt x="53" y="168"/>
                    </a:cubicBezTo>
                    <a:cubicBezTo>
                      <a:pt x="53" y="167"/>
                      <a:pt x="54" y="166"/>
                      <a:pt x="53" y="165"/>
                    </a:cubicBezTo>
                    <a:cubicBezTo>
                      <a:pt x="53" y="165"/>
                      <a:pt x="37" y="169"/>
                      <a:pt x="35" y="167"/>
                    </a:cubicBezTo>
                    <a:cubicBezTo>
                      <a:pt x="33" y="167"/>
                      <a:pt x="39" y="167"/>
                      <a:pt x="40" y="167"/>
                    </a:cubicBezTo>
                    <a:cubicBezTo>
                      <a:pt x="45" y="165"/>
                      <a:pt x="48" y="162"/>
                      <a:pt x="53" y="160"/>
                    </a:cubicBezTo>
                    <a:cubicBezTo>
                      <a:pt x="54" y="159"/>
                      <a:pt x="56" y="161"/>
                      <a:pt x="57" y="160"/>
                    </a:cubicBezTo>
                    <a:cubicBezTo>
                      <a:pt x="60" y="158"/>
                      <a:pt x="60" y="154"/>
                      <a:pt x="63" y="151"/>
                    </a:cubicBezTo>
                    <a:cubicBezTo>
                      <a:pt x="64" y="150"/>
                      <a:pt x="66" y="149"/>
                      <a:pt x="68" y="149"/>
                    </a:cubicBezTo>
                    <a:cubicBezTo>
                      <a:pt x="69" y="148"/>
                      <a:pt x="64" y="149"/>
                      <a:pt x="62" y="147"/>
                    </a:cubicBezTo>
                    <a:cubicBezTo>
                      <a:pt x="60" y="144"/>
                      <a:pt x="68" y="142"/>
                      <a:pt x="70" y="140"/>
                    </a:cubicBezTo>
                    <a:cubicBezTo>
                      <a:pt x="72" y="137"/>
                      <a:pt x="73" y="135"/>
                      <a:pt x="75" y="134"/>
                    </a:cubicBezTo>
                    <a:cubicBezTo>
                      <a:pt x="77" y="133"/>
                      <a:pt x="78" y="138"/>
                      <a:pt x="79" y="137"/>
                    </a:cubicBezTo>
                    <a:cubicBezTo>
                      <a:pt x="84" y="137"/>
                      <a:pt x="89" y="136"/>
                      <a:pt x="92" y="133"/>
                    </a:cubicBezTo>
                    <a:cubicBezTo>
                      <a:pt x="94" y="133"/>
                      <a:pt x="88" y="134"/>
                      <a:pt x="88" y="132"/>
                    </a:cubicBezTo>
                    <a:cubicBezTo>
                      <a:pt x="88" y="131"/>
                      <a:pt x="92" y="131"/>
                      <a:pt x="92" y="129"/>
                    </a:cubicBezTo>
                    <a:cubicBezTo>
                      <a:pt x="91" y="128"/>
                      <a:pt x="80" y="130"/>
                      <a:pt x="68" y="127"/>
                    </a:cubicBezTo>
                    <a:cubicBezTo>
                      <a:pt x="56" y="123"/>
                      <a:pt x="68" y="124"/>
                      <a:pt x="65" y="114"/>
                    </a:cubicBezTo>
                    <a:cubicBezTo>
                      <a:pt x="62" y="104"/>
                      <a:pt x="46" y="111"/>
                      <a:pt x="42" y="105"/>
                    </a:cubicBezTo>
                    <a:cubicBezTo>
                      <a:pt x="29" y="88"/>
                      <a:pt x="52" y="95"/>
                      <a:pt x="53" y="95"/>
                    </a:cubicBezTo>
                    <a:cubicBezTo>
                      <a:pt x="53" y="94"/>
                      <a:pt x="51" y="93"/>
                      <a:pt x="51" y="92"/>
                    </a:cubicBezTo>
                    <a:cubicBezTo>
                      <a:pt x="53" y="88"/>
                      <a:pt x="56" y="84"/>
                      <a:pt x="61" y="83"/>
                    </a:cubicBezTo>
                    <a:cubicBezTo>
                      <a:pt x="65" y="82"/>
                      <a:pt x="69" y="85"/>
                      <a:pt x="74" y="85"/>
                    </a:cubicBezTo>
                    <a:cubicBezTo>
                      <a:pt x="75" y="85"/>
                      <a:pt x="76" y="85"/>
                      <a:pt x="77" y="84"/>
                    </a:cubicBezTo>
                    <a:cubicBezTo>
                      <a:pt x="84" y="66"/>
                      <a:pt x="63" y="79"/>
                      <a:pt x="62" y="74"/>
                    </a:cubicBezTo>
                    <a:cubicBezTo>
                      <a:pt x="61" y="72"/>
                      <a:pt x="67" y="74"/>
                      <a:pt x="69" y="72"/>
                    </a:cubicBezTo>
                    <a:cubicBezTo>
                      <a:pt x="72" y="70"/>
                      <a:pt x="66" y="64"/>
                      <a:pt x="66" y="64"/>
                    </a:cubicBezTo>
                    <a:cubicBezTo>
                      <a:pt x="66" y="60"/>
                      <a:pt x="71" y="55"/>
                      <a:pt x="68" y="51"/>
                    </a:cubicBezTo>
                    <a:cubicBezTo>
                      <a:pt x="66" y="49"/>
                      <a:pt x="61" y="58"/>
                      <a:pt x="59" y="55"/>
                    </a:cubicBezTo>
                    <a:cubicBezTo>
                      <a:pt x="57" y="53"/>
                      <a:pt x="62" y="50"/>
                      <a:pt x="64" y="47"/>
                    </a:cubicBezTo>
                    <a:cubicBezTo>
                      <a:pt x="64" y="45"/>
                      <a:pt x="59" y="46"/>
                      <a:pt x="64" y="45"/>
                    </a:cubicBezTo>
                    <a:cubicBezTo>
                      <a:pt x="69" y="43"/>
                      <a:pt x="95" y="43"/>
                      <a:pt x="98" y="51"/>
                    </a:cubicBezTo>
                    <a:cubicBezTo>
                      <a:pt x="100" y="55"/>
                      <a:pt x="98" y="61"/>
                      <a:pt x="101" y="62"/>
                    </a:cubicBezTo>
                    <a:cubicBezTo>
                      <a:pt x="104" y="63"/>
                      <a:pt x="104" y="56"/>
                      <a:pt x="107" y="55"/>
                    </a:cubicBezTo>
                    <a:cubicBezTo>
                      <a:pt x="112" y="52"/>
                      <a:pt x="127" y="69"/>
                      <a:pt x="128" y="67"/>
                    </a:cubicBezTo>
                    <a:cubicBezTo>
                      <a:pt x="129" y="63"/>
                      <a:pt x="124" y="59"/>
                      <a:pt x="124" y="54"/>
                    </a:cubicBezTo>
                    <a:cubicBezTo>
                      <a:pt x="125" y="49"/>
                      <a:pt x="142" y="51"/>
                      <a:pt x="142" y="50"/>
                    </a:cubicBezTo>
                    <a:cubicBezTo>
                      <a:pt x="147" y="49"/>
                      <a:pt x="150" y="45"/>
                      <a:pt x="153" y="42"/>
                    </a:cubicBezTo>
                    <a:cubicBezTo>
                      <a:pt x="155" y="40"/>
                      <a:pt x="145" y="42"/>
                      <a:pt x="145" y="41"/>
                    </a:cubicBezTo>
                    <a:cubicBezTo>
                      <a:pt x="143" y="34"/>
                      <a:pt x="145" y="43"/>
                      <a:pt x="137" y="42"/>
                    </a:cubicBezTo>
                    <a:cubicBezTo>
                      <a:pt x="136" y="42"/>
                      <a:pt x="138" y="40"/>
                      <a:pt x="138" y="39"/>
                    </a:cubicBezTo>
                    <a:cubicBezTo>
                      <a:pt x="138" y="38"/>
                      <a:pt x="138" y="37"/>
                      <a:pt x="137" y="37"/>
                    </a:cubicBezTo>
                    <a:cubicBezTo>
                      <a:pt x="135" y="36"/>
                      <a:pt x="124" y="36"/>
                      <a:pt x="125" y="29"/>
                    </a:cubicBezTo>
                    <a:cubicBezTo>
                      <a:pt x="129" y="17"/>
                      <a:pt x="140" y="30"/>
                      <a:pt x="143" y="29"/>
                    </a:cubicBezTo>
                    <a:cubicBezTo>
                      <a:pt x="146" y="28"/>
                      <a:pt x="137" y="24"/>
                      <a:pt x="138" y="22"/>
                    </a:cubicBezTo>
                    <a:cubicBezTo>
                      <a:pt x="141" y="20"/>
                      <a:pt x="145" y="24"/>
                      <a:pt x="148" y="24"/>
                    </a:cubicBezTo>
                    <a:cubicBezTo>
                      <a:pt x="151" y="23"/>
                      <a:pt x="146" y="19"/>
                      <a:pt x="144" y="17"/>
                    </a:cubicBezTo>
                    <a:cubicBezTo>
                      <a:pt x="143" y="16"/>
                      <a:pt x="148" y="16"/>
                      <a:pt x="148" y="15"/>
                    </a:cubicBezTo>
                    <a:cubicBezTo>
                      <a:pt x="151" y="5"/>
                      <a:pt x="126" y="15"/>
                      <a:pt x="156" y="1"/>
                    </a:cubicBezTo>
                    <a:cubicBezTo>
                      <a:pt x="158" y="0"/>
                      <a:pt x="160" y="2"/>
                      <a:pt x="162" y="3"/>
                    </a:cubicBezTo>
                    <a:cubicBezTo>
                      <a:pt x="170" y="5"/>
                      <a:pt x="179" y="4"/>
                      <a:pt x="186" y="9"/>
                    </a:cubicBezTo>
                    <a:cubicBezTo>
                      <a:pt x="190" y="12"/>
                      <a:pt x="176" y="17"/>
                      <a:pt x="178" y="21"/>
                    </a:cubicBezTo>
                    <a:cubicBezTo>
                      <a:pt x="180" y="24"/>
                      <a:pt x="185" y="20"/>
                      <a:pt x="188" y="17"/>
                    </a:cubicBezTo>
                    <a:cubicBezTo>
                      <a:pt x="189" y="16"/>
                      <a:pt x="186" y="11"/>
                      <a:pt x="188" y="11"/>
                    </a:cubicBezTo>
                    <a:cubicBezTo>
                      <a:pt x="191" y="12"/>
                      <a:pt x="194" y="16"/>
                      <a:pt x="196" y="19"/>
                    </a:cubicBezTo>
                    <a:cubicBezTo>
                      <a:pt x="184" y="19"/>
                      <a:pt x="187" y="33"/>
                      <a:pt x="178" y="39"/>
                    </a:cubicBezTo>
                    <a:cubicBezTo>
                      <a:pt x="176" y="40"/>
                      <a:pt x="162" y="36"/>
                      <a:pt x="163" y="39"/>
                    </a:cubicBezTo>
                    <a:cubicBezTo>
                      <a:pt x="163" y="42"/>
                      <a:pt x="171" y="44"/>
                      <a:pt x="169" y="47"/>
                    </a:cubicBezTo>
                    <a:cubicBezTo>
                      <a:pt x="169" y="47"/>
                      <a:pt x="147" y="53"/>
                      <a:pt x="147" y="53"/>
                    </a:cubicBezTo>
                    <a:cubicBezTo>
                      <a:pt x="145" y="56"/>
                      <a:pt x="167" y="85"/>
                      <a:pt x="175" y="85"/>
                    </a:cubicBezTo>
                    <a:cubicBezTo>
                      <a:pt x="201" y="83"/>
                      <a:pt x="170" y="71"/>
                      <a:pt x="194" y="68"/>
                    </a:cubicBezTo>
                    <a:cubicBezTo>
                      <a:pt x="201" y="67"/>
                      <a:pt x="198" y="80"/>
                      <a:pt x="201" y="86"/>
                    </a:cubicBezTo>
                    <a:cubicBezTo>
                      <a:pt x="202" y="88"/>
                      <a:pt x="207" y="87"/>
                      <a:pt x="207" y="91"/>
                    </a:cubicBezTo>
                    <a:cubicBezTo>
                      <a:pt x="206" y="94"/>
                      <a:pt x="202" y="99"/>
                      <a:pt x="205" y="100"/>
                    </a:cubicBezTo>
                    <a:cubicBezTo>
                      <a:pt x="224" y="106"/>
                      <a:pt x="212" y="93"/>
                      <a:pt x="220" y="98"/>
                    </a:cubicBezTo>
                    <a:cubicBezTo>
                      <a:pt x="223" y="101"/>
                      <a:pt x="223" y="101"/>
                      <a:pt x="223" y="101"/>
                    </a:cubicBezTo>
                    <a:cubicBezTo>
                      <a:pt x="222" y="101"/>
                      <a:pt x="221" y="100"/>
                      <a:pt x="221" y="100"/>
                    </a:cubicBezTo>
                    <a:close/>
                  </a:path>
                </a:pathLst>
              </a:custGeom>
              <a:solidFill>
                <a:srgbClr val="6785C1">
                  <a:lumMod val="40000"/>
                  <a:lumOff val="60000"/>
                </a:srgbClr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116" name="Great Britain" descr="{&quot;Key&quot;:&quot;great britain&quot;,&quot;Name&quot;:&quot;Great Britain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CD4F9552-0150-3ADA-3A3C-B5F7E9D734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83568" y="3230454"/>
                <a:ext cx="697538" cy="1328468"/>
              </a:xfrm>
              <a:custGeom>
                <a:avLst/>
                <a:gdLst>
                  <a:gd name="T0" fmla="*/ 149 w 417"/>
                  <a:gd name="T1" fmla="*/ 491 h 738"/>
                  <a:gd name="T2" fmla="*/ 229 w 417"/>
                  <a:gd name="T3" fmla="*/ 120 h 738"/>
                  <a:gd name="T4" fmla="*/ 242 w 417"/>
                  <a:gd name="T5" fmla="*/ 175 h 738"/>
                  <a:gd name="T6" fmla="*/ 227 w 417"/>
                  <a:gd name="T7" fmla="*/ 194 h 738"/>
                  <a:gd name="T8" fmla="*/ 315 w 417"/>
                  <a:gd name="T9" fmla="*/ 217 h 738"/>
                  <a:gd name="T10" fmla="*/ 243 w 417"/>
                  <a:gd name="T11" fmla="*/ 287 h 738"/>
                  <a:gd name="T12" fmla="*/ 227 w 417"/>
                  <a:gd name="T13" fmla="*/ 315 h 738"/>
                  <a:gd name="T14" fmla="*/ 297 w 417"/>
                  <a:gd name="T15" fmla="*/ 356 h 738"/>
                  <a:gd name="T16" fmla="*/ 330 w 417"/>
                  <a:gd name="T17" fmla="*/ 447 h 738"/>
                  <a:gd name="T18" fmla="*/ 353 w 417"/>
                  <a:gd name="T19" fmla="*/ 553 h 738"/>
                  <a:gd name="T20" fmla="*/ 411 w 417"/>
                  <a:gd name="T21" fmla="*/ 606 h 738"/>
                  <a:gd name="T22" fmla="*/ 357 w 417"/>
                  <a:gd name="T23" fmla="*/ 655 h 738"/>
                  <a:gd name="T24" fmla="*/ 346 w 417"/>
                  <a:gd name="T25" fmla="*/ 678 h 738"/>
                  <a:gd name="T26" fmla="*/ 383 w 417"/>
                  <a:gd name="T27" fmla="*/ 690 h 738"/>
                  <a:gd name="T28" fmla="*/ 324 w 417"/>
                  <a:gd name="T29" fmla="*/ 726 h 738"/>
                  <a:gd name="T30" fmla="*/ 269 w 417"/>
                  <a:gd name="T31" fmla="*/ 710 h 738"/>
                  <a:gd name="T32" fmla="*/ 218 w 417"/>
                  <a:gd name="T33" fmla="*/ 711 h 738"/>
                  <a:gd name="T34" fmla="*/ 198 w 417"/>
                  <a:gd name="T35" fmla="*/ 718 h 738"/>
                  <a:gd name="T36" fmla="*/ 88 w 417"/>
                  <a:gd name="T37" fmla="*/ 715 h 738"/>
                  <a:gd name="T38" fmla="*/ 40 w 417"/>
                  <a:gd name="T39" fmla="*/ 719 h 738"/>
                  <a:gd name="T40" fmla="*/ 90 w 417"/>
                  <a:gd name="T41" fmla="*/ 695 h 738"/>
                  <a:gd name="T42" fmla="*/ 181 w 417"/>
                  <a:gd name="T43" fmla="*/ 666 h 738"/>
                  <a:gd name="T44" fmla="*/ 158 w 417"/>
                  <a:gd name="T45" fmla="*/ 648 h 738"/>
                  <a:gd name="T46" fmla="*/ 110 w 417"/>
                  <a:gd name="T47" fmla="*/ 619 h 738"/>
                  <a:gd name="T48" fmla="*/ 109 w 417"/>
                  <a:gd name="T49" fmla="*/ 591 h 738"/>
                  <a:gd name="T50" fmla="*/ 146 w 417"/>
                  <a:gd name="T51" fmla="*/ 521 h 738"/>
                  <a:gd name="T52" fmla="*/ 182 w 417"/>
                  <a:gd name="T53" fmla="*/ 510 h 738"/>
                  <a:gd name="T54" fmla="*/ 208 w 417"/>
                  <a:gd name="T55" fmla="*/ 494 h 738"/>
                  <a:gd name="T56" fmla="*/ 229 w 417"/>
                  <a:gd name="T57" fmla="*/ 449 h 738"/>
                  <a:gd name="T58" fmla="*/ 217 w 417"/>
                  <a:gd name="T59" fmla="*/ 394 h 738"/>
                  <a:gd name="T60" fmla="*/ 196 w 417"/>
                  <a:gd name="T61" fmla="*/ 393 h 738"/>
                  <a:gd name="T62" fmla="*/ 172 w 417"/>
                  <a:gd name="T63" fmla="*/ 383 h 738"/>
                  <a:gd name="T64" fmla="*/ 165 w 417"/>
                  <a:gd name="T65" fmla="*/ 344 h 738"/>
                  <a:gd name="T66" fmla="*/ 170 w 417"/>
                  <a:gd name="T67" fmla="*/ 301 h 738"/>
                  <a:gd name="T68" fmla="*/ 139 w 417"/>
                  <a:gd name="T69" fmla="*/ 320 h 738"/>
                  <a:gd name="T70" fmla="*/ 131 w 417"/>
                  <a:gd name="T71" fmla="*/ 317 h 738"/>
                  <a:gd name="T72" fmla="*/ 147 w 417"/>
                  <a:gd name="T73" fmla="*/ 270 h 738"/>
                  <a:gd name="T74" fmla="*/ 173 w 417"/>
                  <a:gd name="T75" fmla="*/ 238 h 738"/>
                  <a:gd name="T76" fmla="*/ 114 w 417"/>
                  <a:gd name="T77" fmla="*/ 265 h 738"/>
                  <a:gd name="T78" fmla="*/ 134 w 417"/>
                  <a:gd name="T79" fmla="*/ 244 h 738"/>
                  <a:gd name="T80" fmla="*/ 160 w 417"/>
                  <a:gd name="T81" fmla="*/ 222 h 738"/>
                  <a:gd name="T82" fmla="*/ 169 w 417"/>
                  <a:gd name="T83" fmla="*/ 165 h 738"/>
                  <a:gd name="T84" fmla="*/ 190 w 417"/>
                  <a:gd name="T85" fmla="*/ 135 h 738"/>
                  <a:gd name="T86" fmla="*/ 201 w 417"/>
                  <a:gd name="T87" fmla="*/ 117 h 738"/>
                  <a:gd name="T88" fmla="*/ 376 w 417"/>
                  <a:gd name="T89" fmla="*/ 7 h 738"/>
                  <a:gd name="T90" fmla="*/ 362 w 417"/>
                  <a:gd name="T91" fmla="*/ 39 h 738"/>
                  <a:gd name="T92" fmla="*/ 375 w 417"/>
                  <a:gd name="T93" fmla="*/ 0 h 738"/>
                  <a:gd name="T94" fmla="*/ 299 w 417"/>
                  <a:gd name="T95" fmla="*/ 102 h 738"/>
                  <a:gd name="T96" fmla="*/ 96 w 417"/>
                  <a:gd name="T97" fmla="*/ 348 h 738"/>
                  <a:gd name="T98" fmla="*/ 118 w 417"/>
                  <a:gd name="T99" fmla="*/ 408 h 738"/>
                  <a:gd name="T100" fmla="*/ 62 w 417"/>
                  <a:gd name="T101" fmla="*/ 420 h 738"/>
                  <a:gd name="T102" fmla="*/ 18 w 417"/>
                  <a:gd name="T103" fmla="*/ 368 h 738"/>
                  <a:gd name="T104" fmla="*/ 133 w 417"/>
                  <a:gd name="T105" fmla="*/ 136 h 738"/>
                  <a:gd name="T106" fmla="*/ 115 w 417"/>
                  <a:gd name="T107" fmla="*/ 135 h 738"/>
                  <a:gd name="T108" fmla="*/ 144 w 417"/>
                  <a:gd name="T109" fmla="*/ 115 h 738"/>
                  <a:gd name="T110" fmla="*/ 153 w 417"/>
                  <a:gd name="T111" fmla="*/ 430 h 7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17" h="738">
                    <a:moveTo>
                      <a:pt x="149" y="491"/>
                    </a:moveTo>
                    <a:cubicBezTo>
                      <a:pt x="159" y="499"/>
                      <a:pt x="168" y="504"/>
                      <a:pt x="157" y="509"/>
                    </a:cubicBezTo>
                    <a:moveTo>
                      <a:pt x="151" y="512"/>
                    </a:moveTo>
                    <a:cubicBezTo>
                      <a:pt x="149" y="513"/>
                      <a:pt x="147" y="513"/>
                      <a:pt x="146" y="513"/>
                    </a:cubicBezTo>
                    <a:cubicBezTo>
                      <a:pt x="144" y="513"/>
                      <a:pt x="147" y="511"/>
                      <a:pt x="147" y="510"/>
                    </a:cubicBezTo>
                    <a:cubicBezTo>
                      <a:pt x="143" y="498"/>
                      <a:pt x="135" y="496"/>
                      <a:pt x="149" y="491"/>
                    </a:cubicBezTo>
                    <a:moveTo>
                      <a:pt x="207" y="107"/>
                    </a:moveTo>
                    <a:cubicBezTo>
                      <a:pt x="211" y="109"/>
                      <a:pt x="218" y="112"/>
                      <a:pt x="219" y="116"/>
                    </a:cubicBezTo>
                    <a:cubicBezTo>
                      <a:pt x="219" y="119"/>
                      <a:pt x="211" y="124"/>
                      <a:pt x="213" y="123"/>
                    </a:cubicBezTo>
                    <a:cubicBezTo>
                      <a:pt x="216" y="120"/>
                      <a:pt x="217" y="113"/>
                      <a:pt x="221" y="114"/>
                    </a:cubicBezTo>
                    <a:cubicBezTo>
                      <a:pt x="225" y="115"/>
                      <a:pt x="221" y="123"/>
                      <a:pt x="224" y="125"/>
                    </a:cubicBezTo>
                    <a:cubicBezTo>
                      <a:pt x="226" y="126"/>
                      <a:pt x="227" y="120"/>
                      <a:pt x="229" y="120"/>
                    </a:cubicBezTo>
                    <a:cubicBezTo>
                      <a:pt x="238" y="117"/>
                      <a:pt x="257" y="121"/>
                      <a:pt x="268" y="123"/>
                    </a:cubicBezTo>
                    <a:cubicBezTo>
                      <a:pt x="273" y="123"/>
                      <a:pt x="279" y="119"/>
                      <a:pt x="282" y="123"/>
                    </a:cubicBezTo>
                    <a:cubicBezTo>
                      <a:pt x="285" y="125"/>
                      <a:pt x="277" y="128"/>
                      <a:pt x="276" y="132"/>
                    </a:cubicBezTo>
                    <a:cubicBezTo>
                      <a:pt x="275" y="135"/>
                      <a:pt x="276" y="138"/>
                      <a:pt x="275" y="142"/>
                    </a:cubicBezTo>
                    <a:cubicBezTo>
                      <a:pt x="273" y="145"/>
                      <a:pt x="238" y="166"/>
                      <a:pt x="231" y="171"/>
                    </a:cubicBezTo>
                    <a:cubicBezTo>
                      <a:pt x="220" y="180"/>
                      <a:pt x="236" y="170"/>
                      <a:pt x="242" y="175"/>
                    </a:cubicBezTo>
                    <a:cubicBezTo>
                      <a:pt x="244" y="176"/>
                      <a:pt x="239" y="178"/>
                      <a:pt x="237" y="180"/>
                    </a:cubicBezTo>
                    <a:cubicBezTo>
                      <a:pt x="235" y="181"/>
                      <a:pt x="234" y="184"/>
                      <a:pt x="231" y="185"/>
                    </a:cubicBezTo>
                    <a:cubicBezTo>
                      <a:pt x="230" y="185"/>
                      <a:pt x="231" y="181"/>
                      <a:pt x="230" y="181"/>
                    </a:cubicBezTo>
                    <a:cubicBezTo>
                      <a:pt x="228" y="180"/>
                      <a:pt x="226" y="182"/>
                      <a:pt x="224" y="183"/>
                    </a:cubicBezTo>
                    <a:cubicBezTo>
                      <a:pt x="220" y="185"/>
                      <a:pt x="220" y="180"/>
                      <a:pt x="218" y="184"/>
                    </a:cubicBezTo>
                    <a:cubicBezTo>
                      <a:pt x="213" y="194"/>
                      <a:pt x="224" y="198"/>
                      <a:pt x="227" y="194"/>
                    </a:cubicBezTo>
                    <a:cubicBezTo>
                      <a:pt x="228" y="193"/>
                      <a:pt x="225" y="192"/>
                      <a:pt x="226" y="192"/>
                    </a:cubicBezTo>
                    <a:cubicBezTo>
                      <a:pt x="229" y="191"/>
                      <a:pt x="232" y="193"/>
                      <a:pt x="235" y="193"/>
                    </a:cubicBezTo>
                    <a:cubicBezTo>
                      <a:pt x="241" y="193"/>
                      <a:pt x="249" y="186"/>
                      <a:pt x="257" y="188"/>
                    </a:cubicBezTo>
                    <a:cubicBezTo>
                      <a:pt x="261" y="188"/>
                      <a:pt x="264" y="192"/>
                      <a:pt x="268" y="193"/>
                    </a:cubicBezTo>
                    <a:cubicBezTo>
                      <a:pt x="278" y="196"/>
                      <a:pt x="310" y="195"/>
                      <a:pt x="315" y="207"/>
                    </a:cubicBezTo>
                    <a:cubicBezTo>
                      <a:pt x="316" y="210"/>
                      <a:pt x="316" y="214"/>
                      <a:pt x="315" y="217"/>
                    </a:cubicBezTo>
                    <a:cubicBezTo>
                      <a:pt x="302" y="230"/>
                      <a:pt x="302" y="230"/>
                      <a:pt x="302" y="230"/>
                    </a:cubicBezTo>
                    <a:cubicBezTo>
                      <a:pt x="301" y="232"/>
                      <a:pt x="299" y="235"/>
                      <a:pt x="299" y="238"/>
                    </a:cubicBezTo>
                    <a:cubicBezTo>
                      <a:pt x="298" y="239"/>
                      <a:pt x="299" y="240"/>
                      <a:pt x="299" y="241"/>
                    </a:cubicBezTo>
                    <a:cubicBezTo>
                      <a:pt x="294" y="249"/>
                      <a:pt x="271" y="283"/>
                      <a:pt x="263" y="283"/>
                    </a:cubicBezTo>
                    <a:cubicBezTo>
                      <a:pt x="252" y="284"/>
                      <a:pt x="248" y="279"/>
                      <a:pt x="238" y="286"/>
                    </a:cubicBezTo>
                    <a:cubicBezTo>
                      <a:pt x="237" y="287"/>
                      <a:pt x="242" y="288"/>
                      <a:pt x="243" y="287"/>
                    </a:cubicBezTo>
                    <a:cubicBezTo>
                      <a:pt x="248" y="287"/>
                      <a:pt x="252" y="284"/>
                      <a:pt x="256" y="283"/>
                    </a:cubicBezTo>
                    <a:cubicBezTo>
                      <a:pt x="264" y="283"/>
                      <a:pt x="258" y="288"/>
                      <a:pt x="258" y="290"/>
                    </a:cubicBezTo>
                    <a:cubicBezTo>
                      <a:pt x="260" y="294"/>
                      <a:pt x="267" y="295"/>
                      <a:pt x="267" y="299"/>
                    </a:cubicBezTo>
                    <a:cubicBezTo>
                      <a:pt x="265" y="311"/>
                      <a:pt x="253" y="301"/>
                      <a:pt x="250" y="301"/>
                    </a:cubicBezTo>
                    <a:cubicBezTo>
                      <a:pt x="232" y="304"/>
                      <a:pt x="264" y="311"/>
                      <a:pt x="227" y="309"/>
                    </a:cubicBezTo>
                    <a:cubicBezTo>
                      <a:pt x="226" y="309"/>
                      <a:pt x="226" y="315"/>
                      <a:pt x="227" y="315"/>
                    </a:cubicBezTo>
                    <a:cubicBezTo>
                      <a:pt x="231" y="317"/>
                      <a:pt x="226" y="313"/>
                      <a:pt x="230" y="314"/>
                    </a:cubicBezTo>
                    <a:cubicBezTo>
                      <a:pt x="235" y="315"/>
                      <a:pt x="245" y="322"/>
                      <a:pt x="250" y="319"/>
                    </a:cubicBezTo>
                    <a:cubicBezTo>
                      <a:pt x="252" y="317"/>
                      <a:pt x="253" y="313"/>
                      <a:pt x="255" y="312"/>
                    </a:cubicBezTo>
                    <a:cubicBezTo>
                      <a:pt x="256" y="311"/>
                      <a:pt x="277" y="327"/>
                      <a:pt x="280" y="330"/>
                    </a:cubicBezTo>
                    <a:cubicBezTo>
                      <a:pt x="284" y="332"/>
                      <a:pt x="285" y="347"/>
                      <a:pt x="289" y="351"/>
                    </a:cubicBezTo>
                    <a:cubicBezTo>
                      <a:pt x="292" y="353"/>
                      <a:pt x="295" y="354"/>
                      <a:pt x="297" y="356"/>
                    </a:cubicBezTo>
                    <a:cubicBezTo>
                      <a:pt x="297" y="357"/>
                      <a:pt x="296" y="358"/>
                      <a:pt x="296" y="360"/>
                    </a:cubicBezTo>
                    <a:cubicBezTo>
                      <a:pt x="296" y="364"/>
                      <a:pt x="296" y="368"/>
                      <a:pt x="296" y="371"/>
                    </a:cubicBezTo>
                    <a:cubicBezTo>
                      <a:pt x="296" y="381"/>
                      <a:pt x="300" y="423"/>
                      <a:pt x="303" y="431"/>
                    </a:cubicBezTo>
                    <a:cubicBezTo>
                      <a:pt x="304" y="433"/>
                      <a:pt x="305" y="429"/>
                      <a:pt x="306" y="430"/>
                    </a:cubicBezTo>
                    <a:cubicBezTo>
                      <a:pt x="309" y="430"/>
                      <a:pt x="310" y="433"/>
                      <a:pt x="312" y="434"/>
                    </a:cubicBezTo>
                    <a:cubicBezTo>
                      <a:pt x="323" y="440"/>
                      <a:pt x="320" y="435"/>
                      <a:pt x="330" y="447"/>
                    </a:cubicBezTo>
                    <a:cubicBezTo>
                      <a:pt x="333" y="451"/>
                      <a:pt x="332" y="458"/>
                      <a:pt x="335" y="463"/>
                    </a:cubicBezTo>
                    <a:cubicBezTo>
                      <a:pt x="337" y="469"/>
                      <a:pt x="345" y="463"/>
                      <a:pt x="345" y="474"/>
                    </a:cubicBezTo>
                    <a:cubicBezTo>
                      <a:pt x="345" y="478"/>
                      <a:pt x="339" y="478"/>
                      <a:pt x="339" y="481"/>
                    </a:cubicBezTo>
                    <a:cubicBezTo>
                      <a:pt x="336" y="490"/>
                      <a:pt x="347" y="503"/>
                      <a:pt x="349" y="511"/>
                    </a:cubicBezTo>
                    <a:cubicBezTo>
                      <a:pt x="352" y="522"/>
                      <a:pt x="343" y="506"/>
                      <a:pt x="342" y="518"/>
                    </a:cubicBezTo>
                    <a:cubicBezTo>
                      <a:pt x="342" y="521"/>
                      <a:pt x="363" y="542"/>
                      <a:pt x="353" y="553"/>
                    </a:cubicBezTo>
                    <a:cubicBezTo>
                      <a:pt x="345" y="561"/>
                      <a:pt x="341" y="552"/>
                      <a:pt x="336" y="566"/>
                    </a:cubicBezTo>
                    <a:cubicBezTo>
                      <a:pt x="335" y="568"/>
                      <a:pt x="340" y="566"/>
                      <a:pt x="341" y="567"/>
                    </a:cubicBezTo>
                    <a:cubicBezTo>
                      <a:pt x="343" y="568"/>
                      <a:pt x="344" y="572"/>
                      <a:pt x="345" y="573"/>
                    </a:cubicBezTo>
                    <a:cubicBezTo>
                      <a:pt x="347" y="575"/>
                      <a:pt x="350" y="578"/>
                      <a:pt x="352" y="577"/>
                    </a:cubicBezTo>
                    <a:cubicBezTo>
                      <a:pt x="363" y="569"/>
                      <a:pt x="354" y="562"/>
                      <a:pt x="366" y="564"/>
                    </a:cubicBezTo>
                    <a:cubicBezTo>
                      <a:pt x="385" y="567"/>
                      <a:pt x="417" y="575"/>
                      <a:pt x="411" y="606"/>
                    </a:cubicBezTo>
                    <a:cubicBezTo>
                      <a:pt x="409" y="615"/>
                      <a:pt x="396" y="641"/>
                      <a:pt x="387" y="644"/>
                    </a:cubicBezTo>
                    <a:cubicBezTo>
                      <a:pt x="383" y="645"/>
                      <a:pt x="378" y="639"/>
                      <a:pt x="377" y="641"/>
                    </a:cubicBezTo>
                    <a:cubicBezTo>
                      <a:pt x="372" y="652"/>
                      <a:pt x="398" y="649"/>
                      <a:pt x="376" y="655"/>
                    </a:cubicBezTo>
                    <a:cubicBezTo>
                      <a:pt x="374" y="655"/>
                      <a:pt x="373" y="654"/>
                      <a:pt x="371" y="653"/>
                    </a:cubicBezTo>
                    <a:cubicBezTo>
                      <a:pt x="371" y="653"/>
                      <a:pt x="371" y="652"/>
                      <a:pt x="370" y="652"/>
                    </a:cubicBezTo>
                    <a:cubicBezTo>
                      <a:pt x="366" y="653"/>
                      <a:pt x="359" y="652"/>
                      <a:pt x="357" y="655"/>
                    </a:cubicBezTo>
                    <a:cubicBezTo>
                      <a:pt x="355" y="658"/>
                      <a:pt x="365" y="654"/>
                      <a:pt x="367" y="657"/>
                    </a:cubicBezTo>
                    <a:cubicBezTo>
                      <a:pt x="370" y="659"/>
                      <a:pt x="368" y="663"/>
                      <a:pt x="366" y="666"/>
                    </a:cubicBezTo>
                    <a:cubicBezTo>
                      <a:pt x="362" y="674"/>
                      <a:pt x="349" y="669"/>
                      <a:pt x="343" y="671"/>
                    </a:cubicBezTo>
                    <a:cubicBezTo>
                      <a:pt x="341" y="671"/>
                      <a:pt x="337" y="673"/>
                      <a:pt x="339" y="674"/>
                    </a:cubicBezTo>
                    <a:cubicBezTo>
                      <a:pt x="339" y="674"/>
                      <a:pt x="355" y="669"/>
                      <a:pt x="355" y="676"/>
                    </a:cubicBezTo>
                    <a:cubicBezTo>
                      <a:pt x="354" y="679"/>
                      <a:pt x="348" y="676"/>
                      <a:pt x="346" y="678"/>
                    </a:cubicBezTo>
                    <a:cubicBezTo>
                      <a:pt x="344" y="679"/>
                      <a:pt x="350" y="682"/>
                      <a:pt x="353" y="681"/>
                    </a:cubicBezTo>
                    <a:cubicBezTo>
                      <a:pt x="354" y="680"/>
                      <a:pt x="354" y="676"/>
                      <a:pt x="355" y="676"/>
                    </a:cubicBezTo>
                    <a:cubicBezTo>
                      <a:pt x="358" y="676"/>
                      <a:pt x="360" y="678"/>
                      <a:pt x="362" y="680"/>
                    </a:cubicBezTo>
                    <a:cubicBezTo>
                      <a:pt x="370" y="687"/>
                      <a:pt x="346" y="683"/>
                      <a:pt x="362" y="686"/>
                    </a:cubicBezTo>
                    <a:cubicBezTo>
                      <a:pt x="370" y="687"/>
                      <a:pt x="379" y="681"/>
                      <a:pt x="387" y="684"/>
                    </a:cubicBezTo>
                    <a:cubicBezTo>
                      <a:pt x="389" y="685"/>
                      <a:pt x="384" y="688"/>
                      <a:pt x="383" y="690"/>
                    </a:cubicBezTo>
                    <a:cubicBezTo>
                      <a:pt x="382" y="694"/>
                      <a:pt x="383" y="698"/>
                      <a:pt x="382" y="702"/>
                    </a:cubicBezTo>
                    <a:cubicBezTo>
                      <a:pt x="380" y="708"/>
                      <a:pt x="370" y="706"/>
                      <a:pt x="365" y="709"/>
                    </a:cubicBezTo>
                    <a:cubicBezTo>
                      <a:pt x="362" y="710"/>
                      <a:pt x="364" y="716"/>
                      <a:pt x="361" y="717"/>
                    </a:cubicBezTo>
                    <a:cubicBezTo>
                      <a:pt x="351" y="721"/>
                      <a:pt x="356" y="712"/>
                      <a:pt x="350" y="715"/>
                    </a:cubicBezTo>
                    <a:cubicBezTo>
                      <a:pt x="344" y="719"/>
                      <a:pt x="338" y="718"/>
                      <a:pt x="332" y="721"/>
                    </a:cubicBezTo>
                    <a:cubicBezTo>
                      <a:pt x="329" y="722"/>
                      <a:pt x="328" y="726"/>
                      <a:pt x="324" y="726"/>
                    </a:cubicBezTo>
                    <a:cubicBezTo>
                      <a:pt x="319" y="726"/>
                      <a:pt x="310" y="717"/>
                      <a:pt x="305" y="715"/>
                    </a:cubicBezTo>
                    <a:cubicBezTo>
                      <a:pt x="301" y="715"/>
                      <a:pt x="273" y="722"/>
                      <a:pt x="271" y="715"/>
                    </a:cubicBezTo>
                    <a:cubicBezTo>
                      <a:pt x="271" y="713"/>
                      <a:pt x="279" y="715"/>
                      <a:pt x="273" y="711"/>
                    </a:cubicBezTo>
                    <a:cubicBezTo>
                      <a:pt x="269" y="709"/>
                      <a:pt x="271" y="714"/>
                      <a:pt x="270" y="715"/>
                    </a:cubicBezTo>
                    <a:cubicBezTo>
                      <a:pt x="269" y="716"/>
                      <a:pt x="267" y="715"/>
                      <a:pt x="267" y="714"/>
                    </a:cubicBezTo>
                    <a:cubicBezTo>
                      <a:pt x="267" y="712"/>
                      <a:pt x="271" y="710"/>
                      <a:pt x="269" y="710"/>
                    </a:cubicBezTo>
                    <a:cubicBezTo>
                      <a:pt x="267" y="710"/>
                      <a:pt x="266" y="714"/>
                      <a:pt x="264" y="713"/>
                    </a:cubicBezTo>
                    <a:cubicBezTo>
                      <a:pt x="262" y="713"/>
                      <a:pt x="266" y="710"/>
                      <a:pt x="264" y="708"/>
                    </a:cubicBezTo>
                    <a:cubicBezTo>
                      <a:pt x="260" y="703"/>
                      <a:pt x="263" y="713"/>
                      <a:pt x="261" y="713"/>
                    </a:cubicBezTo>
                    <a:cubicBezTo>
                      <a:pt x="254" y="710"/>
                      <a:pt x="249" y="699"/>
                      <a:pt x="247" y="701"/>
                    </a:cubicBezTo>
                    <a:cubicBezTo>
                      <a:pt x="245" y="704"/>
                      <a:pt x="252" y="708"/>
                      <a:pt x="251" y="711"/>
                    </a:cubicBezTo>
                    <a:cubicBezTo>
                      <a:pt x="251" y="717"/>
                      <a:pt x="219" y="709"/>
                      <a:pt x="218" y="711"/>
                    </a:cubicBezTo>
                    <a:cubicBezTo>
                      <a:pt x="216" y="714"/>
                      <a:pt x="222" y="718"/>
                      <a:pt x="221" y="721"/>
                    </a:cubicBezTo>
                    <a:cubicBezTo>
                      <a:pt x="221" y="723"/>
                      <a:pt x="218" y="721"/>
                      <a:pt x="216" y="721"/>
                    </a:cubicBezTo>
                    <a:cubicBezTo>
                      <a:pt x="216" y="721"/>
                      <a:pt x="216" y="721"/>
                      <a:pt x="216" y="721"/>
                    </a:cubicBezTo>
                    <a:cubicBezTo>
                      <a:pt x="213" y="719"/>
                      <a:pt x="204" y="713"/>
                      <a:pt x="201" y="714"/>
                    </a:cubicBezTo>
                    <a:cubicBezTo>
                      <a:pt x="198" y="715"/>
                      <a:pt x="199" y="721"/>
                      <a:pt x="197" y="723"/>
                    </a:cubicBezTo>
                    <a:cubicBezTo>
                      <a:pt x="196" y="725"/>
                      <a:pt x="198" y="720"/>
                      <a:pt x="198" y="718"/>
                    </a:cubicBezTo>
                    <a:cubicBezTo>
                      <a:pt x="196" y="715"/>
                      <a:pt x="194" y="713"/>
                      <a:pt x="191" y="711"/>
                    </a:cubicBezTo>
                    <a:cubicBezTo>
                      <a:pt x="183" y="704"/>
                      <a:pt x="162" y="698"/>
                      <a:pt x="152" y="702"/>
                    </a:cubicBezTo>
                    <a:cubicBezTo>
                      <a:pt x="152" y="702"/>
                      <a:pt x="146" y="730"/>
                      <a:pt x="137" y="734"/>
                    </a:cubicBezTo>
                    <a:cubicBezTo>
                      <a:pt x="130" y="736"/>
                      <a:pt x="118" y="720"/>
                      <a:pt x="114" y="718"/>
                    </a:cubicBezTo>
                    <a:cubicBezTo>
                      <a:pt x="111" y="716"/>
                      <a:pt x="120" y="723"/>
                      <a:pt x="112" y="721"/>
                    </a:cubicBezTo>
                    <a:cubicBezTo>
                      <a:pt x="105" y="719"/>
                      <a:pt x="96" y="713"/>
                      <a:pt x="88" y="715"/>
                    </a:cubicBezTo>
                    <a:cubicBezTo>
                      <a:pt x="85" y="715"/>
                      <a:pt x="86" y="721"/>
                      <a:pt x="84" y="722"/>
                    </a:cubicBezTo>
                    <a:cubicBezTo>
                      <a:pt x="80" y="723"/>
                      <a:pt x="77" y="721"/>
                      <a:pt x="73" y="721"/>
                    </a:cubicBezTo>
                    <a:cubicBezTo>
                      <a:pt x="72" y="721"/>
                      <a:pt x="71" y="721"/>
                      <a:pt x="71" y="721"/>
                    </a:cubicBezTo>
                    <a:cubicBezTo>
                      <a:pt x="70" y="724"/>
                      <a:pt x="63" y="738"/>
                      <a:pt x="61" y="738"/>
                    </a:cubicBezTo>
                    <a:cubicBezTo>
                      <a:pt x="57" y="738"/>
                      <a:pt x="59" y="730"/>
                      <a:pt x="57" y="727"/>
                    </a:cubicBezTo>
                    <a:cubicBezTo>
                      <a:pt x="53" y="722"/>
                      <a:pt x="40" y="726"/>
                      <a:pt x="40" y="719"/>
                    </a:cubicBezTo>
                    <a:cubicBezTo>
                      <a:pt x="40" y="715"/>
                      <a:pt x="62" y="714"/>
                      <a:pt x="63" y="714"/>
                    </a:cubicBezTo>
                    <a:cubicBezTo>
                      <a:pt x="65" y="714"/>
                      <a:pt x="67" y="712"/>
                      <a:pt x="69" y="709"/>
                    </a:cubicBezTo>
                    <a:cubicBezTo>
                      <a:pt x="70" y="709"/>
                      <a:pt x="69" y="706"/>
                      <a:pt x="70" y="706"/>
                    </a:cubicBezTo>
                    <a:cubicBezTo>
                      <a:pt x="71" y="705"/>
                      <a:pt x="74" y="706"/>
                      <a:pt x="75" y="706"/>
                    </a:cubicBezTo>
                    <a:cubicBezTo>
                      <a:pt x="79" y="702"/>
                      <a:pt x="80" y="697"/>
                      <a:pt x="84" y="695"/>
                    </a:cubicBezTo>
                    <a:cubicBezTo>
                      <a:pt x="86" y="693"/>
                      <a:pt x="88" y="696"/>
                      <a:pt x="90" y="695"/>
                    </a:cubicBezTo>
                    <a:cubicBezTo>
                      <a:pt x="92" y="694"/>
                      <a:pt x="91" y="692"/>
                      <a:pt x="93" y="691"/>
                    </a:cubicBezTo>
                    <a:cubicBezTo>
                      <a:pt x="96" y="688"/>
                      <a:pt x="101" y="687"/>
                      <a:pt x="104" y="684"/>
                    </a:cubicBezTo>
                    <a:cubicBezTo>
                      <a:pt x="105" y="682"/>
                      <a:pt x="105" y="669"/>
                      <a:pt x="109" y="667"/>
                    </a:cubicBezTo>
                    <a:cubicBezTo>
                      <a:pt x="111" y="666"/>
                      <a:pt x="113" y="671"/>
                      <a:pt x="116" y="671"/>
                    </a:cubicBezTo>
                    <a:cubicBezTo>
                      <a:pt x="129" y="672"/>
                      <a:pt x="113" y="653"/>
                      <a:pt x="145" y="658"/>
                    </a:cubicBezTo>
                    <a:cubicBezTo>
                      <a:pt x="156" y="660"/>
                      <a:pt x="170" y="675"/>
                      <a:pt x="181" y="666"/>
                    </a:cubicBezTo>
                    <a:cubicBezTo>
                      <a:pt x="184" y="663"/>
                      <a:pt x="183" y="658"/>
                      <a:pt x="185" y="654"/>
                    </a:cubicBezTo>
                    <a:cubicBezTo>
                      <a:pt x="185" y="653"/>
                      <a:pt x="212" y="636"/>
                      <a:pt x="216" y="632"/>
                    </a:cubicBezTo>
                    <a:cubicBezTo>
                      <a:pt x="219" y="628"/>
                      <a:pt x="201" y="640"/>
                      <a:pt x="199" y="642"/>
                    </a:cubicBezTo>
                    <a:cubicBezTo>
                      <a:pt x="196" y="643"/>
                      <a:pt x="193" y="644"/>
                      <a:pt x="190" y="644"/>
                    </a:cubicBezTo>
                    <a:cubicBezTo>
                      <a:pt x="189" y="644"/>
                      <a:pt x="187" y="641"/>
                      <a:pt x="186" y="642"/>
                    </a:cubicBezTo>
                    <a:cubicBezTo>
                      <a:pt x="172" y="646"/>
                      <a:pt x="175" y="658"/>
                      <a:pt x="158" y="648"/>
                    </a:cubicBezTo>
                    <a:cubicBezTo>
                      <a:pt x="152" y="644"/>
                      <a:pt x="153" y="635"/>
                      <a:pt x="148" y="629"/>
                    </a:cubicBezTo>
                    <a:cubicBezTo>
                      <a:pt x="144" y="625"/>
                      <a:pt x="135" y="635"/>
                      <a:pt x="130" y="632"/>
                    </a:cubicBezTo>
                    <a:cubicBezTo>
                      <a:pt x="129" y="632"/>
                      <a:pt x="127" y="614"/>
                      <a:pt x="127" y="612"/>
                    </a:cubicBezTo>
                    <a:cubicBezTo>
                      <a:pt x="126" y="611"/>
                      <a:pt x="126" y="615"/>
                      <a:pt x="125" y="615"/>
                    </a:cubicBezTo>
                    <a:cubicBezTo>
                      <a:pt x="121" y="615"/>
                      <a:pt x="126" y="611"/>
                      <a:pt x="112" y="615"/>
                    </a:cubicBezTo>
                    <a:cubicBezTo>
                      <a:pt x="110" y="615"/>
                      <a:pt x="111" y="618"/>
                      <a:pt x="110" y="619"/>
                    </a:cubicBezTo>
                    <a:cubicBezTo>
                      <a:pt x="107" y="620"/>
                      <a:pt x="102" y="622"/>
                      <a:pt x="99" y="620"/>
                    </a:cubicBezTo>
                    <a:cubicBezTo>
                      <a:pt x="96" y="620"/>
                      <a:pt x="91" y="616"/>
                      <a:pt x="92" y="614"/>
                    </a:cubicBezTo>
                    <a:cubicBezTo>
                      <a:pt x="94" y="611"/>
                      <a:pt x="99" y="613"/>
                      <a:pt x="103" y="612"/>
                    </a:cubicBezTo>
                    <a:cubicBezTo>
                      <a:pt x="104" y="612"/>
                      <a:pt x="88" y="611"/>
                      <a:pt x="87" y="609"/>
                    </a:cubicBezTo>
                    <a:cubicBezTo>
                      <a:pt x="84" y="606"/>
                      <a:pt x="86" y="601"/>
                      <a:pt x="86" y="597"/>
                    </a:cubicBezTo>
                    <a:cubicBezTo>
                      <a:pt x="86" y="586"/>
                      <a:pt x="107" y="592"/>
                      <a:pt x="109" y="591"/>
                    </a:cubicBezTo>
                    <a:cubicBezTo>
                      <a:pt x="113" y="590"/>
                      <a:pt x="113" y="584"/>
                      <a:pt x="117" y="584"/>
                    </a:cubicBezTo>
                    <a:cubicBezTo>
                      <a:pt x="120" y="584"/>
                      <a:pt x="123" y="586"/>
                      <a:pt x="126" y="586"/>
                    </a:cubicBezTo>
                    <a:cubicBezTo>
                      <a:pt x="135" y="584"/>
                      <a:pt x="153" y="568"/>
                      <a:pt x="156" y="560"/>
                    </a:cubicBezTo>
                    <a:cubicBezTo>
                      <a:pt x="157" y="558"/>
                      <a:pt x="155" y="536"/>
                      <a:pt x="152" y="533"/>
                    </a:cubicBezTo>
                    <a:cubicBezTo>
                      <a:pt x="142" y="521"/>
                      <a:pt x="131" y="555"/>
                      <a:pt x="127" y="532"/>
                    </a:cubicBezTo>
                    <a:cubicBezTo>
                      <a:pt x="126" y="528"/>
                      <a:pt x="138" y="527"/>
                      <a:pt x="146" y="521"/>
                    </a:cubicBezTo>
                    <a:cubicBezTo>
                      <a:pt x="147" y="520"/>
                      <a:pt x="146" y="517"/>
                      <a:pt x="147" y="515"/>
                    </a:cubicBezTo>
                    <a:cubicBezTo>
                      <a:pt x="148" y="513"/>
                      <a:pt x="150" y="512"/>
                      <a:pt x="151" y="512"/>
                    </a:cubicBezTo>
                    <a:cubicBezTo>
                      <a:pt x="153" y="510"/>
                      <a:pt x="155" y="510"/>
                      <a:pt x="157" y="509"/>
                    </a:cubicBezTo>
                    <a:cubicBezTo>
                      <a:pt x="161" y="509"/>
                      <a:pt x="164" y="511"/>
                      <a:pt x="172" y="508"/>
                    </a:cubicBezTo>
                    <a:cubicBezTo>
                      <a:pt x="173" y="507"/>
                      <a:pt x="170" y="503"/>
                      <a:pt x="172" y="504"/>
                    </a:cubicBezTo>
                    <a:cubicBezTo>
                      <a:pt x="176" y="504"/>
                      <a:pt x="178" y="509"/>
                      <a:pt x="182" y="510"/>
                    </a:cubicBezTo>
                    <a:cubicBezTo>
                      <a:pt x="190" y="511"/>
                      <a:pt x="191" y="503"/>
                      <a:pt x="197" y="508"/>
                    </a:cubicBezTo>
                    <a:cubicBezTo>
                      <a:pt x="200" y="511"/>
                      <a:pt x="201" y="520"/>
                      <a:pt x="204" y="517"/>
                    </a:cubicBezTo>
                    <a:cubicBezTo>
                      <a:pt x="208" y="515"/>
                      <a:pt x="202" y="509"/>
                      <a:pt x="203" y="505"/>
                    </a:cubicBezTo>
                    <a:cubicBezTo>
                      <a:pt x="203" y="503"/>
                      <a:pt x="213" y="504"/>
                      <a:pt x="221" y="513"/>
                    </a:cubicBezTo>
                    <a:cubicBezTo>
                      <a:pt x="223" y="515"/>
                      <a:pt x="216" y="513"/>
                      <a:pt x="214" y="512"/>
                    </a:cubicBezTo>
                    <a:cubicBezTo>
                      <a:pt x="209" y="509"/>
                      <a:pt x="207" y="500"/>
                      <a:pt x="208" y="494"/>
                    </a:cubicBezTo>
                    <a:cubicBezTo>
                      <a:pt x="208" y="491"/>
                      <a:pt x="212" y="488"/>
                      <a:pt x="215" y="486"/>
                    </a:cubicBezTo>
                    <a:cubicBezTo>
                      <a:pt x="217" y="484"/>
                      <a:pt x="223" y="486"/>
                      <a:pt x="222" y="483"/>
                    </a:cubicBezTo>
                    <a:cubicBezTo>
                      <a:pt x="221" y="480"/>
                      <a:pt x="214" y="480"/>
                      <a:pt x="213" y="476"/>
                    </a:cubicBezTo>
                    <a:cubicBezTo>
                      <a:pt x="206" y="460"/>
                      <a:pt x="225" y="473"/>
                      <a:pt x="225" y="466"/>
                    </a:cubicBezTo>
                    <a:cubicBezTo>
                      <a:pt x="225" y="463"/>
                      <a:pt x="221" y="464"/>
                      <a:pt x="223" y="460"/>
                    </a:cubicBezTo>
                    <a:cubicBezTo>
                      <a:pt x="224" y="456"/>
                      <a:pt x="229" y="454"/>
                      <a:pt x="229" y="449"/>
                    </a:cubicBezTo>
                    <a:cubicBezTo>
                      <a:pt x="228" y="440"/>
                      <a:pt x="221" y="456"/>
                      <a:pt x="213" y="456"/>
                    </a:cubicBezTo>
                    <a:cubicBezTo>
                      <a:pt x="208" y="456"/>
                      <a:pt x="215" y="446"/>
                      <a:pt x="213" y="441"/>
                    </a:cubicBezTo>
                    <a:cubicBezTo>
                      <a:pt x="212" y="439"/>
                      <a:pt x="210" y="446"/>
                      <a:pt x="207" y="445"/>
                    </a:cubicBezTo>
                    <a:cubicBezTo>
                      <a:pt x="200" y="443"/>
                      <a:pt x="206" y="437"/>
                      <a:pt x="206" y="433"/>
                    </a:cubicBezTo>
                    <a:cubicBezTo>
                      <a:pt x="199" y="419"/>
                      <a:pt x="199" y="419"/>
                      <a:pt x="199" y="419"/>
                    </a:cubicBezTo>
                    <a:cubicBezTo>
                      <a:pt x="198" y="412"/>
                      <a:pt x="217" y="394"/>
                      <a:pt x="217" y="394"/>
                    </a:cubicBezTo>
                    <a:cubicBezTo>
                      <a:pt x="219" y="394"/>
                      <a:pt x="218" y="397"/>
                      <a:pt x="219" y="396"/>
                    </a:cubicBezTo>
                    <a:cubicBezTo>
                      <a:pt x="224" y="395"/>
                      <a:pt x="230" y="394"/>
                      <a:pt x="231" y="390"/>
                    </a:cubicBezTo>
                    <a:cubicBezTo>
                      <a:pt x="232" y="387"/>
                      <a:pt x="224" y="390"/>
                      <a:pt x="221" y="390"/>
                    </a:cubicBezTo>
                    <a:cubicBezTo>
                      <a:pt x="219" y="389"/>
                      <a:pt x="216" y="386"/>
                      <a:pt x="213" y="387"/>
                    </a:cubicBezTo>
                    <a:cubicBezTo>
                      <a:pt x="210" y="388"/>
                      <a:pt x="208" y="392"/>
                      <a:pt x="205" y="394"/>
                    </a:cubicBezTo>
                    <a:cubicBezTo>
                      <a:pt x="202" y="395"/>
                      <a:pt x="199" y="392"/>
                      <a:pt x="196" y="393"/>
                    </a:cubicBezTo>
                    <a:cubicBezTo>
                      <a:pt x="193" y="394"/>
                      <a:pt x="191" y="397"/>
                      <a:pt x="188" y="398"/>
                    </a:cubicBezTo>
                    <a:cubicBezTo>
                      <a:pt x="187" y="399"/>
                      <a:pt x="185" y="399"/>
                      <a:pt x="185" y="397"/>
                    </a:cubicBezTo>
                    <a:cubicBezTo>
                      <a:pt x="184" y="396"/>
                      <a:pt x="187" y="393"/>
                      <a:pt x="186" y="392"/>
                    </a:cubicBezTo>
                    <a:cubicBezTo>
                      <a:pt x="184" y="392"/>
                      <a:pt x="185" y="396"/>
                      <a:pt x="183" y="397"/>
                    </a:cubicBezTo>
                    <a:cubicBezTo>
                      <a:pt x="183" y="397"/>
                      <a:pt x="182" y="397"/>
                      <a:pt x="181" y="396"/>
                    </a:cubicBezTo>
                    <a:cubicBezTo>
                      <a:pt x="178" y="393"/>
                      <a:pt x="178" y="384"/>
                      <a:pt x="172" y="383"/>
                    </a:cubicBezTo>
                    <a:cubicBezTo>
                      <a:pt x="164" y="382"/>
                      <a:pt x="175" y="391"/>
                      <a:pt x="169" y="400"/>
                    </a:cubicBezTo>
                    <a:cubicBezTo>
                      <a:pt x="167" y="404"/>
                      <a:pt x="164" y="395"/>
                      <a:pt x="162" y="391"/>
                    </a:cubicBezTo>
                    <a:cubicBezTo>
                      <a:pt x="146" y="370"/>
                      <a:pt x="163" y="395"/>
                      <a:pt x="140" y="382"/>
                    </a:cubicBezTo>
                    <a:cubicBezTo>
                      <a:pt x="135" y="378"/>
                      <a:pt x="148" y="381"/>
                      <a:pt x="148" y="378"/>
                    </a:cubicBezTo>
                    <a:cubicBezTo>
                      <a:pt x="147" y="365"/>
                      <a:pt x="150" y="366"/>
                      <a:pt x="157" y="357"/>
                    </a:cubicBezTo>
                    <a:cubicBezTo>
                      <a:pt x="172" y="341"/>
                      <a:pt x="147" y="360"/>
                      <a:pt x="165" y="344"/>
                    </a:cubicBezTo>
                    <a:cubicBezTo>
                      <a:pt x="167" y="342"/>
                      <a:pt x="171" y="342"/>
                      <a:pt x="172" y="340"/>
                    </a:cubicBezTo>
                    <a:cubicBezTo>
                      <a:pt x="174" y="336"/>
                      <a:pt x="164" y="323"/>
                      <a:pt x="163" y="322"/>
                    </a:cubicBezTo>
                    <a:cubicBezTo>
                      <a:pt x="163" y="320"/>
                      <a:pt x="166" y="320"/>
                      <a:pt x="167" y="318"/>
                    </a:cubicBezTo>
                    <a:cubicBezTo>
                      <a:pt x="168" y="314"/>
                      <a:pt x="167" y="309"/>
                      <a:pt x="168" y="305"/>
                    </a:cubicBezTo>
                    <a:cubicBezTo>
                      <a:pt x="170" y="300"/>
                      <a:pt x="175" y="305"/>
                      <a:pt x="180" y="308"/>
                    </a:cubicBezTo>
                    <a:cubicBezTo>
                      <a:pt x="199" y="316"/>
                      <a:pt x="170" y="302"/>
                      <a:pt x="170" y="301"/>
                    </a:cubicBezTo>
                    <a:cubicBezTo>
                      <a:pt x="169" y="298"/>
                      <a:pt x="170" y="293"/>
                      <a:pt x="171" y="289"/>
                    </a:cubicBezTo>
                    <a:cubicBezTo>
                      <a:pt x="171" y="286"/>
                      <a:pt x="173" y="283"/>
                      <a:pt x="172" y="280"/>
                    </a:cubicBezTo>
                    <a:cubicBezTo>
                      <a:pt x="171" y="280"/>
                      <a:pt x="148" y="292"/>
                      <a:pt x="147" y="294"/>
                    </a:cubicBezTo>
                    <a:cubicBezTo>
                      <a:pt x="142" y="298"/>
                      <a:pt x="150" y="306"/>
                      <a:pt x="148" y="312"/>
                    </a:cubicBezTo>
                    <a:cubicBezTo>
                      <a:pt x="148" y="314"/>
                      <a:pt x="143" y="314"/>
                      <a:pt x="142" y="315"/>
                    </a:cubicBezTo>
                    <a:cubicBezTo>
                      <a:pt x="140" y="317"/>
                      <a:pt x="139" y="318"/>
                      <a:pt x="139" y="320"/>
                    </a:cubicBezTo>
                    <a:cubicBezTo>
                      <a:pt x="139" y="322"/>
                      <a:pt x="140" y="324"/>
                      <a:pt x="139" y="325"/>
                    </a:cubicBezTo>
                    <a:cubicBezTo>
                      <a:pt x="138" y="330"/>
                      <a:pt x="133" y="332"/>
                      <a:pt x="131" y="336"/>
                    </a:cubicBezTo>
                    <a:cubicBezTo>
                      <a:pt x="131" y="338"/>
                      <a:pt x="134" y="340"/>
                      <a:pt x="133" y="340"/>
                    </a:cubicBezTo>
                    <a:cubicBezTo>
                      <a:pt x="129" y="343"/>
                      <a:pt x="124" y="344"/>
                      <a:pt x="120" y="343"/>
                    </a:cubicBezTo>
                    <a:cubicBezTo>
                      <a:pt x="116" y="341"/>
                      <a:pt x="124" y="336"/>
                      <a:pt x="126" y="334"/>
                    </a:cubicBezTo>
                    <a:cubicBezTo>
                      <a:pt x="129" y="329"/>
                      <a:pt x="128" y="322"/>
                      <a:pt x="131" y="317"/>
                    </a:cubicBezTo>
                    <a:cubicBezTo>
                      <a:pt x="143" y="307"/>
                      <a:pt x="143" y="307"/>
                      <a:pt x="143" y="307"/>
                    </a:cubicBezTo>
                    <a:cubicBezTo>
                      <a:pt x="142" y="304"/>
                      <a:pt x="136" y="308"/>
                      <a:pt x="135" y="305"/>
                    </a:cubicBezTo>
                    <a:cubicBezTo>
                      <a:pt x="134" y="303"/>
                      <a:pt x="150" y="293"/>
                      <a:pt x="142" y="292"/>
                    </a:cubicBezTo>
                    <a:cubicBezTo>
                      <a:pt x="139" y="291"/>
                      <a:pt x="137" y="299"/>
                      <a:pt x="134" y="297"/>
                    </a:cubicBezTo>
                    <a:cubicBezTo>
                      <a:pt x="131" y="295"/>
                      <a:pt x="142" y="292"/>
                      <a:pt x="144" y="288"/>
                    </a:cubicBezTo>
                    <a:cubicBezTo>
                      <a:pt x="147" y="284"/>
                      <a:pt x="145" y="274"/>
                      <a:pt x="147" y="270"/>
                    </a:cubicBezTo>
                    <a:cubicBezTo>
                      <a:pt x="148" y="266"/>
                      <a:pt x="151" y="263"/>
                      <a:pt x="153" y="262"/>
                    </a:cubicBezTo>
                    <a:cubicBezTo>
                      <a:pt x="156" y="262"/>
                      <a:pt x="161" y="268"/>
                      <a:pt x="161" y="265"/>
                    </a:cubicBezTo>
                    <a:cubicBezTo>
                      <a:pt x="161" y="262"/>
                      <a:pt x="155" y="262"/>
                      <a:pt x="153" y="259"/>
                    </a:cubicBezTo>
                    <a:cubicBezTo>
                      <a:pt x="150" y="252"/>
                      <a:pt x="173" y="248"/>
                      <a:pt x="173" y="248"/>
                    </a:cubicBezTo>
                    <a:cubicBezTo>
                      <a:pt x="175" y="246"/>
                      <a:pt x="166" y="248"/>
                      <a:pt x="166" y="246"/>
                    </a:cubicBezTo>
                    <a:cubicBezTo>
                      <a:pt x="166" y="242"/>
                      <a:pt x="172" y="242"/>
                      <a:pt x="173" y="238"/>
                    </a:cubicBezTo>
                    <a:cubicBezTo>
                      <a:pt x="174" y="237"/>
                      <a:pt x="169" y="240"/>
                      <a:pt x="168" y="241"/>
                    </a:cubicBezTo>
                    <a:cubicBezTo>
                      <a:pt x="164" y="244"/>
                      <a:pt x="164" y="245"/>
                      <a:pt x="161" y="247"/>
                    </a:cubicBezTo>
                    <a:cubicBezTo>
                      <a:pt x="153" y="251"/>
                      <a:pt x="147" y="257"/>
                      <a:pt x="142" y="255"/>
                    </a:cubicBezTo>
                    <a:cubicBezTo>
                      <a:pt x="142" y="256"/>
                      <a:pt x="143" y="257"/>
                      <a:pt x="144" y="257"/>
                    </a:cubicBezTo>
                    <a:cubicBezTo>
                      <a:pt x="144" y="258"/>
                      <a:pt x="147" y="259"/>
                      <a:pt x="146" y="261"/>
                    </a:cubicBezTo>
                    <a:cubicBezTo>
                      <a:pt x="141" y="265"/>
                      <a:pt x="118" y="272"/>
                      <a:pt x="114" y="265"/>
                    </a:cubicBezTo>
                    <a:cubicBezTo>
                      <a:pt x="114" y="264"/>
                      <a:pt x="114" y="262"/>
                      <a:pt x="115" y="262"/>
                    </a:cubicBezTo>
                    <a:cubicBezTo>
                      <a:pt x="126" y="258"/>
                      <a:pt x="117" y="275"/>
                      <a:pt x="131" y="255"/>
                    </a:cubicBezTo>
                    <a:cubicBezTo>
                      <a:pt x="140" y="244"/>
                      <a:pt x="105" y="250"/>
                      <a:pt x="130" y="241"/>
                    </a:cubicBezTo>
                    <a:cubicBezTo>
                      <a:pt x="131" y="244"/>
                      <a:pt x="133" y="246"/>
                      <a:pt x="134" y="248"/>
                    </a:cubicBezTo>
                    <a:cubicBezTo>
                      <a:pt x="135" y="249"/>
                      <a:pt x="136" y="250"/>
                      <a:pt x="137" y="250"/>
                    </a:cubicBezTo>
                    <a:cubicBezTo>
                      <a:pt x="136" y="249"/>
                      <a:pt x="135" y="246"/>
                      <a:pt x="134" y="244"/>
                    </a:cubicBezTo>
                    <a:cubicBezTo>
                      <a:pt x="134" y="242"/>
                      <a:pt x="138" y="244"/>
                      <a:pt x="140" y="244"/>
                    </a:cubicBezTo>
                    <a:cubicBezTo>
                      <a:pt x="144" y="244"/>
                      <a:pt x="149" y="246"/>
                      <a:pt x="153" y="244"/>
                    </a:cubicBezTo>
                    <a:cubicBezTo>
                      <a:pt x="158" y="242"/>
                      <a:pt x="122" y="242"/>
                      <a:pt x="127" y="236"/>
                    </a:cubicBezTo>
                    <a:cubicBezTo>
                      <a:pt x="130" y="231"/>
                      <a:pt x="145" y="237"/>
                      <a:pt x="146" y="235"/>
                    </a:cubicBezTo>
                    <a:cubicBezTo>
                      <a:pt x="148" y="229"/>
                      <a:pt x="132" y="223"/>
                      <a:pt x="148" y="219"/>
                    </a:cubicBezTo>
                    <a:cubicBezTo>
                      <a:pt x="152" y="218"/>
                      <a:pt x="156" y="223"/>
                      <a:pt x="160" y="222"/>
                    </a:cubicBezTo>
                    <a:cubicBezTo>
                      <a:pt x="176" y="218"/>
                      <a:pt x="156" y="208"/>
                      <a:pt x="156" y="208"/>
                    </a:cubicBezTo>
                    <a:cubicBezTo>
                      <a:pt x="158" y="204"/>
                      <a:pt x="167" y="209"/>
                      <a:pt x="169" y="206"/>
                    </a:cubicBezTo>
                    <a:cubicBezTo>
                      <a:pt x="172" y="202"/>
                      <a:pt x="170" y="197"/>
                      <a:pt x="170" y="192"/>
                    </a:cubicBezTo>
                    <a:cubicBezTo>
                      <a:pt x="170" y="189"/>
                      <a:pt x="170" y="185"/>
                      <a:pt x="169" y="183"/>
                    </a:cubicBezTo>
                    <a:cubicBezTo>
                      <a:pt x="169" y="182"/>
                      <a:pt x="150" y="162"/>
                      <a:pt x="163" y="157"/>
                    </a:cubicBezTo>
                    <a:cubicBezTo>
                      <a:pt x="165" y="155"/>
                      <a:pt x="166" y="166"/>
                      <a:pt x="169" y="165"/>
                    </a:cubicBezTo>
                    <a:cubicBezTo>
                      <a:pt x="174" y="164"/>
                      <a:pt x="168" y="151"/>
                      <a:pt x="174" y="155"/>
                    </a:cubicBezTo>
                    <a:cubicBezTo>
                      <a:pt x="183" y="160"/>
                      <a:pt x="184" y="160"/>
                      <a:pt x="184" y="160"/>
                    </a:cubicBezTo>
                    <a:cubicBezTo>
                      <a:pt x="186" y="152"/>
                      <a:pt x="180" y="152"/>
                      <a:pt x="180" y="145"/>
                    </a:cubicBezTo>
                    <a:cubicBezTo>
                      <a:pt x="180" y="142"/>
                      <a:pt x="187" y="148"/>
                      <a:pt x="189" y="145"/>
                    </a:cubicBezTo>
                    <a:cubicBezTo>
                      <a:pt x="191" y="141"/>
                      <a:pt x="186" y="136"/>
                      <a:pt x="186" y="132"/>
                    </a:cubicBezTo>
                    <a:cubicBezTo>
                      <a:pt x="186" y="130"/>
                      <a:pt x="188" y="135"/>
                      <a:pt x="190" y="135"/>
                    </a:cubicBezTo>
                    <a:cubicBezTo>
                      <a:pt x="194" y="137"/>
                      <a:pt x="200" y="140"/>
                      <a:pt x="203" y="137"/>
                    </a:cubicBezTo>
                    <a:cubicBezTo>
                      <a:pt x="205" y="134"/>
                      <a:pt x="197" y="131"/>
                      <a:pt x="196" y="128"/>
                    </a:cubicBezTo>
                    <a:cubicBezTo>
                      <a:pt x="193" y="118"/>
                      <a:pt x="202" y="125"/>
                      <a:pt x="202" y="125"/>
                    </a:cubicBezTo>
                    <a:cubicBezTo>
                      <a:pt x="203" y="124"/>
                      <a:pt x="200" y="122"/>
                      <a:pt x="200" y="121"/>
                    </a:cubicBezTo>
                    <a:cubicBezTo>
                      <a:pt x="202" y="120"/>
                      <a:pt x="204" y="123"/>
                      <a:pt x="204" y="122"/>
                    </a:cubicBezTo>
                    <a:cubicBezTo>
                      <a:pt x="204" y="120"/>
                      <a:pt x="200" y="119"/>
                      <a:pt x="201" y="117"/>
                    </a:cubicBezTo>
                    <a:cubicBezTo>
                      <a:pt x="202" y="113"/>
                      <a:pt x="205" y="111"/>
                      <a:pt x="207" y="107"/>
                    </a:cubicBezTo>
                    <a:close/>
                    <a:moveTo>
                      <a:pt x="375" y="0"/>
                    </a:moveTo>
                    <a:cubicBezTo>
                      <a:pt x="375" y="2"/>
                      <a:pt x="376" y="3"/>
                      <a:pt x="375" y="4"/>
                    </a:cubicBezTo>
                    <a:cubicBezTo>
                      <a:pt x="375" y="5"/>
                      <a:pt x="372" y="4"/>
                      <a:pt x="372" y="5"/>
                    </a:cubicBezTo>
                    <a:cubicBezTo>
                      <a:pt x="371" y="8"/>
                      <a:pt x="377" y="2"/>
                      <a:pt x="380" y="3"/>
                    </a:cubicBezTo>
                    <a:cubicBezTo>
                      <a:pt x="382" y="3"/>
                      <a:pt x="377" y="5"/>
                      <a:pt x="376" y="7"/>
                    </a:cubicBezTo>
                    <a:cubicBezTo>
                      <a:pt x="376" y="8"/>
                      <a:pt x="378" y="9"/>
                      <a:pt x="378" y="10"/>
                    </a:cubicBezTo>
                    <a:cubicBezTo>
                      <a:pt x="376" y="10"/>
                      <a:pt x="374" y="8"/>
                      <a:pt x="374" y="9"/>
                    </a:cubicBezTo>
                    <a:cubicBezTo>
                      <a:pt x="374" y="10"/>
                      <a:pt x="377" y="10"/>
                      <a:pt x="377" y="12"/>
                    </a:cubicBezTo>
                    <a:cubicBezTo>
                      <a:pt x="378" y="17"/>
                      <a:pt x="370" y="16"/>
                      <a:pt x="371" y="17"/>
                    </a:cubicBezTo>
                    <a:cubicBezTo>
                      <a:pt x="371" y="25"/>
                      <a:pt x="372" y="30"/>
                      <a:pt x="361" y="42"/>
                    </a:cubicBezTo>
                    <a:cubicBezTo>
                      <a:pt x="360" y="43"/>
                      <a:pt x="361" y="40"/>
                      <a:pt x="362" y="39"/>
                    </a:cubicBezTo>
                    <a:cubicBezTo>
                      <a:pt x="365" y="31"/>
                      <a:pt x="371" y="19"/>
                      <a:pt x="368" y="17"/>
                    </a:cubicBezTo>
                    <a:cubicBezTo>
                      <a:pt x="366" y="15"/>
                      <a:pt x="364" y="23"/>
                      <a:pt x="361" y="22"/>
                    </a:cubicBezTo>
                    <a:cubicBezTo>
                      <a:pt x="357" y="20"/>
                      <a:pt x="355" y="15"/>
                      <a:pt x="354" y="11"/>
                    </a:cubicBezTo>
                    <a:cubicBezTo>
                      <a:pt x="354" y="10"/>
                      <a:pt x="356" y="10"/>
                      <a:pt x="357" y="10"/>
                    </a:cubicBezTo>
                    <a:cubicBezTo>
                      <a:pt x="362" y="9"/>
                      <a:pt x="366" y="10"/>
                      <a:pt x="370" y="9"/>
                    </a:cubicBezTo>
                    <a:cubicBezTo>
                      <a:pt x="373" y="7"/>
                      <a:pt x="373" y="3"/>
                      <a:pt x="375" y="0"/>
                    </a:cubicBezTo>
                    <a:close/>
                    <a:moveTo>
                      <a:pt x="299" y="102"/>
                    </a:moveTo>
                    <a:cubicBezTo>
                      <a:pt x="292" y="117"/>
                      <a:pt x="258" y="85"/>
                      <a:pt x="282" y="83"/>
                    </a:cubicBezTo>
                    <a:cubicBezTo>
                      <a:pt x="285" y="83"/>
                      <a:pt x="289" y="87"/>
                      <a:pt x="289" y="91"/>
                    </a:cubicBezTo>
                    <a:cubicBezTo>
                      <a:pt x="289" y="94"/>
                      <a:pt x="282" y="93"/>
                      <a:pt x="283" y="95"/>
                    </a:cubicBezTo>
                    <a:cubicBezTo>
                      <a:pt x="285" y="98"/>
                      <a:pt x="290" y="98"/>
                      <a:pt x="293" y="99"/>
                    </a:cubicBezTo>
                    <a:cubicBezTo>
                      <a:pt x="295" y="100"/>
                      <a:pt x="297" y="101"/>
                      <a:pt x="299" y="102"/>
                    </a:cubicBezTo>
                    <a:close/>
                    <a:moveTo>
                      <a:pt x="51" y="348"/>
                    </a:moveTo>
                    <a:cubicBezTo>
                      <a:pt x="53" y="351"/>
                      <a:pt x="55" y="352"/>
                      <a:pt x="58" y="351"/>
                    </a:cubicBezTo>
                    <a:cubicBezTo>
                      <a:pt x="61" y="350"/>
                      <a:pt x="62" y="344"/>
                      <a:pt x="66" y="342"/>
                    </a:cubicBezTo>
                    <a:cubicBezTo>
                      <a:pt x="69" y="340"/>
                      <a:pt x="73" y="345"/>
                      <a:pt x="76" y="344"/>
                    </a:cubicBezTo>
                    <a:cubicBezTo>
                      <a:pt x="80" y="344"/>
                      <a:pt x="83" y="342"/>
                      <a:pt x="86" y="342"/>
                    </a:cubicBezTo>
                    <a:cubicBezTo>
                      <a:pt x="90" y="343"/>
                      <a:pt x="93" y="347"/>
                      <a:pt x="96" y="348"/>
                    </a:cubicBezTo>
                    <a:cubicBezTo>
                      <a:pt x="98" y="349"/>
                      <a:pt x="101" y="347"/>
                      <a:pt x="102" y="348"/>
                    </a:cubicBezTo>
                    <a:cubicBezTo>
                      <a:pt x="104" y="352"/>
                      <a:pt x="105" y="358"/>
                      <a:pt x="104" y="363"/>
                    </a:cubicBezTo>
                    <a:cubicBezTo>
                      <a:pt x="104" y="364"/>
                      <a:pt x="102" y="365"/>
                      <a:pt x="102" y="366"/>
                    </a:cubicBezTo>
                    <a:cubicBezTo>
                      <a:pt x="108" y="390"/>
                      <a:pt x="105" y="359"/>
                      <a:pt x="112" y="380"/>
                    </a:cubicBezTo>
                    <a:cubicBezTo>
                      <a:pt x="114" y="386"/>
                      <a:pt x="99" y="395"/>
                      <a:pt x="99" y="395"/>
                    </a:cubicBezTo>
                    <a:cubicBezTo>
                      <a:pt x="109" y="393"/>
                      <a:pt x="119" y="385"/>
                      <a:pt x="118" y="408"/>
                    </a:cubicBezTo>
                    <a:cubicBezTo>
                      <a:pt x="115" y="430"/>
                      <a:pt x="99" y="418"/>
                      <a:pt x="95" y="423"/>
                    </a:cubicBezTo>
                    <a:cubicBezTo>
                      <a:pt x="91" y="427"/>
                      <a:pt x="94" y="436"/>
                      <a:pt x="84" y="434"/>
                    </a:cubicBezTo>
                    <a:cubicBezTo>
                      <a:pt x="81" y="434"/>
                      <a:pt x="80" y="432"/>
                      <a:pt x="78" y="430"/>
                    </a:cubicBezTo>
                    <a:cubicBezTo>
                      <a:pt x="76" y="428"/>
                      <a:pt x="76" y="428"/>
                      <a:pt x="76" y="428"/>
                    </a:cubicBezTo>
                    <a:cubicBezTo>
                      <a:pt x="67" y="423"/>
                      <a:pt x="79" y="436"/>
                      <a:pt x="60" y="429"/>
                    </a:cubicBezTo>
                    <a:cubicBezTo>
                      <a:pt x="57" y="428"/>
                      <a:pt x="61" y="423"/>
                      <a:pt x="62" y="420"/>
                    </a:cubicBezTo>
                    <a:cubicBezTo>
                      <a:pt x="63" y="416"/>
                      <a:pt x="57" y="417"/>
                      <a:pt x="56" y="415"/>
                    </a:cubicBezTo>
                    <a:cubicBezTo>
                      <a:pt x="53" y="410"/>
                      <a:pt x="56" y="396"/>
                      <a:pt x="50" y="397"/>
                    </a:cubicBezTo>
                    <a:cubicBezTo>
                      <a:pt x="25" y="400"/>
                      <a:pt x="56" y="412"/>
                      <a:pt x="30" y="414"/>
                    </a:cubicBezTo>
                    <a:cubicBezTo>
                      <a:pt x="22" y="415"/>
                      <a:pt x="0" y="385"/>
                      <a:pt x="2" y="382"/>
                    </a:cubicBezTo>
                    <a:cubicBezTo>
                      <a:pt x="3" y="382"/>
                      <a:pt x="25" y="377"/>
                      <a:pt x="25" y="377"/>
                    </a:cubicBezTo>
                    <a:cubicBezTo>
                      <a:pt x="26" y="373"/>
                      <a:pt x="19" y="372"/>
                      <a:pt x="18" y="368"/>
                    </a:cubicBezTo>
                    <a:cubicBezTo>
                      <a:pt x="17" y="365"/>
                      <a:pt x="32" y="369"/>
                      <a:pt x="33" y="368"/>
                    </a:cubicBezTo>
                    <a:cubicBezTo>
                      <a:pt x="42" y="363"/>
                      <a:pt x="39" y="348"/>
                      <a:pt x="51" y="348"/>
                    </a:cubicBezTo>
                    <a:close/>
                    <a:moveTo>
                      <a:pt x="159" y="114"/>
                    </a:moveTo>
                    <a:cubicBezTo>
                      <a:pt x="156" y="119"/>
                      <a:pt x="148" y="123"/>
                      <a:pt x="147" y="126"/>
                    </a:cubicBezTo>
                    <a:cubicBezTo>
                      <a:pt x="147" y="129"/>
                      <a:pt x="146" y="145"/>
                      <a:pt x="139" y="145"/>
                    </a:cubicBezTo>
                    <a:cubicBezTo>
                      <a:pt x="135" y="145"/>
                      <a:pt x="135" y="138"/>
                      <a:pt x="133" y="136"/>
                    </a:cubicBezTo>
                    <a:cubicBezTo>
                      <a:pt x="129" y="133"/>
                      <a:pt x="134" y="145"/>
                      <a:pt x="130" y="147"/>
                    </a:cubicBezTo>
                    <a:cubicBezTo>
                      <a:pt x="129" y="147"/>
                      <a:pt x="126" y="145"/>
                      <a:pt x="125" y="146"/>
                    </a:cubicBezTo>
                    <a:cubicBezTo>
                      <a:pt x="121" y="148"/>
                      <a:pt x="121" y="156"/>
                      <a:pt x="116" y="156"/>
                    </a:cubicBezTo>
                    <a:cubicBezTo>
                      <a:pt x="112" y="156"/>
                      <a:pt x="109" y="149"/>
                      <a:pt x="111" y="146"/>
                    </a:cubicBezTo>
                    <a:cubicBezTo>
                      <a:pt x="113" y="142"/>
                      <a:pt x="123" y="149"/>
                      <a:pt x="125" y="144"/>
                    </a:cubicBezTo>
                    <a:cubicBezTo>
                      <a:pt x="126" y="140"/>
                      <a:pt x="117" y="139"/>
                      <a:pt x="115" y="135"/>
                    </a:cubicBezTo>
                    <a:cubicBezTo>
                      <a:pt x="114" y="133"/>
                      <a:pt x="119" y="134"/>
                      <a:pt x="120" y="133"/>
                    </a:cubicBezTo>
                    <a:cubicBezTo>
                      <a:pt x="121" y="132"/>
                      <a:pt x="118" y="133"/>
                      <a:pt x="118" y="132"/>
                    </a:cubicBezTo>
                    <a:cubicBezTo>
                      <a:pt x="117" y="130"/>
                      <a:pt x="117" y="128"/>
                      <a:pt x="117" y="125"/>
                    </a:cubicBezTo>
                    <a:cubicBezTo>
                      <a:pt x="122" y="111"/>
                      <a:pt x="126" y="124"/>
                      <a:pt x="134" y="126"/>
                    </a:cubicBezTo>
                    <a:cubicBezTo>
                      <a:pt x="135" y="126"/>
                      <a:pt x="131" y="117"/>
                      <a:pt x="133" y="116"/>
                    </a:cubicBezTo>
                    <a:cubicBezTo>
                      <a:pt x="139" y="109"/>
                      <a:pt x="139" y="115"/>
                      <a:pt x="144" y="115"/>
                    </a:cubicBezTo>
                    <a:cubicBezTo>
                      <a:pt x="145" y="114"/>
                      <a:pt x="145" y="112"/>
                      <a:pt x="146" y="112"/>
                    </a:cubicBezTo>
                    <a:cubicBezTo>
                      <a:pt x="149" y="109"/>
                      <a:pt x="152" y="105"/>
                      <a:pt x="156" y="106"/>
                    </a:cubicBezTo>
                    <a:cubicBezTo>
                      <a:pt x="159" y="106"/>
                      <a:pt x="158" y="111"/>
                      <a:pt x="159" y="114"/>
                    </a:cubicBezTo>
                    <a:close/>
                    <a:moveTo>
                      <a:pt x="167" y="420"/>
                    </a:moveTo>
                    <a:cubicBezTo>
                      <a:pt x="164" y="421"/>
                      <a:pt x="161" y="421"/>
                      <a:pt x="158" y="422"/>
                    </a:cubicBezTo>
                    <a:cubicBezTo>
                      <a:pt x="156" y="424"/>
                      <a:pt x="155" y="428"/>
                      <a:pt x="153" y="430"/>
                    </a:cubicBezTo>
                    <a:cubicBezTo>
                      <a:pt x="129" y="452"/>
                      <a:pt x="168" y="447"/>
                      <a:pt x="167" y="420"/>
                    </a:cubicBez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117" name="Switzerland" descr="{&quot;Key&quot;:&quot;switzerland&quot;,&quot;Name&quot;:&quot;Switzerland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1E50F658-3365-03AF-EFB4-A5D527D880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7313" y="4981036"/>
                <a:ext cx="399863" cy="280348"/>
              </a:xfrm>
              <a:custGeom>
                <a:avLst/>
                <a:gdLst>
                  <a:gd name="T0" fmla="*/ 232 w 239"/>
                  <a:gd name="T1" fmla="*/ 83 h 156"/>
                  <a:gd name="T2" fmla="*/ 232 w 239"/>
                  <a:gd name="T3" fmla="*/ 101 h 156"/>
                  <a:gd name="T4" fmla="*/ 218 w 239"/>
                  <a:gd name="T5" fmla="*/ 109 h 156"/>
                  <a:gd name="T6" fmla="*/ 219 w 239"/>
                  <a:gd name="T7" fmla="*/ 121 h 156"/>
                  <a:gd name="T8" fmla="*/ 206 w 239"/>
                  <a:gd name="T9" fmla="*/ 112 h 156"/>
                  <a:gd name="T10" fmla="*/ 176 w 239"/>
                  <a:gd name="T11" fmla="*/ 102 h 156"/>
                  <a:gd name="T12" fmla="*/ 157 w 239"/>
                  <a:gd name="T13" fmla="*/ 143 h 156"/>
                  <a:gd name="T14" fmla="*/ 152 w 239"/>
                  <a:gd name="T15" fmla="*/ 144 h 156"/>
                  <a:gd name="T16" fmla="*/ 150 w 239"/>
                  <a:gd name="T17" fmla="*/ 135 h 156"/>
                  <a:gd name="T18" fmla="*/ 129 w 239"/>
                  <a:gd name="T19" fmla="*/ 121 h 156"/>
                  <a:gd name="T20" fmla="*/ 129 w 239"/>
                  <a:gd name="T21" fmla="*/ 105 h 156"/>
                  <a:gd name="T22" fmla="*/ 119 w 239"/>
                  <a:gd name="T23" fmla="*/ 113 h 156"/>
                  <a:gd name="T24" fmla="*/ 114 w 239"/>
                  <a:gd name="T25" fmla="*/ 126 h 156"/>
                  <a:gd name="T26" fmla="*/ 83 w 239"/>
                  <a:gd name="T27" fmla="*/ 139 h 156"/>
                  <a:gd name="T28" fmla="*/ 50 w 239"/>
                  <a:gd name="T29" fmla="*/ 132 h 156"/>
                  <a:gd name="T30" fmla="*/ 48 w 239"/>
                  <a:gd name="T31" fmla="*/ 127 h 156"/>
                  <a:gd name="T32" fmla="*/ 47 w 239"/>
                  <a:gd name="T33" fmla="*/ 117 h 156"/>
                  <a:gd name="T34" fmla="*/ 44 w 239"/>
                  <a:gd name="T35" fmla="*/ 105 h 156"/>
                  <a:gd name="T36" fmla="*/ 16 w 239"/>
                  <a:gd name="T37" fmla="*/ 113 h 156"/>
                  <a:gd name="T38" fmla="*/ 0 w 239"/>
                  <a:gd name="T39" fmla="*/ 125 h 156"/>
                  <a:gd name="T40" fmla="*/ 9 w 239"/>
                  <a:gd name="T41" fmla="*/ 116 h 156"/>
                  <a:gd name="T42" fmla="*/ 27 w 239"/>
                  <a:gd name="T43" fmla="*/ 79 h 156"/>
                  <a:gd name="T44" fmla="*/ 41 w 239"/>
                  <a:gd name="T45" fmla="*/ 60 h 156"/>
                  <a:gd name="T46" fmla="*/ 61 w 239"/>
                  <a:gd name="T47" fmla="*/ 37 h 156"/>
                  <a:gd name="T48" fmla="*/ 57 w 239"/>
                  <a:gd name="T49" fmla="*/ 30 h 156"/>
                  <a:gd name="T50" fmla="*/ 57 w 239"/>
                  <a:gd name="T51" fmla="*/ 26 h 156"/>
                  <a:gd name="T52" fmla="*/ 87 w 239"/>
                  <a:gd name="T53" fmla="*/ 20 h 156"/>
                  <a:gd name="T54" fmla="*/ 92 w 239"/>
                  <a:gd name="T55" fmla="*/ 20 h 156"/>
                  <a:gd name="T56" fmla="*/ 119 w 239"/>
                  <a:gd name="T57" fmla="*/ 19 h 156"/>
                  <a:gd name="T58" fmla="*/ 134 w 239"/>
                  <a:gd name="T59" fmla="*/ 18 h 156"/>
                  <a:gd name="T60" fmla="*/ 129 w 239"/>
                  <a:gd name="T61" fmla="*/ 16 h 156"/>
                  <a:gd name="T62" fmla="*/ 145 w 239"/>
                  <a:gd name="T63" fmla="*/ 14 h 156"/>
                  <a:gd name="T64" fmla="*/ 149 w 239"/>
                  <a:gd name="T65" fmla="*/ 11 h 156"/>
                  <a:gd name="T66" fmla="*/ 172 w 239"/>
                  <a:gd name="T67" fmla="*/ 17 h 156"/>
                  <a:gd name="T68" fmla="*/ 187 w 239"/>
                  <a:gd name="T69" fmla="*/ 27 h 156"/>
                  <a:gd name="T70" fmla="*/ 189 w 239"/>
                  <a:gd name="T71" fmla="*/ 39 h 156"/>
                  <a:gd name="T72" fmla="*/ 203 w 239"/>
                  <a:gd name="T73" fmla="*/ 65 h 156"/>
                  <a:gd name="T74" fmla="*/ 212 w 239"/>
                  <a:gd name="T75" fmla="*/ 76 h 156"/>
                  <a:gd name="T76" fmla="*/ 233 w 239"/>
                  <a:gd name="T77" fmla="*/ 67 h 156"/>
                  <a:gd name="T78" fmla="*/ 233 w 239"/>
                  <a:gd name="T79" fmla="*/ 76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39" h="156">
                    <a:moveTo>
                      <a:pt x="233" y="76"/>
                    </a:moveTo>
                    <a:cubicBezTo>
                      <a:pt x="232" y="78"/>
                      <a:pt x="233" y="81"/>
                      <a:pt x="232" y="83"/>
                    </a:cubicBezTo>
                    <a:cubicBezTo>
                      <a:pt x="231" y="86"/>
                      <a:pt x="229" y="87"/>
                      <a:pt x="228" y="90"/>
                    </a:cubicBezTo>
                    <a:cubicBezTo>
                      <a:pt x="228" y="91"/>
                      <a:pt x="239" y="99"/>
                      <a:pt x="232" y="101"/>
                    </a:cubicBezTo>
                    <a:cubicBezTo>
                      <a:pt x="220" y="104"/>
                      <a:pt x="224" y="87"/>
                      <a:pt x="214" y="95"/>
                    </a:cubicBezTo>
                    <a:cubicBezTo>
                      <a:pt x="206" y="100"/>
                      <a:pt x="216" y="106"/>
                      <a:pt x="218" y="109"/>
                    </a:cubicBezTo>
                    <a:cubicBezTo>
                      <a:pt x="218" y="112"/>
                      <a:pt x="215" y="113"/>
                      <a:pt x="215" y="116"/>
                    </a:cubicBezTo>
                    <a:cubicBezTo>
                      <a:pt x="215" y="118"/>
                      <a:pt x="218" y="119"/>
                      <a:pt x="219" y="121"/>
                    </a:cubicBezTo>
                    <a:cubicBezTo>
                      <a:pt x="219" y="123"/>
                      <a:pt x="215" y="125"/>
                      <a:pt x="212" y="124"/>
                    </a:cubicBezTo>
                    <a:cubicBezTo>
                      <a:pt x="209" y="122"/>
                      <a:pt x="211" y="113"/>
                      <a:pt x="206" y="112"/>
                    </a:cubicBezTo>
                    <a:cubicBezTo>
                      <a:pt x="191" y="109"/>
                      <a:pt x="198" y="121"/>
                      <a:pt x="189" y="118"/>
                    </a:cubicBezTo>
                    <a:cubicBezTo>
                      <a:pt x="175" y="114"/>
                      <a:pt x="184" y="103"/>
                      <a:pt x="176" y="102"/>
                    </a:cubicBezTo>
                    <a:cubicBezTo>
                      <a:pt x="167" y="100"/>
                      <a:pt x="173" y="116"/>
                      <a:pt x="173" y="117"/>
                    </a:cubicBezTo>
                    <a:cubicBezTo>
                      <a:pt x="171" y="127"/>
                      <a:pt x="157" y="130"/>
                      <a:pt x="157" y="143"/>
                    </a:cubicBezTo>
                    <a:cubicBezTo>
                      <a:pt x="157" y="148"/>
                      <a:pt x="168" y="146"/>
                      <a:pt x="159" y="153"/>
                    </a:cubicBezTo>
                    <a:cubicBezTo>
                      <a:pt x="155" y="156"/>
                      <a:pt x="154" y="147"/>
                      <a:pt x="152" y="144"/>
                    </a:cubicBezTo>
                    <a:cubicBezTo>
                      <a:pt x="150" y="142"/>
                      <a:pt x="146" y="143"/>
                      <a:pt x="146" y="141"/>
                    </a:cubicBezTo>
                    <a:cubicBezTo>
                      <a:pt x="145" y="139"/>
                      <a:pt x="149" y="137"/>
                      <a:pt x="150" y="135"/>
                    </a:cubicBezTo>
                    <a:cubicBezTo>
                      <a:pt x="150" y="134"/>
                      <a:pt x="149" y="133"/>
                      <a:pt x="148" y="133"/>
                    </a:cubicBezTo>
                    <a:cubicBezTo>
                      <a:pt x="142" y="130"/>
                      <a:pt x="133" y="129"/>
                      <a:pt x="129" y="121"/>
                    </a:cubicBezTo>
                    <a:cubicBezTo>
                      <a:pt x="128" y="119"/>
                      <a:pt x="130" y="117"/>
                      <a:pt x="130" y="115"/>
                    </a:cubicBezTo>
                    <a:cubicBezTo>
                      <a:pt x="130" y="112"/>
                      <a:pt x="130" y="108"/>
                      <a:pt x="129" y="105"/>
                    </a:cubicBezTo>
                    <a:cubicBezTo>
                      <a:pt x="129" y="104"/>
                      <a:pt x="128" y="105"/>
                      <a:pt x="126" y="106"/>
                    </a:cubicBezTo>
                    <a:cubicBezTo>
                      <a:pt x="124" y="108"/>
                      <a:pt x="121" y="110"/>
                      <a:pt x="119" y="113"/>
                    </a:cubicBezTo>
                    <a:cubicBezTo>
                      <a:pt x="116" y="115"/>
                      <a:pt x="111" y="116"/>
                      <a:pt x="110" y="119"/>
                    </a:cubicBezTo>
                    <a:cubicBezTo>
                      <a:pt x="109" y="122"/>
                      <a:pt x="115" y="123"/>
                      <a:pt x="114" y="126"/>
                    </a:cubicBezTo>
                    <a:cubicBezTo>
                      <a:pt x="114" y="129"/>
                      <a:pt x="98" y="145"/>
                      <a:pt x="98" y="145"/>
                    </a:cubicBezTo>
                    <a:cubicBezTo>
                      <a:pt x="93" y="145"/>
                      <a:pt x="89" y="138"/>
                      <a:pt x="83" y="139"/>
                    </a:cubicBezTo>
                    <a:cubicBezTo>
                      <a:pt x="76" y="141"/>
                      <a:pt x="61" y="152"/>
                      <a:pt x="55" y="142"/>
                    </a:cubicBezTo>
                    <a:cubicBezTo>
                      <a:pt x="53" y="139"/>
                      <a:pt x="53" y="135"/>
                      <a:pt x="50" y="132"/>
                    </a:cubicBezTo>
                    <a:cubicBezTo>
                      <a:pt x="50" y="131"/>
                      <a:pt x="47" y="134"/>
                      <a:pt x="47" y="133"/>
                    </a:cubicBezTo>
                    <a:cubicBezTo>
                      <a:pt x="46" y="131"/>
                      <a:pt x="49" y="129"/>
                      <a:pt x="48" y="127"/>
                    </a:cubicBezTo>
                    <a:cubicBezTo>
                      <a:pt x="47" y="125"/>
                      <a:pt x="44" y="127"/>
                      <a:pt x="43" y="126"/>
                    </a:cubicBezTo>
                    <a:cubicBezTo>
                      <a:pt x="39" y="120"/>
                      <a:pt x="47" y="121"/>
                      <a:pt x="47" y="117"/>
                    </a:cubicBezTo>
                    <a:cubicBezTo>
                      <a:pt x="46" y="114"/>
                      <a:pt x="43" y="113"/>
                      <a:pt x="43" y="110"/>
                    </a:cubicBezTo>
                    <a:cubicBezTo>
                      <a:pt x="42" y="109"/>
                      <a:pt x="47" y="105"/>
                      <a:pt x="44" y="105"/>
                    </a:cubicBezTo>
                    <a:cubicBezTo>
                      <a:pt x="37" y="101"/>
                      <a:pt x="21" y="101"/>
                      <a:pt x="16" y="109"/>
                    </a:cubicBezTo>
                    <a:cubicBezTo>
                      <a:pt x="15" y="110"/>
                      <a:pt x="16" y="112"/>
                      <a:pt x="16" y="113"/>
                    </a:cubicBezTo>
                    <a:cubicBezTo>
                      <a:pt x="16" y="114"/>
                      <a:pt x="19" y="116"/>
                      <a:pt x="18" y="117"/>
                    </a:cubicBezTo>
                    <a:cubicBezTo>
                      <a:pt x="15" y="123"/>
                      <a:pt x="7" y="126"/>
                      <a:pt x="0" y="125"/>
                    </a:cubicBezTo>
                    <a:cubicBezTo>
                      <a:pt x="0" y="125"/>
                      <a:pt x="3" y="123"/>
                      <a:pt x="3" y="122"/>
                    </a:cubicBezTo>
                    <a:cubicBezTo>
                      <a:pt x="3" y="115"/>
                      <a:pt x="8" y="118"/>
                      <a:pt x="9" y="116"/>
                    </a:cubicBezTo>
                    <a:cubicBezTo>
                      <a:pt x="12" y="107"/>
                      <a:pt x="4" y="99"/>
                      <a:pt x="11" y="91"/>
                    </a:cubicBezTo>
                    <a:cubicBezTo>
                      <a:pt x="15" y="85"/>
                      <a:pt x="25" y="85"/>
                      <a:pt x="27" y="79"/>
                    </a:cubicBezTo>
                    <a:cubicBezTo>
                      <a:pt x="29" y="75"/>
                      <a:pt x="26" y="70"/>
                      <a:pt x="27" y="66"/>
                    </a:cubicBezTo>
                    <a:cubicBezTo>
                      <a:pt x="30" y="62"/>
                      <a:pt x="38" y="63"/>
                      <a:pt x="41" y="60"/>
                    </a:cubicBezTo>
                    <a:cubicBezTo>
                      <a:pt x="45" y="56"/>
                      <a:pt x="50" y="45"/>
                      <a:pt x="55" y="41"/>
                    </a:cubicBezTo>
                    <a:cubicBezTo>
                      <a:pt x="57" y="39"/>
                      <a:pt x="60" y="45"/>
                      <a:pt x="61" y="37"/>
                    </a:cubicBezTo>
                    <a:cubicBezTo>
                      <a:pt x="61" y="34"/>
                      <a:pt x="52" y="40"/>
                      <a:pt x="52" y="37"/>
                    </a:cubicBezTo>
                    <a:cubicBezTo>
                      <a:pt x="51" y="34"/>
                      <a:pt x="55" y="32"/>
                      <a:pt x="57" y="30"/>
                    </a:cubicBezTo>
                    <a:cubicBezTo>
                      <a:pt x="57" y="30"/>
                      <a:pt x="58" y="30"/>
                      <a:pt x="58" y="30"/>
                    </a:cubicBezTo>
                    <a:cubicBezTo>
                      <a:pt x="58" y="28"/>
                      <a:pt x="56" y="26"/>
                      <a:pt x="57" y="26"/>
                    </a:cubicBezTo>
                    <a:cubicBezTo>
                      <a:pt x="73" y="21"/>
                      <a:pt x="66" y="43"/>
                      <a:pt x="85" y="23"/>
                    </a:cubicBezTo>
                    <a:cubicBezTo>
                      <a:pt x="86" y="23"/>
                      <a:pt x="87" y="22"/>
                      <a:pt x="87" y="20"/>
                    </a:cubicBezTo>
                    <a:cubicBezTo>
                      <a:pt x="89" y="19"/>
                      <a:pt x="89" y="19"/>
                      <a:pt x="89" y="19"/>
                    </a:cubicBezTo>
                    <a:cubicBezTo>
                      <a:pt x="90" y="19"/>
                      <a:pt x="91" y="19"/>
                      <a:pt x="92" y="20"/>
                    </a:cubicBezTo>
                    <a:cubicBezTo>
                      <a:pt x="93" y="20"/>
                      <a:pt x="89" y="21"/>
                      <a:pt x="89" y="22"/>
                    </a:cubicBezTo>
                    <a:cubicBezTo>
                      <a:pt x="91" y="26"/>
                      <a:pt x="117" y="19"/>
                      <a:pt x="119" y="19"/>
                    </a:cubicBezTo>
                    <a:cubicBezTo>
                      <a:pt x="130" y="19"/>
                      <a:pt x="120" y="30"/>
                      <a:pt x="134" y="22"/>
                    </a:cubicBezTo>
                    <a:cubicBezTo>
                      <a:pt x="134" y="22"/>
                      <a:pt x="133" y="19"/>
                      <a:pt x="134" y="18"/>
                    </a:cubicBezTo>
                    <a:cubicBezTo>
                      <a:pt x="136" y="17"/>
                      <a:pt x="142" y="17"/>
                      <a:pt x="139" y="16"/>
                    </a:cubicBezTo>
                    <a:cubicBezTo>
                      <a:pt x="136" y="15"/>
                      <a:pt x="133" y="17"/>
                      <a:pt x="129" y="16"/>
                    </a:cubicBezTo>
                    <a:cubicBezTo>
                      <a:pt x="128" y="15"/>
                      <a:pt x="137" y="0"/>
                      <a:pt x="146" y="9"/>
                    </a:cubicBezTo>
                    <a:cubicBezTo>
                      <a:pt x="147" y="10"/>
                      <a:pt x="144" y="12"/>
                      <a:pt x="145" y="14"/>
                    </a:cubicBezTo>
                    <a:cubicBezTo>
                      <a:pt x="145" y="15"/>
                      <a:pt x="147" y="15"/>
                      <a:pt x="149" y="15"/>
                    </a:cubicBezTo>
                    <a:cubicBezTo>
                      <a:pt x="150" y="14"/>
                      <a:pt x="148" y="10"/>
                      <a:pt x="149" y="11"/>
                    </a:cubicBezTo>
                    <a:cubicBezTo>
                      <a:pt x="151" y="13"/>
                      <a:pt x="151" y="17"/>
                      <a:pt x="153" y="18"/>
                    </a:cubicBezTo>
                    <a:cubicBezTo>
                      <a:pt x="153" y="18"/>
                      <a:pt x="172" y="17"/>
                      <a:pt x="172" y="17"/>
                    </a:cubicBezTo>
                    <a:cubicBezTo>
                      <a:pt x="178" y="18"/>
                      <a:pt x="182" y="23"/>
                      <a:pt x="187" y="26"/>
                    </a:cubicBezTo>
                    <a:cubicBezTo>
                      <a:pt x="187" y="27"/>
                      <a:pt x="187" y="27"/>
                      <a:pt x="187" y="27"/>
                    </a:cubicBezTo>
                    <a:cubicBezTo>
                      <a:pt x="187" y="31"/>
                      <a:pt x="194" y="32"/>
                      <a:pt x="192" y="37"/>
                    </a:cubicBezTo>
                    <a:cubicBezTo>
                      <a:pt x="192" y="39"/>
                      <a:pt x="189" y="38"/>
                      <a:pt x="189" y="39"/>
                    </a:cubicBezTo>
                    <a:cubicBezTo>
                      <a:pt x="187" y="41"/>
                      <a:pt x="181" y="62"/>
                      <a:pt x="182" y="62"/>
                    </a:cubicBezTo>
                    <a:cubicBezTo>
                      <a:pt x="184" y="63"/>
                      <a:pt x="202" y="65"/>
                      <a:pt x="203" y="65"/>
                    </a:cubicBezTo>
                    <a:cubicBezTo>
                      <a:pt x="204" y="66"/>
                      <a:pt x="201" y="67"/>
                      <a:pt x="202" y="69"/>
                    </a:cubicBezTo>
                    <a:cubicBezTo>
                      <a:pt x="205" y="72"/>
                      <a:pt x="209" y="74"/>
                      <a:pt x="212" y="76"/>
                    </a:cubicBezTo>
                    <a:cubicBezTo>
                      <a:pt x="222" y="80"/>
                      <a:pt x="223" y="65"/>
                      <a:pt x="229" y="66"/>
                    </a:cubicBezTo>
                    <a:cubicBezTo>
                      <a:pt x="231" y="66"/>
                      <a:pt x="232" y="67"/>
                      <a:pt x="233" y="67"/>
                    </a:cubicBezTo>
                    <a:cubicBezTo>
                      <a:pt x="233" y="73"/>
                      <a:pt x="233" y="73"/>
                      <a:pt x="233" y="73"/>
                    </a:cubicBezTo>
                    <a:cubicBezTo>
                      <a:pt x="232" y="74"/>
                      <a:pt x="232" y="75"/>
                      <a:pt x="233" y="76"/>
                    </a:cubicBez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118" name="Austria" descr="{&quot;Key&quot;:&quot;austria&quot;,&quot;Name&quot;:&quot;Austria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06CABCBE-5A3E-3B58-AB04-E77A717EE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6836" y="4812191"/>
                <a:ext cx="633856" cy="358400"/>
              </a:xfrm>
              <a:custGeom>
                <a:avLst/>
                <a:gdLst>
                  <a:gd name="T0" fmla="*/ 7 w 379"/>
                  <a:gd name="T1" fmla="*/ 131 h 199"/>
                  <a:gd name="T2" fmla="*/ 0 w 379"/>
                  <a:gd name="T3" fmla="*/ 144 h 199"/>
                  <a:gd name="T4" fmla="*/ 3 w 379"/>
                  <a:gd name="T5" fmla="*/ 157 h 199"/>
                  <a:gd name="T6" fmla="*/ 17 w 379"/>
                  <a:gd name="T7" fmla="*/ 163 h 199"/>
                  <a:gd name="T8" fmla="*/ 44 w 379"/>
                  <a:gd name="T9" fmla="*/ 160 h 199"/>
                  <a:gd name="T10" fmla="*/ 58 w 379"/>
                  <a:gd name="T11" fmla="*/ 170 h 199"/>
                  <a:gd name="T12" fmla="*/ 83 w 379"/>
                  <a:gd name="T13" fmla="*/ 162 h 199"/>
                  <a:gd name="T14" fmla="*/ 137 w 379"/>
                  <a:gd name="T15" fmla="*/ 152 h 199"/>
                  <a:gd name="T16" fmla="*/ 141 w 379"/>
                  <a:gd name="T17" fmla="*/ 168 h 199"/>
                  <a:gd name="T18" fmla="*/ 144 w 379"/>
                  <a:gd name="T19" fmla="*/ 174 h 199"/>
                  <a:gd name="T20" fmla="*/ 224 w 379"/>
                  <a:gd name="T21" fmla="*/ 191 h 199"/>
                  <a:gd name="T22" fmla="*/ 252 w 379"/>
                  <a:gd name="T23" fmla="*/ 194 h 199"/>
                  <a:gd name="T24" fmla="*/ 261 w 379"/>
                  <a:gd name="T25" fmla="*/ 195 h 199"/>
                  <a:gd name="T26" fmla="*/ 273 w 379"/>
                  <a:gd name="T27" fmla="*/ 180 h 199"/>
                  <a:gd name="T28" fmla="*/ 313 w 379"/>
                  <a:gd name="T29" fmla="*/ 170 h 199"/>
                  <a:gd name="T30" fmla="*/ 330 w 379"/>
                  <a:gd name="T31" fmla="*/ 167 h 199"/>
                  <a:gd name="T32" fmla="*/ 355 w 379"/>
                  <a:gd name="T33" fmla="*/ 135 h 199"/>
                  <a:gd name="T34" fmla="*/ 361 w 379"/>
                  <a:gd name="T35" fmla="*/ 105 h 199"/>
                  <a:gd name="T36" fmla="*/ 379 w 379"/>
                  <a:gd name="T37" fmla="*/ 90 h 199"/>
                  <a:gd name="T38" fmla="*/ 362 w 379"/>
                  <a:gd name="T39" fmla="*/ 43 h 199"/>
                  <a:gd name="T40" fmla="*/ 356 w 379"/>
                  <a:gd name="T41" fmla="*/ 17 h 199"/>
                  <a:gd name="T42" fmla="*/ 336 w 379"/>
                  <a:gd name="T43" fmla="*/ 18 h 199"/>
                  <a:gd name="T44" fmla="*/ 284 w 379"/>
                  <a:gd name="T45" fmla="*/ 3 h 199"/>
                  <a:gd name="T46" fmla="*/ 275 w 379"/>
                  <a:gd name="T47" fmla="*/ 2 h 199"/>
                  <a:gd name="T48" fmla="*/ 267 w 379"/>
                  <a:gd name="T49" fmla="*/ 21 h 199"/>
                  <a:gd name="T50" fmla="*/ 255 w 379"/>
                  <a:gd name="T51" fmla="*/ 35 h 199"/>
                  <a:gd name="T52" fmla="*/ 240 w 379"/>
                  <a:gd name="T53" fmla="*/ 36 h 199"/>
                  <a:gd name="T54" fmla="*/ 211 w 379"/>
                  <a:gd name="T55" fmla="*/ 24 h 199"/>
                  <a:gd name="T56" fmla="*/ 197 w 379"/>
                  <a:gd name="T57" fmla="*/ 38 h 199"/>
                  <a:gd name="T58" fmla="*/ 190 w 379"/>
                  <a:gd name="T59" fmla="*/ 56 h 199"/>
                  <a:gd name="T60" fmla="*/ 175 w 379"/>
                  <a:gd name="T61" fmla="*/ 94 h 199"/>
                  <a:gd name="T62" fmla="*/ 177 w 379"/>
                  <a:gd name="T63" fmla="*/ 120 h 199"/>
                  <a:gd name="T64" fmla="*/ 163 w 379"/>
                  <a:gd name="T65" fmla="*/ 108 h 199"/>
                  <a:gd name="T66" fmla="*/ 146 w 379"/>
                  <a:gd name="T67" fmla="*/ 106 h 199"/>
                  <a:gd name="T68" fmla="*/ 137 w 379"/>
                  <a:gd name="T69" fmla="*/ 103 h 199"/>
                  <a:gd name="T70" fmla="*/ 106 w 379"/>
                  <a:gd name="T71" fmla="*/ 114 h 199"/>
                  <a:gd name="T72" fmla="*/ 95 w 379"/>
                  <a:gd name="T73" fmla="*/ 121 h 199"/>
                  <a:gd name="T74" fmla="*/ 73 w 379"/>
                  <a:gd name="T75" fmla="*/ 130 h 199"/>
                  <a:gd name="T76" fmla="*/ 68 w 379"/>
                  <a:gd name="T77" fmla="*/ 123 h 199"/>
                  <a:gd name="T78" fmla="*/ 47 w 379"/>
                  <a:gd name="T79" fmla="*/ 118 h 199"/>
                  <a:gd name="T80" fmla="*/ 47 w 379"/>
                  <a:gd name="T81" fmla="*/ 128 h 199"/>
                  <a:gd name="T82" fmla="*/ 35 w 379"/>
                  <a:gd name="T83" fmla="*/ 131 h 199"/>
                  <a:gd name="T84" fmla="*/ 28 w 379"/>
                  <a:gd name="T85" fmla="*/ 131 h 199"/>
                  <a:gd name="T86" fmla="*/ 22 w 379"/>
                  <a:gd name="T87" fmla="*/ 120 h 199"/>
                  <a:gd name="T88" fmla="*/ 15 w 379"/>
                  <a:gd name="T89" fmla="*/ 116 h 199"/>
                  <a:gd name="T90" fmla="*/ 2 w 379"/>
                  <a:gd name="T91" fmla="*/ 12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79" h="199">
                    <a:moveTo>
                      <a:pt x="2" y="121"/>
                    </a:moveTo>
                    <a:cubicBezTo>
                      <a:pt x="2" y="125"/>
                      <a:pt x="9" y="126"/>
                      <a:pt x="7" y="131"/>
                    </a:cubicBezTo>
                    <a:cubicBezTo>
                      <a:pt x="7" y="133"/>
                      <a:pt x="4" y="132"/>
                      <a:pt x="4" y="133"/>
                    </a:cubicBezTo>
                    <a:cubicBezTo>
                      <a:pt x="3" y="134"/>
                      <a:pt x="1" y="139"/>
                      <a:pt x="0" y="144"/>
                    </a:cubicBezTo>
                    <a:cubicBezTo>
                      <a:pt x="3" y="150"/>
                      <a:pt x="3" y="150"/>
                      <a:pt x="3" y="150"/>
                    </a:cubicBezTo>
                    <a:cubicBezTo>
                      <a:pt x="3" y="157"/>
                      <a:pt x="3" y="157"/>
                      <a:pt x="3" y="157"/>
                    </a:cubicBezTo>
                    <a:cubicBezTo>
                      <a:pt x="8" y="157"/>
                      <a:pt x="17" y="159"/>
                      <a:pt x="18" y="159"/>
                    </a:cubicBezTo>
                    <a:cubicBezTo>
                      <a:pt x="19" y="160"/>
                      <a:pt x="16" y="161"/>
                      <a:pt x="17" y="163"/>
                    </a:cubicBezTo>
                    <a:cubicBezTo>
                      <a:pt x="20" y="166"/>
                      <a:pt x="24" y="168"/>
                      <a:pt x="27" y="170"/>
                    </a:cubicBezTo>
                    <a:cubicBezTo>
                      <a:pt x="37" y="174"/>
                      <a:pt x="38" y="159"/>
                      <a:pt x="44" y="160"/>
                    </a:cubicBezTo>
                    <a:cubicBezTo>
                      <a:pt x="56" y="162"/>
                      <a:pt x="44" y="168"/>
                      <a:pt x="48" y="170"/>
                    </a:cubicBezTo>
                    <a:cubicBezTo>
                      <a:pt x="57" y="174"/>
                      <a:pt x="49" y="169"/>
                      <a:pt x="58" y="170"/>
                    </a:cubicBezTo>
                    <a:cubicBezTo>
                      <a:pt x="63" y="170"/>
                      <a:pt x="67" y="182"/>
                      <a:pt x="76" y="177"/>
                    </a:cubicBezTo>
                    <a:cubicBezTo>
                      <a:pt x="83" y="162"/>
                      <a:pt x="83" y="162"/>
                      <a:pt x="83" y="162"/>
                    </a:cubicBezTo>
                    <a:cubicBezTo>
                      <a:pt x="88" y="159"/>
                      <a:pt x="108" y="161"/>
                      <a:pt x="113" y="160"/>
                    </a:cubicBezTo>
                    <a:cubicBezTo>
                      <a:pt x="121" y="160"/>
                      <a:pt x="128" y="152"/>
                      <a:pt x="137" y="152"/>
                    </a:cubicBezTo>
                    <a:cubicBezTo>
                      <a:pt x="139" y="152"/>
                      <a:pt x="133" y="155"/>
                      <a:pt x="132" y="157"/>
                    </a:cubicBezTo>
                    <a:cubicBezTo>
                      <a:pt x="129" y="169"/>
                      <a:pt x="137" y="161"/>
                      <a:pt x="141" y="168"/>
                    </a:cubicBezTo>
                    <a:cubicBezTo>
                      <a:pt x="142" y="170"/>
                      <a:pt x="139" y="172"/>
                      <a:pt x="141" y="174"/>
                    </a:cubicBezTo>
                    <a:cubicBezTo>
                      <a:pt x="141" y="176"/>
                      <a:pt x="143" y="173"/>
                      <a:pt x="144" y="174"/>
                    </a:cubicBezTo>
                    <a:cubicBezTo>
                      <a:pt x="155" y="182"/>
                      <a:pt x="158" y="184"/>
                      <a:pt x="172" y="186"/>
                    </a:cubicBezTo>
                    <a:cubicBezTo>
                      <a:pt x="189" y="188"/>
                      <a:pt x="207" y="189"/>
                      <a:pt x="224" y="191"/>
                    </a:cubicBezTo>
                    <a:cubicBezTo>
                      <a:pt x="229" y="192"/>
                      <a:pt x="233" y="195"/>
                      <a:pt x="238" y="196"/>
                    </a:cubicBezTo>
                    <a:cubicBezTo>
                      <a:pt x="242" y="197"/>
                      <a:pt x="247" y="193"/>
                      <a:pt x="252" y="194"/>
                    </a:cubicBezTo>
                    <a:cubicBezTo>
                      <a:pt x="254" y="194"/>
                      <a:pt x="256" y="198"/>
                      <a:pt x="259" y="198"/>
                    </a:cubicBezTo>
                    <a:cubicBezTo>
                      <a:pt x="260" y="199"/>
                      <a:pt x="259" y="195"/>
                      <a:pt x="261" y="195"/>
                    </a:cubicBezTo>
                    <a:cubicBezTo>
                      <a:pt x="263" y="192"/>
                      <a:pt x="268" y="191"/>
                      <a:pt x="271" y="187"/>
                    </a:cubicBezTo>
                    <a:cubicBezTo>
                      <a:pt x="273" y="186"/>
                      <a:pt x="271" y="182"/>
                      <a:pt x="273" y="180"/>
                    </a:cubicBezTo>
                    <a:cubicBezTo>
                      <a:pt x="284" y="172"/>
                      <a:pt x="295" y="182"/>
                      <a:pt x="305" y="178"/>
                    </a:cubicBezTo>
                    <a:cubicBezTo>
                      <a:pt x="309" y="176"/>
                      <a:pt x="309" y="171"/>
                      <a:pt x="313" y="170"/>
                    </a:cubicBezTo>
                    <a:cubicBezTo>
                      <a:pt x="313" y="169"/>
                      <a:pt x="332" y="172"/>
                      <a:pt x="332" y="172"/>
                    </a:cubicBezTo>
                    <a:cubicBezTo>
                      <a:pt x="334" y="171"/>
                      <a:pt x="331" y="169"/>
                      <a:pt x="330" y="167"/>
                    </a:cubicBezTo>
                    <a:cubicBezTo>
                      <a:pt x="329" y="161"/>
                      <a:pt x="331" y="158"/>
                      <a:pt x="335" y="157"/>
                    </a:cubicBezTo>
                    <a:cubicBezTo>
                      <a:pt x="345" y="146"/>
                      <a:pt x="350" y="144"/>
                      <a:pt x="355" y="135"/>
                    </a:cubicBezTo>
                    <a:cubicBezTo>
                      <a:pt x="356" y="133"/>
                      <a:pt x="346" y="121"/>
                      <a:pt x="349" y="116"/>
                    </a:cubicBezTo>
                    <a:cubicBezTo>
                      <a:pt x="353" y="108"/>
                      <a:pt x="362" y="116"/>
                      <a:pt x="361" y="105"/>
                    </a:cubicBezTo>
                    <a:cubicBezTo>
                      <a:pt x="361" y="95"/>
                      <a:pt x="344" y="96"/>
                      <a:pt x="347" y="94"/>
                    </a:cubicBezTo>
                    <a:cubicBezTo>
                      <a:pt x="355" y="87"/>
                      <a:pt x="375" y="96"/>
                      <a:pt x="379" y="90"/>
                    </a:cubicBezTo>
                    <a:cubicBezTo>
                      <a:pt x="379" y="87"/>
                      <a:pt x="371" y="69"/>
                      <a:pt x="379" y="66"/>
                    </a:cubicBezTo>
                    <a:cubicBezTo>
                      <a:pt x="373" y="58"/>
                      <a:pt x="367" y="51"/>
                      <a:pt x="362" y="43"/>
                    </a:cubicBezTo>
                    <a:cubicBezTo>
                      <a:pt x="357" y="35"/>
                      <a:pt x="374" y="23"/>
                      <a:pt x="362" y="15"/>
                    </a:cubicBezTo>
                    <a:cubicBezTo>
                      <a:pt x="360" y="14"/>
                      <a:pt x="358" y="17"/>
                      <a:pt x="356" y="17"/>
                    </a:cubicBezTo>
                    <a:cubicBezTo>
                      <a:pt x="353" y="17"/>
                      <a:pt x="348" y="9"/>
                      <a:pt x="344" y="10"/>
                    </a:cubicBezTo>
                    <a:cubicBezTo>
                      <a:pt x="341" y="11"/>
                      <a:pt x="340" y="16"/>
                      <a:pt x="336" y="18"/>
                    </a:cubicBezTo>
                    <a:cubicBezTo>
                      <a:pt x="334" y="18"/>
                      <a:pt x="331" y="17"/>
                      <a:pt x="329" y="17"/>
                    </a:cubicBezTo>
                    <a:cubicBezTo>
                      <a:pt x="314" y="15"/>
                      <a:pt x="301" y="3"/>
                      <a:pt x="284" y="3"/>
                    </a:cubicBezTo>
                    <a:cubicBezTo>
                      <a:pt x="282" y="3"/>
                      <a:pt x="279" y="6"/>
                      <a:pt x="276" y="6"/>
                    </a:cubicBezTo>
                    <a:cubicBezTo>
                      <a:pt x="275" y="6"/>
                      <a:pt x="276" y="3"/>
                      <a:pt x="275" y="2"/>
                    </a:cubicBezTo>
                    <a:cubicBezTo>
                      <a:pt x="273" y="1"/>
                      <a:pt x="270" y="0"/>
                      <a:pt x="268" y="2"/>
                    </a:cubicBezTo>
                    <a:cubicBezTo>
                      <a:pt x="267" y="3"/>
                      <a:pt x="269" y="19"/>
                      <a:pt x="267" y="21"/>
                    </a:cubicBezTo>
                    <a:cubicBezTo>
                      <a:pt x="266" y="22"/>
                      <a:pt x="262" y="18"/>
                      <a:pt x="260" y="20"/>
                    </a:cubicBezTo>
                    <a:cubicBezTo>
                      <a:pt x="255" y="35"/>
                      <a:pt x="255" y="35"/>
                      <a:pt x="255" y="35"/>
                    </a:cubicBezTo>
                    <a:cubicBezTo>
                      <a:pt x="252" y="36"/>
                      <a:pt x="248" y="31"/>
                      <a:pt x="244" y="31"/>
                    </a:cubicBezTo>
                    <a:cubicBezTo>
                      <a:pt x="241" y="31"/>
                      <a:pt x="242" y="35"/>
                      <a:pt x="240" y="36"/>
                    </a:cubicBezTo>
                    <a:cubicBezTo>
                      <a:pt x="228" y="40"/>
                      <a:pt x="221" y="28"/>
                      <a:pt x="212" y="24"/>
                    </a:cubicBezTo>
                    <a:cubicBezTo>
                      <a:pt x="211" y="24"/>
                      <a:pt x="211" y="24"/>
                      <a:pt x="211" y="24"/>
                    </a:cubicBezTo>
                    <a:cubicBezTo>
                      <a:pt x="212" y="26"/>
                      <a:pt x="212" y="27"/>
                      <a:pt x="212" y="29"/>
                    </a:cubicBezTo>
                    <a:cubicBezTo>
                      <a:pt x="212" y="44"/>
                      <a:pt x="209" y="41"/>
                      <a:pt x="197" y="38"/>
                    </a:cubicBezTo>
                    <a:cubicBezTo>
                      <a:pt x="196" y="38"/>
                      <a:pt x="194" y="39"/>
                      <a:pt x="194" y="40"/>
                    </a:cubicBezTo>
                    <a:cubicBezTo>
                      <a:pt x="193" y="45"/>
                      <a:pt x="196" y="52"/>
                      <a:pt x="190" y="56"/>
                    </a:cubicBezTo>
                    <a:cubicBezTo>
                      <a:pt x="185" y="60"/>
                      <a:pt x="162" y="66"/>
                      <a:pt x="161" y="75"/>
                    </a:cubicBezTo>
                    <a:cubicBezTo>
                      <a:pt x="161" y="75"/>
                      <a:pt x="175" y="94"/>
                      <a:pt x="175" y="94"/>
                    </a:cubicBezTo>
                    <a:cubicBezTo>
                      <a:pt x="175" y="95"/>
                      <a:pt x="167" y="101"/>
                      <a:pt x="170" y="104"/>
                    </a:cubicBezTo>
                    <a:cubicBezTo>
                      <a:pt x="176" y="109"/>
                      <a:pt x="182" y="101"/>
                      <a:pt x="177" y="120"/>
                    </a:cubicBezTo>
                    <a:cubicBezTo>
                      <a:pt x="177" y="121"/>
                      <a:pt x="176" y="122"/>
                      <a:pt x="175" y="122"/>
                    </a:cubicBezTo>
                    <a:cubicBezTo>
                      <a:pt x="157" y="117"/>
                      <a:pt x="171" y="108"/>
                      <a:pt x="163" y="108"/>
                    </a:cubicBezTo>
                    <a:cubicBezTo>
                      <a:pt x="158" y="108"/>
                      <a:pt x="154" y="112"/>
                      <a:pt x="150" y="111"/>
                    </a:cubicBezTo>
                    <a:cubicBezTo>
                      <a:pt x="147" y="111"/>
                      <a:pt x="148" y="107"/>
                      <a:pt x="146" y="106"/>
                    </a:cubicBezTo>
                    <a:cubicBezTo>
                      <a:pt x="143" y="105"/>
                      <a:pt x="139" y="108"/>
                      <a:pt x="137" y="107"/>
                    </a:cubicBezTo>
                    <a:cubicBezTo>
                      <a:pt x="136" y="106"/>
                      <a:pt x="138" y="103"/>
                      <a:pt x="137" y="103"/>
                    </a:cubicBezTo>
                    <a:cubicBezTo>
                      <a:pt x="130" y="103"/>
                      <a:pt x="136" y="112"/>
                      <a:pt x="134" y="113"/>
                    </a:cubicBezTo>
                    <a:cubicBezTo>
                      <a:pt x="126" y="115"/>
                      <a:pt x="113" y="112"/>
                      <a:pt x="106" y="114"/>
                    </a:cubicBezTo>
                    <a:cubicBezTo>
                      <a:pt x="104" y="116"/>
                      <a:pt x="105" y="120"/>
                      <a:pt x="103" y="121"/>
                    </a:cubicBezTo>
                    <a:cubicBezTo>
                      <a:pt x="100" y="122"/>
                      <a:pt x="98" y="120"/>
                      <a:pt x="95" y="121"/>
                    </a:cubicBezTo>
                    <a:cubicBezTo>
                      <a:pt x="94" y="122"/>
                      <a:pt x="96" y="125"/>
                      <a:pt x="95" y="126"/>
                    </a:cubicBezTo>
                    <a:cubicBezTo>
                      <a:pt x="94" y="126"/>
                      <a:pt x="75" y="131"/>
                      <a:pt x="73" y="130"/>
                    </a:cubicBezTo>
                    <a:cubicBezTo>
                      <a:pt x="72" y="129"/>
                      <a:pt x="73" y="126"/>
                      <a:pt x="72" y="125"/>
                    </a:cubicBezTo>
                    <a:cubicBezTo>
                      <a:pt x="71" y="124"/>
                      <a:pt x="68" y="124"/>
                      <a:pt x="68" y="123"/>
                    </a:cubicBezTo>
                    <a:cubicBezTo>
                      <a:pt x="67" y="122"/>
                      <a:pt x="70" y="122"/>
                      <a:pt x="70" y="121"/>
                    </a:cubicBezTo>
                    <a:cubicBezTo>
                      <a:pt x="68" y="114"/>
                      <a:pt x="52" y="123"/>
                      <a:pt x="47" y="118"/>
                    </a:cubicBezTo>
                    <a:cubicBezTo>
                      <a:pt x="47" y="118"/>
                      <a:pt x="48" y="117"/>
                      <a:pt x="48" y="117"/>
                    </a:cubicBezTo>
                    <a:cubicBezTo>
                      <a:pt x="45" y="114"/>
                      <a:pt x="48" y="124"/>
                      <a:pt x="47" y="128"/>
                    </a:cubicBezTo>
                    <a:cubicBezTo>
                      <a:pt x="47" y="130"/>
                      <a:pt x="37" y="143"/>
                      <a:pt x="33" y="139"/>
                    </a:cubicBezTo>
                    <a:cubicBezTo>
                      <a:pt x="30" y="137"/>
                      <a:pt x="37" y="134"/>
                      <a:pt x="35" y="131"/>
                    </a:cubicBezTo>
                    <a:cubicBezTo>
                      <a:pt x="34" y="131"/>
                      <a:pt x="33" y="133"/>
                      <a:pt x="31" y="133"/>
                    </a:cubicBezTo>
                    <a:cubicBezTo>
                      <a:pt x="30" y="133"/>
                      <a:pt x="29" y="133"/>
                      <a:pt x="28" y="131"/>
                    </a:cubicBezTo>
                    <a:cubicBezTo>
                      <a:pt x="27" y="130"/>
                      <a:pt x="31" y="127"/>
                      <a:pt x="28" y="125"/>
                    </a:cubicBezTo>
                    <a:cubicBezTo>
                      <a:pt x="26" y="124"/>
                      <a:pt x="25" y="121"/>
                      <a:pt x="22" y="120"/>
                    </a:cubicBezTo>
                    <a:cubicBezTo>
                      <a:pt x="21" y="118"/>
                      <a:pt x="18" y="121"/>
                      <a:pt x="16" y="121"/>
                    </a:cubicBezTo>
                    <a:cubicBezTo>
                      <a:pt x="15" y="120"/>
                      <a:pt x="16" y="117"/>
                      <a:pt x="15" y="116"/>
                    </a:cubicBezTo>
                    <a:cubicBezTo>
                      <a:pt x="12" y="113"/>
                      <a:pt x="13" y="124"/>
                      <a:pt x="4" y="121"/>
                    </a:cubicBezTo>
                    <a:cubicBezTo>
                      <a:pt x="3" y="120"/>
                      <a:pt x="3" y="120"/>
                      <a:pt x="2" y="120"/>
                    </a:cubicBezTo>
                    <a:lnTo>
                      <a:pt x="2" y="121"/>
                    </a:lnTo>
                    <a:close/>
                  </a:path>
                </a:pathLst>
              </a:custGeom>
              <a:solidFill>
                <a:srgbClr val="6785C1">
                  <a:lumMod val="40000"/>
                  <a:lumOff val="60000"/>
                </a:srgbClr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119" name="Czech Rep." descr="{&quot;Key&quot;:&quot;czech rep.&quot;,&quot;Name&quot;:&quot;Czech Rep.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87260650-11FA-0BD6-5A4E-A92CF5B77A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6767" y="4522284"/>
                <a:ext cx="553884" cy="361586"/>
              </a:xfrm>
              <a:custGeom>
                <a:avLst/>
                <a:gdLst>
                  <a:gd name="T0" fmla="*/ 291 w 332"/>
                  <a:gd name="T1" fmla="*/ 156 h 201"/>
                  <a:gd name="T2" fmla="*/ 299 w 332"/>
                  <a:gd name="T3" fmla="*/ 146 h 201"/>
                  <a:gd name="T4" fmla="*/ 332 w 332"/>
                  <a:gd name="T5" fmla="*/ 107 h 201"/>
                  <a:gd name="T6" fmla="*/ 320 w 332"/>
                  <a:gd name="T7" fmla="*/ 94 h 201"/>
                  <a:gd name="T8" fmla="*/ 302 w 332"/>
                  <a:gd name="T9" fmla="*/ 78 h 201"/>
                  <a:gd name="T10" fmla="*/ 289 w 332"/>
                  <a:gd name="T11" fmla="*/ 72 h 201"/>
                  <a:gd name="T12" fmla="*/ 277 w 332"/>
                  <a:gd name="T13" fmla="*/ 77 h 201"/>
                  <a:gd name="T14" fmla="*/ 267 w 332"/>
                  <a:gd name="T15" fmla="*/ 67 h 201"/>
                  <a:gd name="T16" fmla="*/ 270 w 332"/>
                  <a:gd name="T17" fmla="*/ 55 h 201"/>
                  <a:gd name="T18" fmla="*/ 262 w 332"/>
                  <a:gd name="T19" fmla="*/ 59 h 201"/>
                  <a:gd name="T20" fmla="*/ 231 w 332"/>
                  <a:gd name="T21" fmla="*/ 50 h 201"/>
                  <a:gd name="T22" fmla="*/ 229 w 332"/>
                  <a:gd name="T23" fmla="*/ 69 h 201"/>
                  <a:gd name="T24" fmla="*/ 212 w 332"/>
                  <a:gd name="T25" fmla="*/ 62 h 201"/>
                  <a:gd name="T26" fmla="*/ 204 w 332"/>
                  <a:gd name="T27" fmla="*/ 37 h 201"/>
                  <a:gd name="T28" fmla="*/ 187 w 332"/>
                  <a:gd name="T29" fmla="*/ 36 h 201"/>
                  <a:gd name="T30" fmla="*/ 181 w 332"/>
                  <a:gd name="T31" fmla="*/ 37 h 201"/>
                  <a:gd name="T32" fmla="*/ 155 w 332"/>
                  <a:gd name="T33" fmla="*/ 24 h 201"/>
                  <a:gd name="T34" fmla="*/ 134 w 332"/>
                  <a:gd name="T35" fmla="*/ 26 h 201"/>
                  <a:gd name="T36" fmla="*/ 105 w 332"/>
                  <a:gd name="T37" fmla="*/ 18 h 201"/>
                  <a:gd name="T38" fmla="*/ 88 w 332"/>
                  <a:gd name="T39" fmla="*/ 35 h 201"/>
                  <a:gd name="T40" fmla="*/ 73 w 332"/>
                  <a:gd name="T41" fmla="*/ 41 h 201"/>
                  <a:gd name="T42" fmla="*/ 65 w 332"/>
                  <a:gd name="T43" fmla="*/ 47 h 201"/>
                  <a:gd name="T44" fmla="*/ 49 w 332"/>
                  <a:gd name="T45" fmla="*/ 58 h 201"/>
                  <a:gd name="T46" fmla="*/ 37 w 332"/>
                  <a:gd name="T47" fmla="*/ 62 h 201"/>
                  <a:gd name="T48" fmla="*/ 13 w 332"/>
                  <a:gd name="T49" fmla="*/ 77 h 201"/>
                  <a:gd name="T50" fmla="*/ 22 w 332"/>
                  <a:gd name="T51" fmla="*/ 98 h 201"/>
                  <a:gd name="T52" fmla="*/ 20 w 332"/>
                  <a:gd name="T53" fmla="*/ 114 h 201"/>
                  <a:gd name="T54" fmla="*/ 52 w 332"/>
                  <a:gd name="T55" fmla="*/ 147 h 201"/>
                  <a:gd name="T56" fmla="*/ 92 w 332"/>
                  <a:gd name="T57" fmla="*/ 185 h 201"/>
                  <a:gd name="T58" fmla="*/ 121 w 332"/>
                  <a:gd name="T59" fmla="*/ 197 h 201"/>
                  <a:gd name="T60" fmla="*/ 136 w 332"/>
                  <a:gd name="T61" fmla="*/ 196 h 201"/>
                  <a:gd name="T62" fmla="*/ 148 w 332"/>
                  <a:gd name="T63" fmla="*/ 182 h 201"/>
                  <a:gd name="T64" fmla="*/ 156 w 332"/>
                  <a:gd name="T65" fmla="*/ 163 h 201"/>
                  <a:gd name="T66" fmla="*/ 165 w 332"/>
                  <a:gd name="T67" fmla="*/ 164 h 201"/>
                  <a:gd name="T68" fmla="*/ 217 w 332"/>
                  <a:gd name="T69" fmla="*/ 179 h 201"/>
                  <a:gd name="T70" fmla="*/ 237 w 332"/>
                  <a:gd name="T71" fmla="*/ 178 h 201"/>
                  <a:gd name="T72" fmla="*/ 247 w 332"/>
                  <a:gd name="T73" fmla="*/ 183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32" h="201">
                    <a:moveTo>
                      <a:pt x="247" y="183"/>
                    </a:moveTo>
                    <a:cubicBezTo>
                      <a:pt x="255" y="149"/>
                      <a:pt x="274" y="178"/>
                      <a:pt x="291" y="156"/>
                    </a:cubicBezTo>
                    <a:cubicBezTo>
                      <a:pt x="292" y="154"/>
                      <a:pt x="290" y="152"/>
                      <a:pt x="292" y="150"/>
                    </a:cubicBezTo>
                    <a:cubicBezTo>
                      <a:pt x="293" y="148"/>
                      <a:pt x="297" y="149"/>
                      <a:pt x="299" y="146"/>
                    </a:cubicBezTo>
                    <a:cubicBezTo>
                      <a:pt x="299" y="146"/>
                      <a:pt x="303" y="129"/>
                      <a:pt x="303" y="128"/>
                    </a:cubicBezTo>
                    <a:cubicBezTo>
                      <a:pt x="308" y="119"/>
                      <a:pt x="322" y="112"/>
                      <a:pt x="332" y="107"/>
                    </a:cubicBezTo>
                    <a:cubicBezTo>
                      <a:pt x="329" y="105"/>
                      <a:pt x="331" y="100"/>
                      <a:pt x="329" y="97"/>
                    </a:cubicBezTo>
                    <a:cubicBezTo>
                      <a:pt x="327" y="94"/>
                      <a:pt x="322" y="96"/>
                      <a:pt x="320" y="94"/>
                    </a:cubicBezTo>
                    <a:cubicBezTo>
                      <a:pt x="319" y="94"/>
                      <a:pt x="314" y="80"/>
                      <a:pt x="314" y="80"/>
                    </a:cubicBezTo>
                    <a:cubicBezTo>
                      <a:pt x="311" y="77"/>
                      <a:pt x="306" y="79"/>
                      <a:pt x="302" y="78"/>
                    </a:cubicBezTo>
                    <a:cubicBezTo>
                      <a:pt x="299" y="77"/>
                      <a:pt x="293" y="76"/>
                      <a:pt x="291" y="74"/>
                    </a:cubicBezTo>
                    <a:cubicBezTo>
                      <a:pt x="290" y="73"/>
                      <a:pt x="290" y="71"/>
                      <a:pt x="289" y="72"/>
                    </a:cubicBezTo>
                    <a:cubicBezTo>
                      <a:pt x="279" y="76"/>
                      <a:pt x="298" y="77"/>
                      <a:pt x="281" y="79"/>
                    </a:cubicBezTo>
                    <a:cubicBezTo>
                      <a:pt x="280" y="79"/>
                      <a:pt x="279" y="78"/>
                      <a:pt x="277" y="77"/>
                    </a:cubicBezTo>
                    <a:cubicBezTo>
                      <a:pt x="276" y="75"/>
                      <a:pt x="276" y="72"/>
                      <a:pt x="275" y="71"/>
                    </a:cubicBezTo>
                    <a:cubicBezTo>
                      <a:pt x="272" y="69"/>
                      <a:pt x="264" y="68"/>
                      <a:pt x="267" y="67"/>
                    </a:cubicBezTo>
                    <a:cubicBezTo>
                      <a:pt x="274" y="60"/>
                      <a:pt x="279" y="68"/>
                      <a:pt x="272" y="55"/>
                    </a:cubicBezTo>
                    <a:cubicBezTo>
                      <a:pt x="272" y="54"/>
                      <a:pt x="271" y="54"/>
                      <a:pt x="270" y="55"/>
                    </a:cubicBezTo>
                    <a:cubicBezTo>
                      <a:pt x="269" y="56"/>
                      <a:pt x="270" y="58"/>
                      <a:pt x="269" y="59"/>
                    </a:cubicBezTo>
                    <a:cubicBezTo>
                      <a:pt x="267" y="60"/>
                      <a:pt x="264" y="59"/>
                      <a:pt x="262" y="59"/>
                    </a:cubicBezTo>
                    <a:cubicBezTo>
                      <a:pt x="259" y="59"/>
                      <a:pt x="256" y="60"/>
                      <a:pt x="254" y="59"/>
                    </a:cubicBezTo>
                    <a:cubicBezTo>
                      <a:pt x="249" y="58"/>
                      <a:pt x="239" y="49"/>
                      <a:pt x="231" y="50"/>
                    </a:cubicBezTo>
                    <a:cubicBezTo>
                      <a:pt x="228" y="51"/>
                      <a:pt x="240" y="63"/>
                      <a:pt x="239" y="64"/>
                    </a:cubicBezTo>
                    <a:cubicBezTo>
                      <a:pt x="238" y="68"/>
                      <a:pt x="232" y="67"/>
                      <a:pt x="229" y="69"/>
                    </a:cubicBezTo>
                    <a:cubicBezTo>
                      <a:pt x="228" y="71"/>
                      <a:pt x="228" y="75"/>
                      <a:pt x="226" y="76"/>
                    </a:cubicBezTo>
                    <a:cubicBezTo>
                      <a:pt x="217" y="79"/>
                      <a:pt x="214" y="64"/>
                      <a:pt x="212" y="62"/>
                    </a:cubicBezTo>
                    <a:cubicBezTo>
                      <a:pt x="199" y="54"/>
                      <a:pt x="199" y="54"/>
                      <a:pt x="199" y="54"/>
                    </a:cubicBezTo>
                    <a:cubicBezTo>
                      <a:pt x="198" y="47"/>
                      <a:pt x="220" y="44"/>
                      <a:pt x="204" y="37"/>
                    </a:cubicBezTo>
                    <a:cubicBezTo>
                      <a:pt x="202" y="35"/>
                      <a:pt x="189" y="42"/>
                      <a:pt x="189" y="42"/>
                    </a:cubicBezTo>
                    <a:cubicBezTo>
                      <a:pt x="187" y="40"/>
                      <a:pt x="189" y="37"/>
                      <a:pt x="187" y="36"/>
                    </a:cubicBezTo>
                    <a:cubicBezTo>
                      <a:pt x="187" y="34"/>
                      <a:pt x="185" y="36"/>
                      <a:pt x="183" y="36"/>
                    </a:cubicBezTo>
                    <a:cubicBezTo>
                      <a:pt x="183" y="36"/>
                      <a:pt x="182" y="38"/>
                      <a:pt x="181" y="37"/>
                    </a:cubicBezTo>
                    <a:cubicBezTo>
                      <a:pt x="180" y="36"/>
                      <a:pt x="181" y="33"/>
                      <a:pt x="178" y="31"/>
                    </a:cubicBezTo>
                    <a:cubicBezTo>
                      <a:pt x="171" y="27"/>
                      <a:pt x="164" y="32"/>
                      <a:pt x="155" y="24"/>
                    </a:cubicBezTo>
                    <a:cubicBezTo>
                      <a:pt x="148" y="20"/>
                      <a:pt x="157" y="15"/>
                      <a:pt x="147" y="14"/>
                    </a:cubicBezTo>
                    <a:cubicBezTo>
                      <a:pt x="131" y="11"/>
                      <a:pt x="149" y="24"/>
                      <a:pt x="134" y="26"/>
                    </a:cubicBezTo>
                    <a:cubicBezTo>
                      <a:pt x="133" y="28"/>
                      <a:pt x="132" y="30"/>
                      <a:pt x="130" y="30"/>
                    </a:cubicBezTo>
                    <a:cubicBezTo>
                      <a:pt x="123" y="32"/>
                      <a:pt x="111" y="0"/>
                      <a:pt x="105" y="18"/>
                    </a:cubicBezTo>
                    <a:cubicBezTo>
                      <a:pt x="104" y="21"/>
                      <a:pt x="114" y="23"/>
                      <a:pt x="112" y="25"/>
                    </a:cubicBezTo>
                    <a:cubicBezTo>
                      <a:pt x="105" y="30"/>
                      <a:pt x="95" y="31"/>
                      <a:pt x="88" y="35"/>
                    </a:cubicBezTo>
                    <a:cubicBezTo>
                      <a:pt x="87" y="36"/>
                      <a:pt x="88" y="38"/>
                      <a:pt x="87" y="39"/>
                    </a:cubicBezTo>
                    <a:cubicBezTo>
                      <a:pt x="83" y="41"/>
                      <a:pt x="77" y="38"/>
                      <a:pt x="73" y="41"/>
                    </a:cubicBezTo>
                    <a:cubicBezTo>
                      <a:pt x="70" y="43"/>
                      <a:pt x="71" y="47"/>
                      <a:pt x="69" y="50"/>
                    </a:cubicBezTo>
                    <a:cubicBezTo>
                      <a:pt x="67" y="51"/>
                      <a:pt x="66" y="47"/>
                      <a:pt x="65" y="47"/>
                    </a:cubicBezTo>
                    <a:cubicBezTo>
                      <a:pt x="60" y="49"/>
                      <a:pt x="59" y="55"/>
                      <a:pt x="56" y="58"/>
                    </a:cubicBezTo>
                    <a:cubicBezTo>
                      <a:pt x="54" y="59"/>
                      <a:pt x="50" y="57"/>
                      <a:pt x="49" y="58"/>
                    </a:cubicBezTo>
                    <a:cubicBezTo>
                      <a:pt x="47" y="59"/>
                      <a:pt x="49" y="63"/>
                      <a:pt x="47" y="64"/>
                    </a:cubicBezTo>
                    <a:cubicBezTo>
                      <a:pt x="45" y="67"/>
                      <a:pt x="39" y="62"/>
                      <a:pt x="37" y="62"/>
                    </a:cubicBezTo>
                    <a:cubicBezTo>
                      <a:pt x="23" y="64"/>
                      <a:pt x="20" y="75"/>
                      <a:pt x="16" y="84"/>
                    </a:cubicBezTo>
                    <a:cubicBezTo>
                      <a:pt x="15" y="86"/>
                      <a:pt x="15" y="79"/>
                      <a:pt x="13" y="77"/>
                    </a:cubicBezTo>
                    <a:cubicBezTo>
                      <a:pt x="11" y="75"/>
                      <a:pt x="7" y="74"/>
                      <a:pt x="5" y="73"/>
                    </a:cubicBezTo>
                    <a:cubicBezTo>
                      <a:pt x="0" y="72"/>
                      <a:pt x="10" y="90"/>
                      <a:pt x="22" y="98"/>
                    </a:cubicBezTo>
                    <a:cubicBezTo>
                      <a:pt x="23" y="98"/>
                      <a:pt x="27" y="99"/>
                      <a:pt x="27" y="102"/>
                    </a:cubicBezTo>
                    <a:cubicBezTo>
                      <a:pt x="29" y="110"/>
                      <a:pt x="22" y="107"/>
                      <a:pt x="20" y="114"/>
                    </a:cubicBezTo>
                    <a:cubicBezTo>
                      <a:pt x="20" y="115"/>
                      <a:pt x="32" y="136"/>
                      <a:pt x="34" y="138"/>
                    </a:cubicBezTo>
                    <a:cubicBezTo>
                      <a:pt x="44" y="148"/>
                      <a:pt x="46" y="141"/>
                      <a:pt x="52" y="147"/>
                    </a:cubicBezTo>
                    <a:cubicBezTo>
                      <a:pt x="56" y="151"/>
                      <a:pt x="57" y="157"/>
                      <a:pt x="61" y="161"/>
                    </a:cubicBezTo>
                    <a:cubicBezTo>
                      <a:pt x="69" y="166"/>
                      <a:pt x="88" y="174"/>
                      <a:pt x="92" y="185"/>
                    </a:cubicBezTo>
                    <a:cubicBezTo>
                      <a:pt x="93" y="185"/>
                      <a:pt x="93" y="185"/>
                      <a:pt x="93" y="185"/>
                    </a:cubicBezTo>
                    <a:cubicBezTo>
                      <a:pt x="102" y="189"/>
                      <a:pt x="109" y="201"/>
                      <a:pt x="121" y="197"/>
                    </a:cubicBezTo>
                    <a:cubicBezTo>
                      <a:pt x="123" y="196"/>
                      <a:pt x="122" y="192"/>
                      <a:pt x="125" y="192"/>
                    </a:cubicBezTo>
                    <a:cubicBezTo>
                      <a:pt x="129" y="192"/>
                      <a:pt x="133" y="197"/>
                      <a:pt x="136" y="196"/>
                    </a:cubicBezTo>
                    <a:cubicBezTo>
                      <a:pt x="141" y="181"/>
                      <a:pt x="141" y="181"/>
                      <a:pt x="141" y="181"/>
                    </a:cubicBezTo>
                    <a:cubicBezTo>
                      <a:pt x="143" y="179"/>
                      <a:pt x="147" y="183"/>
                      <a:pt x="148" y="182"/>
                    </a:cubicBezTo>
                    <a:cubicBezTo>
                      <a:pt x="150" y="180"/>
                      <a:pt x="148" y="164"/>
                      <a:pt x="149" y="163"/>
                    </a:cubicBezTo>
                    <a:cubicBezTo>
                      <a:pt x="151" y="161"/>
                      <a:pt x="154" y="162"/>
                      <a:pt x="156" y="163"/>
                    </a:cubicBezTo>
                    <a:cubicBezTo>
                      <a:pt x="157" y="164"/>
                      <a:pt x="156" y="167"/>
                      <a:pt x="157" y="167"/>
                    </a:cubicBezTo>
                    <a:cubicBezTo>
                      <a:pt x="160" y="167"/>
                      <a:pt x="163" y="164"/>
                      <a:pt x="165" y="164"/>
                    </a:cubicBezTo>
                    <a:cubicBezTo>
                      <a:pt x="182" y="164"/>
                      <a:pt x="195" y="176"/>
                      <a:pt x="210" y="178"/>
                    </a:cubicBezTo>
                    <a:cubicBezTo>
                      <a:pt x="212" y="178"/>
                      <a:pt x="215" y="179"/>
                      <a:pt x="217" y="179"/>
                    </a:cubicBezTo>
                    <a:cubicBezTo>
                      <a:pt x="221" y="177"/>
                      <a:pt x="222" y="172"/>
                      <a:pt x="225" y="171"/>
                    </a:cubicBezTo>
                    <a:cubicBezTo>
                      <a:pt x="229" y="170"/>
                      <a:pt x="234" y="178"/>
                      <a:pt x="237" y="178"/>
                    </a:cubicBezTo>
                    <a:cubicBezTo>
                      <a:pt x="239" y="178"/>
                      <a:pt x="241" y="175"/>
                      <a:pt x="243" y="176"/>
                    </a:cubicBezTo>
                    <a:cubicBezTo>
                      <a:pt x="246" y="178"/>
                      <a:pt x="247" y="180"/>
                      <a:pt x="247" y="183"/>
                    </a:cubicBezTo>
                    <a:close/>
                  </a:path>
                </a:pathLst>
              </a:custGeom>
              <a:solidFill>
                <a:srgbClr val="405F9E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120" name="Slovakia" descr="{&quot;Key&quot;:&quot;slovakia&quot;,&quot;Name&quot;:&quot;Slovakia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5899BD9F-9153-6EC5-9DED-BB07CA6DCA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45149" y="4689538"/>
                <a:ext cx="460581" cy="273976"/>
              </a:xfrm>
              <a:custGeom>
                <a:avLst/>
                <a:gdLst>
                  <a:gd name="T0" fmla="*/ 275 w 275"/>
                  <a:gd name="T1" fmla="*/ 20 h 152"/>
                  <a:gd name="T2" fmla="*/ 271 w 275"/>
                  <a:gd name="T3" fmla="*/ 39 h 152"/>
                  <a:gd name="T4" fmla="*/ 269 w 275"/>
                  <a:gd name="T5" fmla="*/ 51 h 152"/>
                  <a:gd name="T6" fmla="*/ 262 w 275"/>
                  <a:gd name="T7" fmla="*/ 60 h 152"/>
                  <a:gd name="T8" fmla="*/ 264 w 275"/>
                  <a:gd name="T9" fmla="*/ 72 h 152"/>
                  <a:gd name="T10" fmla="*/ 251 w 275"/>
                  <a:gd name="T11" fmla="*/ 78 h 152"/>
                  <a:gd name="T12" fmla="*/ 244 w 275"/>
                  <a:gd name="T13" fmla="*/ 80 h 152"/>
                  <a:gd name="T14" fmla="*/ 228 w 275"/>
                  <a:gd name="T15" fmla="*/ 65 h 152"/>
                  <a:gd name="T16" fmla="*/ 213 w 275"/>
                  <a:gd name="T17" fmla="*/ 74 h 152"/>
                  <a:gd name="T18" fmla="*/ 183 w 275"/>
                  <a:gd name="T19" fmla="*/ 76 h 152"/>
                  <a:gd name="T20" fmla="*/ 175 w 275"/>
                  <a:gd name="T21" fmla="*/ 99 h 152"/>
                  <a:gd name="T22" fmla="*/ 167 w 275"/>
                  <a:gd name="T23" fmla="*/ 98 h 152"/>
                  <a:gd name="T24" fmla="*/ 157 w 275"/>
                  <a:gd name="T25" fmla="*/ 110 h 152"/>
                  <a:gd name="T26" fmla="*/ 138 w 275"/>
                  <a:gd name="T27" fmla="*/ 106 h 152"/>
                  <a:gd name="T28" fmla="*/ 137 w 275"/>
                  <a:gd name="T29" fmla="*/ 116 h 152"/>
                  <a:gd name="T30" fmla="*/ 105 w 275"/>
                  <a:gd name="T31" fmla="*/ 124 h 152"/>
                  <a:gd name="T32" fmla="*/ 108 w 275"/>
                  <a:gd name="T33" fmla="*/ 140 h 152"/>
                  <a:gd name="T34" fmla="*/ 55 w 275"/>
                  <a:gd name="T35" fmla="*/ 151 h 152"/>
                  <a:gd name="T36" fmla="*/ 26 w 275"/>
                  <a:gd name="T37" fmla="*/ 133 h 152"/>
                  <a:gd name="T38" fmla="*/ 21 w 275"/>
                  <a:gd name="T39" fmla="*/ 134 h 152"/>
                  <a:gd name="T40" fmla="*/ 4 w 275"/>
                  <a:gd name="T41" fmla="*/ 111 h 152"/>
                  <a:gd name="T42" fmla="*/ 8 w 275"/>
                  <a:gd name="T43" fmla="*/ 90 h 152"/>
                  <a:gd name="T44" fmla="*/ 52 w 275"/>
                  <a:gd name="T45" fmla="*/ 63 h 152"/>
                  <a:gd name="T46" fmla="*/ 53 w 275"/>
                  <a:gd name="T47" fmla="*/ 57 h 152"/>
                  <a:gd name="T48" fmla="*/ 60 w 275"/>
                  <a:gd name="T49" fmla="*/ 53 h 152"/>
                  <a:gd name="T50" fmla="*/ 64 w 275"/>
                  <a:gd name="T51" fmla="*/ 35 h 152"/>
                  <a:gd name="T52" fmla="*/ 93 w 275"/>
                  <a:gd name="T53" fmla="*/ 14 h 152"/>
                  <a:gd name="T54" fmla="*/ 99 w 275"/>
                  <a:gd name="T55" fmla="*/ 15 h 152"/>
                  <a:gd name="T56" fmla="*/ 100 w 275"/>
                  <a:gd name="T57" fmla="*/ 22 h 152"/>
                  <a:gd name="T58" fmla="*/ 122 w 275"/>
                  <a:gd name="T59" fmla="*/ 5 h 152"/>
                  <a:gd name="T60" fmla="*/ 128 w 275"/>
                  <a:gd name="T61" fmla="*/ 15 h 152"/>
                  <a:gd name="T62" fmla="*/ 132 w 275"/>
                  <a:gd name="T63" fmla="*/ 14 h 152"/>
                  <a:gd name="T64" fmla="*/ 131 w 275"/>
                  <a:gd name="T65" fmla="*/ 18 h 152"/>
                  <a:gd name="T66" fmla="*/ 139 w 275"/>
                  <a:gd name="T67" fmla="*/ 17 h 152"/>
                  <a:gd name="T68" fmla="*/ 140 w 275"/>
                  <a:gd name="T69" fmla="*/ 31 h 152"/>
                  <a:gd name="T70" fmla="*/ 148 w 275"/>
                  <a:gd name="T71" fmla="*/ 29 h 152"/>
                  <a:gd name="T72" fmla="*/ 154 w 275"/>
                  <a:gd name="T73" fmla="*/ 31 h 152"/>
                  <a:gd name="T74" fmla="*/ 170 w 275"/>
                  <a:gd name="T75" fmla="*/ 12 h 152"/>
                  <a:gd name="T76" fmla="*/ 176 w 275"/>
                  <a:gd name="T77" fmla="*/ 13 h 152"/>
                  <a:gd name="T78" fmla="*/ 182 w 275"/>
                  <a:gd name="T79" fmla="*/ 10 h 152"/>
                  <a:gd name="T80" fmla="*/ 194 w 275"/>
                  <a:gd name="T81" fmla="*/ 17 h 152"/>
                  <a:gd name="T82" fmla="*/ 202 w 275"/>
                  <a:gd name="T83" fmla="*/ 10 h 152"/>
                  <a:gd name="T84" fmla="*/ 199 w 275"/>
                  <a:gd name="T85" fmla="*/ 8 h 152"/>
                  <a:gd name="T86" fmla="*/ 206 w 275"/>
                  <a:gd name="T87" fmla="*/ 7 h 152"/>
                  <a:gd name="T88" fmla="*/ 210 w 275"/>
                  <a:gd name="T89" fmla="*/ 3 h 152"/>
                  <a:gd name="T90" fmla="*/ 245 w 275"/>
                  <a:gd name="T91" fmla="*/ 7 h 152"/>
                  <a:gd name="T92" fmla="*/ 248 w 275"/>
                  <a:gd name="T93" fmla="*/ 14 h 152"/>
                  <a:gd name="T94" fmla="*/ 260 w 275"/>
                  <a:gd name="T95" fmla="*/ 17 h 152"/>
                  <a:gd name="T96" fmla="*/ 275 w 275"/>
                  <a:gd name="T97" fmla="*/ 20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75" h="152">
                    <a:moveTo>
                      <a:pt x="275" y="20"/>
                    </a:moveTo>
                    <a:cubicBezTo>
                      <a:pt x="275" y="26"/>
                      <a:pt x="271" y="34"/>
                      <a:pt x="271" y="39"/>
                    </a:cubicBezTo>
                    <a:cubicBezTo>
                      <a:pt x="270" y="43"/>
                      <a:pt x="271" y="47"/>
                      <a:pt x="269" y="51"/>
                    </a:cubicBezTo>
                    <a:cubicBezTo>
                      <a:pt x="268" y="55"/>
                      <a:pt x="262" y="56"/>
                      <a:pt x="262" y="60"/>
                    </a:cubicBezTo>
                    <a:cubicBezTo>
                      <a:pt x="261" y="64"/>
                      <a:pt x="264" y="68"/>
                      <a:pt x="264" y="72"/>
                    </a:cubicBezTo>
                    <a:cubicBezTo>
                      <a:pt x="264" y="77"/>
                      <a:pt x="255" y="77"/>
                      <a:pt x="251" y="78"/>
                    </a:cubicBezTo>
                    <a:cubicBezTo>
                      <a:pt x="248" y="78"/>
                      <a:pt x="246" y="81"/>
                      <a:pt x="244" y="80"/>
                    </a:cubicBezTo>
                    <a:cubicBezTo>
                      <a:pt x="234" y="77"/>
                      <a:pt x="242" y="66"/>
                      <a:pt x="228" y="65"/>
                    </a:cubicBezTo>
                    <a:cubicBezTo>
                      <a:pt x="222" y="65"/>
                      <a:pt x="219" y="73"/>
                      <a:pt x="213" y="74"/>
                    </a:cubicBezTo>
                    <a:cubicBezTo>
                      <a:pt x="204" y="76"/>
                      <a:pt x="191" y="65"/>
                      <a:pt x="183" y="76"/>
                    </a:cubicBezTo>
                    <a:cubicBezTo>
                      <a:pt x="179" y="81"/>
                      <a:pt x="182" y="96"/>
                      <a:pt x="175" y="99"/>
                    </a:cubicBezTo>
                    <a:cubicBezTo>
                      <a:pt x="173" y="99"/>
                      <a:pt x="170" y="97"/>
                      <a:pt x="167" y="98"/>
                    </a:cubicBezTo>
                    <a:cubicBezTo>
                      <a:pt x="158" y="104"/>
                      <a:pt x="171" y="108"/>
                      <a:pt x="157" y="110"/>
                    </a:cubicBezTo>
                    <a:cubicBezTo>
                      <a:pt x="153" y="111"/>
                      <a:pt x="142" y="98"/>
                      <a:pt x="138" y="106"/>
                    </a:cubicBezTo>
                    <a:cubicBezTo>
                      <a:pt x="136" y="109"/>
                      <a:pt x="139" y="114"/>
                      <a:pt x="137" y="116"/>
                    </a:cubicBezTo>
                    <a:cubicBezTo>
                      <a:pt x="131" y="122"/>
                      <a:pt x="113" y="119"/>
                      <a:pt x="105" y="124"/>
                    </a:cubicBezTo>
                    <a:cubicBezTo>
                      <a:pt x="98" y="129"/>
                      <a:pt x="106" y="137"/>
                      <a:pt x="108" y="140"/>
                    </a:cubicBezTo>
                    <a:cubicBezTo>
                      <a:pt x="110" y="144"/>
                      <a:pt x="62" y="152"/>
                      <a:pt x="55" y="151"/>
                    </a:cubicBezTo>
                    <a:cubicBezTo>
                      <a:pt x="45" y="149"/>
                      <a:pt x="37" y="134"/>
                      <a:pt x="26" y="133"/>
                    </a:cubicBezTo>
                    <a:cubicBezTo>
                      <a:pt x="24" y="133"/>
                      <a:pt x="23" y="133"/>
                      <a:pt x="21" y="134"/>
                    </a:cubicBezTo>
                    <a:cubicBezTo>
                      <a:pt x="15" y="126"/>
                      <a:pt x="9" y="119"/>
                      <a:pt x="4" y="111"/>
                    </a:cubicBezTo>
                    <a:cubicBezTo>
                      <a:pt x="0" y="105"/>
                      <a:pt x="9" y="97"/>
                      <a:pt x="8" y="90"/>
                    </a:cubicBezTo>
                    <a:cubicBezTo>
                      <a:pt x="16" y="56"/>
                      <a:pt x="35" y="84"/>
                      <a:pt x="52" y="63"/>
                    </a:cubicBezTo>
                    <a:cubicBezTo>
                      <a:pt x="53" y="61"/>
                      <a:pt x="51" y="59"/>
                      <a:pt x="53" y="57"/>
                    </a:cubicBezTo>
                    <a:cubicBezTo>
                      <a:pt x="54" y="55"/>
                      <a:pt x="58" y="56"/>
                      <a:pt x="60" y="53"/>
                    </a:cubicBezTo>
                    <a:cubicBezTo>
                      <a:pt x="60" y="53"/>
                      <a:pt x="64" y="36"/>
                      <a:pt x="64" y="35"/>
                    </a:cubicBezTo>
                    <a:cubicBezTo>
                      <a:pt x="69" y="26"/>
                      <a:pt x="83" y="19"/>
                      <a:pt x="93" y="14"/>
                    </a:cubicBezTo>
                    <a:cubicBezTo>
                      <a:pt x="94" y="16"/>
                      <a:pt x="98" y="13"/>
                      <a:pt x="99" y="15"/>
                    </a:cubicBezTo>
                    <a:cubicBezTo>
                      <a:pt x="101" y="17"/>
                      <a:pt x="98" y="21"/>
                      <a:pt x="100" y="22"/>
                    </a:cubicBezTo>
                    <a:cubicBezTo>
                      <a:pt x="109" y="30"/>
                      <a:pt x="116" y="1"/>
                      <a:pt x="122" y="5"/>
                    </a:cubicBezTo>
                    <a:cubicBezTo>
                      <a:pt x="126" y="7"/>
                      <a:pt x="126" y="12"/>
                      <a:pt x="128" y="15"/>
                    </a:cubicBezTo>
                    <a:cubicBezTo>
                      <a:pt x="129" y="16"/>
                      <a:pt x="131" y="14"/>
                      <a:pt x="132" y="14"/>
                    </a:cubicBezTo>
                    <a:cubicBezTo>
                      <a:pt x="132" y="16"/>
                      <a:pt x="130" y="18"/>
                      <a:pt x="131" y="18"/>
                    </a:cubicBezTo>
                    <a:cubicBezTo>
                      <a:pt x="134" y="19"/>
                      <a:pt x="137" y="16"/>
                      <a:pt x="139" y="17"/>
                    </a:cubicBezTo>
                    <a:cubicBezTo>
                      <a:pt x="143" y="19"/>
                      <a:pt x="140" y="30"/>
                      <a:pt x="140" y="31"/>
                    </a:cubicBezTo>
                    <a:cubicBezTo>
                      <a:pt x="140" y="34"/>
                      <a:pt x="145" y="29"/>
                      <a:pt x="148" y="29"/>
                    </a:cubicBezTo>
                    <a:cubicBezTo>
                      <a:pt x="150" y="28"/>
                      <a:pt x="152" y="33"/>
                      <a:pt x="154" y="31"/>
                    </a:cubicBezTo>
                    <a:cubicBezTo>
                      <a:pt x="155" y="31"/>
                      <a:pt x="162" y="13"/>
                      <a:pt x="170" y="12"/>
                    </a:cubicBezTo>
                    <a:cubicBezTo>
                      <a:pt x="172" y="11"/>
                      <a:pt x="174" y="13"/>
                      <a:pt x="176" y="13"/>
                    </a:cubicBezTo>
                    <a:cubicBezTo>
                      <a:pt x="179" y="13"/>
                      <a:pt x="180" y="9"/>
                      <a:pt x="182" y="10"/>
                    </a:cubicBezTo>
                    <a:cubicBezTo>
                      <a:pt x="187" y="10"/>
                      <a:pt x="189" y="17"/>
                      <a:pt x="194" y="17"/>
                    </a:cubicBezTo>
                    <a:cubicBezTo>
                      <a:pt x="197" y="17"/>
                      <a:pt x="200" y="13"/>
                      <a:pt x="202" y="10"/>
                    </a:cubicBezTo>
                    <a:cubicBezTo>
                      <a:pt x="202" y="9"/>
                      <a:pt x="199" y="9"/>
                      <a:pt x="199" y="8"/>
                    </a:cubicBezTo>
                    <a:cubicBezTo>
                      <a:pt x="201" y="0"/>
                      <a:pt x="204" y="8"/>
                      <a:pt x="206" y="7"/>
                    </a:cubicBezTo>
                    <a:cubicBezTo>
                      <a:pt x="208" y="7"/>
                      <a:pt x="208" y="3"/>
                      <a:pt x="210" y="3"/>
                    </a:cubicBezTo>
                    <a:cubicBezTo>
                      <a:pt x="218" y="1"/>
                      <a:pt x="238" y="1"/>
                      <a:pt x="245" y="7"/>
                    </a:cubicBezTo>
                    <a:cubicBezTo>
                      <a:pt x="247" y="9"/>
                      <a:pt x="246" y="13"/>
                      <a:pt x="248" y="14"/>
                    </a:cubicBezTo>
                    <a:cubicBezTo>
                      <a:pt x="252" y="16"/>
                      <a:pt x="256" y="16"/>
                      <a:pt x="260" y="17"/>
                    </a:cubicBezTo>
                    <a:cubicBezTo>
                      <a:pt x="265" y="19"/>
                      <a:pt x="270" y="20"/>
                      <a:pt x="275" y="20"/>
                    </a:cubicBez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121" name="Hungary" descr="{&quot;Key&quot;:&quot;hungary&quot;,&quot;Name&quot;:&quot;Hungary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DE0B51D9-B76B-1859-6529-15633D6849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6644" y="4805819"/>
                <a:ext cx="553884" cy="417337"/>
              </a:xfrm>
              <a:custGeom>
                <a:avLst/>
                <a:gdLst>
                  <a:gd name="T0" fmla="*/ 27 w 331"/>
                  <a:gd name="T1" fmla="*/ 186 h 232"/>
                  <a:gd name="T2" fmla="*/ 77 w 331"/>
                  <a:gd name="T3" fmla="*/ 222 h 232"/>
                  <a:gd name="T4" fmla="*/ 94 w 331"/>
                  <a:gd name="T5" fmla="*/ 229 h 232"/>
                  <a:gd name="T6" fmla="*/ 139 w 331"/>
                  <a:gd name="T7" fmla="*/ 216 h 232"/>
                  <a:gd name="T8" fmla="*/ 161 w 331"/>
                  <a:gd name="T9" fmla="*/ 207 h 232"/>
                  <a:gd name="T10" fmla="*/ 182 w 331"/>
                  <a:gd name="T11" fmla="*/ 192 h 232"/>
                  <a:gd name="T12" fmla="*/ 210 w 331"/>
                  <a:gd name="T13" fmla="*/ 188 h 232"/>
                  <a:gd name="T14" fmla="*/ 221 w 331"/>
                  <a:gd name="T15" fmla="*/ 188 h 232"/>
                  <a:gd name="T16" fmla="*/ 245 w 331"/>
                  <a:gd name="T17" fmla="*/ 174 h 232"/>
                  <a:gd name="T18" fmla="*/ 257 w 331"/>
                  <a:gd name="T19" fmla="*/ 176 h 232"/>
                  <a:gd name="T20" fmla="*/ 272 w 331"/>
                  <a:gd name="T21" fmla="*/ 142 h 232"/>
                  <a:gd name="T22" fmla="*/ 281 w 331"/>
                  <a:gd name="T23" fmla="*/ 115 h 232"/>
                  <a:gd name="T24" fmla="*/ 288 w 331"/>
                  <a:gd name="T25" fmla="*/ 87 h 232"/>
                  <a:gd name="T26" fmla="*/ 303 w 331"/>
                  <a:gd name="T27" fmla="*/ 55 h 232"/>
                  <a:gd name="T28" fmla="*/ 329 w 331"/>
                  <a:gd name="T29" fmla="*/ 35 h 232"/>
                  <a:gd name="T30" fmla="*/ 319 w 331"/>
                  <a:gd name="T31" fmla="*/ 24 h 232"/>
                  <a:gd name="T32" fmla="*/ 306 w 331"/>
                  <a:gd name="T33" fmla="*/ 16 h 232"/>
                  <a:gd name="T34" fmla="*/ 300 w 331"/>
                  <a:gd name="T35" fmla="*/ 17 h 232"/>
                  <a:gd name="T36" fmla="*/ 274 w 331"/>
                  <a:gd name="T37" fmla="*/ 13 h 232"/>
                  <a:gd name="T38" fmla="*/ 251 w 331"/>
                  <a:gd name="T39" fmla="*/ 0 h 232"/>
                  <a:gd name="T40" fmla="*/ 225 w 331"/>
                  <a:gd name="T41" fmla="*/ 8 h 232"/>
                  <a:gd name="T42" fmla="*/ 198 w 331"/>
                  <a:gd name="T43" fmla="*/ 34 h 232"/>
                  <a:gd name="T44" fmla="*/ 190 w 331"/>
                  <a:gd name="T45" fmla="*/ 33 h 232"/>
                  <a:gd name="T46" fmla="*/ 173 w 331"/>
                  <a:gd name="T47" fmla="*/ 42 h 232"/>
                  <a:gd name="T48" fmla="*/ 160 w 331"/>
                  <a:gd name="T49" fmla="*/ 51 h 232"/>
                  <a:gd name="T50" fmla="*/ 131 w 331"/>
                  <a:gd name="T51" fmla="*/ 75 h 232"/>
                  <a:gd name="T52" fmla="*/ 49 w 331"/>
                  <a:gd name="T53" fmla="*/ 68 h 232"/>
                  <a:gd name="T54" fmla="*/ 44 w 331"/>
                  <a:gd name="T55" fmla="*/ 93 h 232"/>
                  <a:gd name="T56" fmla="*/ 12 w 331"/>
                  <a:gd name="T57" fmla="*/ 97 h 232"/>
                  <a:gd name="T58" fmla="*/ 14 w 331"/>
                  <a:gd name="T59" fmla="*/ 119 h 232"/>
                  <a:gd name="T60" fmla="*/ 0 w 331"/>
                  <a:gd name="T61" fmla="*/ 160 h 232"/>
                  <a:gd name="T62" fmla="*/ 3 w 331"/>
                  <a:gd name="T63" fmla="*/ 159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31" h="232">
                    <a:moveTo>
                      <a:pt x="9" y="159"/>
                    </a:moveTo>
                    <a:cubicBezTo>
                      <a:pt x="11" y="159"/>
                      <a:pt x="16" y="176"/>
                      <a:pt x="27" y="186"/>
                    </a:cubicBezTo>
                    <a:cubicBezTo>
                      <a:pt x="43" y="198"/>
                      <a:pt x="56" y="205"/>
                      <a:pt x="68" y="220"/>
                    </a:cubicBezTo>
                    <a:cubicBezTo>
                      <a:pt x="69" y="222"/>
                      <a:pt x="74" y="222"/>
                      <a:pt x="77" y="222"/>
                    </a:cubicBezTo>
                    <a:cubicBezTo>
                      <a:pt x="80" y="221"/>
                      <a:pt x="81" y="221"/>
                      <a:pt x="82" y="222"/>
                    </a:cubicBezTo>
                    <a:cubicBezTo>
                      <a:pt x="86" y="223"/>
                      <a:pt x="90" y="227"/>
                      <a:pt x="94" y="229"/>
                    </a:cubicBezTo>
                    <a:cubicBezTo>
                      <a:pt x="102" y="232"/>
                      <a:pt x="126" y="232"/>
                      <a:pt x="134" y="226"/>
                    </a:cubicBezTo>
                    <a:cubicBezTo>
                      <a:pt x="135" y="224"/>
                      <a:pt x="135" y="216"/>
                      <a:pt x="139" y="216"/>
                    </a:cubicBezTo>
                    <a:cubicBezTo>
                      <a:pt x="150" y="215"/>
                      <a:pt x="149" y="217"/>
                      <a:pt x="158" y="206"/>
                    </a:cubicBezTo>
                    <a:cubicBezTo>
                      <a:pt x="159" y="206"/>
                      <a:pt x="160" y="206"/>
                      <a:pt x="161" y="207"/>
                    </a:cubicBezTo>
                    <a:cubicBezTo>
                      <a:pt x="162" y="208"/>
                      <a:pt x="164" y="209"/>
                      <a:pt x="167" y="206"/>
                    </a:cubicBezTo>
                    <a:cubicBezTo>
                      <a:pt x="172" y="202"/>
                      <a:pt x="176" y="196"/>
                      <a:pt x="182" y="192"/>
                    </a:cubicBezTo>
                    <a:cubicBezTo>
                      <a:pt x="195" y="184"/>
                      <a:pt x="184" y="192"/>
                      <a:pt x="194" y="193"/>
                    </a:cubicBezTo>
                    <a:cubicBezTo>
                      <a:pt x="194" y="193"/>
                      <a:pt x="209" y="188"/>
                      <a:pt x="210" y="188"/>
                    </a:cubicBezTo>
                    <a:cubicBezTo>
                      <a:pt x="212" y="188"/>
                      <a:pt x="215" y="191"/>
                      <a:pt x="218" y="191"/>
                    </a:cubicBezTo>
                    <a:cubicBezTo>
                      <a:pt x="219" y="190"/>
                      <a:pt x="220" y="188"/>
                      <a:pt x="221" y="188"/>
                    </a:cubicBezTo>
                    <a:cubicBezTo>
                      <a:pt x="224" y="187"/>
                      <a:pt x="241" y="185"/>
                      <a:pt x="242" y="181"/>
                    </a:cubicBezTo>
                    <a:cubicBezTo>
                      <a:pt x="244" y="179"/>
                      <a:pt x="235" y="176"/>
                      <a:pt x="245" y="174"/>
                    </a:cubicBezTo>
                    <a:cubicBezTo>
                      <a:pt x="247" y="174"/>
                      <a:pt x="249" y="175"/>
                      <a:pt x="251" y="175"/>
                    </a:cubicBezTo>
                    <a:cubicBezTo>
                      <a:pt x="253" y="176"/>
                      <a:pt x="255" y="177"/>
                      <a:pt x="257" y="176"/>
                    </a:cubicBezTo>
                    <a:cubicBezTo>
                      <a:pt x="267" y="172"/>
                      <a:pt x="264" y="152"/>
                      <a:pt x="267" y="146"/>
                    </a:cubicBezTo>
                    <a:cubicBezTo>
                      <a:pt x="268" y="144"/>
                      <a:pt x="271" y="144"/>
                      <a:pt x="272" y="142"/>
                    </a:cubicBezTo>
                    <a:cubicBezTo>
                      <a:pt x="278" y="123"/>
                      <a:pt x="278" y="123"/>
                      <a:pt x="278" y="123"/>
                    </a:cubicBezTo>
                    <a:cubicBezTo>
                      <a:pt x="279" y="120"/>
                      <a:pt x="281" y="117"/>
                      <a:pt x="281" y="115"/>
                    </a:cubicBezTo>
                    <a:cubicBezTo>
                      <a:pt x="281" y="114"/>
                      <a:pt x="278" y="114"/>
                      <a:pt x="278" y="112"/>
                    </a:cubicBezTo>
                    <a:cubicBezTo>
                      <a:pt x="279" y="107"/>
                      <a:pt x="285" y="91"/>
                      <a:pt x="288" y="87"/>
                    </a:cubicBezTo>
                    <a:cubicBezTo>
                      <a:pt x="289" y="86"/>
                      <a:pt x="292" y="87"/>
                      <a:pt x="292" y="85"/>
                    </a:cubicBezTo>
                    <a:cubicBezTo>
                      <a:pt x="294" y="74"/>
                      <a:pt x="291" y="67"/>
                      <a:pt x="303" y="55"/>
                    </a:cubicBezTo>
                    <a:cubicBezTo>
                      <a:pt x="307" y="50"/>
                      <a:pt x="311" y="53"/>
                      <a:pt x="318" y="51"/>
                    </a:cubicBezTo>
                    <a:cubicBezTo>
                      <a:pt x="324" y="48"/>
                      <a:pt x="324" y="39"/>
                      <a:pt x="329" y="35"/>
                    </a:cubicBezTo>
                    <a:cubicBezTo>
                      <a:pt x="322" y="29"/>
                      <a:pt x="331" y="30"/>
                      <a:pt x="324" y="25"/>
                    </a:cubicBezTo>
                    <a:cubicBezTo>
                      <a:pt x="323" y="25"/>
                      <a:pt x="321" y="24"/>
                      <a:pt x="319" y="24"/>
                    </a:cubicBezTo>
                    <a:cubicBezTo>
                      <a:pt x="317" y="24"/>
                      <a:pt x="315" y="27"/>
                      <a:pt x="313" y="26"/>
                    </a:cubicBezTo>
                    <a:cubicBezTo>
                      <a:pt x="310" y="24"/>
                      <a:pt x="309" y="18"/>
                      <a:pt x="306" y="16"/>
                    </a:cubicBezTo>
                    <a:cubicBezTo>
                      <a:pt x="305" y="16"/>
                      <a:pt x="304" y="16"/>
                      <a:pt x="303" y="17"/>
                    </a:cubicBezTo>
                    <a:cubicBezTo>
                      <a:pt x="302" y="17"/>
                      <a:pt x="301" y="18"/>
                      <a:pt x="300" y="17"/>
                    </a:cubicBezTo>
                    <a:cubicBezTo>
                      <a:pt x="291" y="14"/>
                      <a:pt x="300" y="8"/>
                      <a:pt x="287" y="7"/>
                    </a:cubicBezTo>
                    <a:cubicBezTo>
                      <a:pt x="287" y="12"/>
                      <a:pt x="278" y="12"/>
                      <a:pt x="274" y="13"/>
                    </a:cubicBezTo>
                    <a:cubicBezTo>
                      <a:pt x="271" y="13"/>
                      <a:pt x="269" y="16"/>
                      <a:pt x="267" y="15"/>
                    </a:cubicBezTo>
                    <a:cubicBezTo>
                      <a:pt x="257" y="12"/>
                      <a:pt x="265" y="1"/>
                      <a:pt x="251" y="0"/>
                    </a:cubicBezTo>
                    <a:cubicBezTo>
                      <a:pt x="245" y="0"/>
                      <a:pt x="242" y="8"/>
                      <a:pt x="236" y="9"/>
                    </a:cubicBezTo>
                    <a:cubicBezTo>
                      <a:pt x="233" y="9"/>
                      <a:pt x="229" y="9"/>
                      <a:pt x="225" y="8"/>
                    </a:cubicBezTo>
                    <a:cubicBezTo>
                      <a:pt x="218" y="6"/>
                      <a:pt x="211" y="4"/>
                      <a:pt x="206" y="11"/>
                    </a:cubicBezTo>
                    <a:cubicBezTo>
                      <a:pt x="202" y="16"/>
                      <a:pt x="205" y="31"/>
                      <a:pt x="198" y="34"/>
                    </a:cubicBezTo>
                    <a:cubicBezTo>
                      <a:pt x="197" y="34"/>
                      <a:pt x="196" y="34"/>
                      <a:pt x="195" y="33"/>
                    </a:cubicBezTo>
                    <a:cubicBezTo>
                      <a:pt x="193" y="33"/>
                      <a:pt x="192" y="33"/>
                      <a:pt x="190" y="33"/>
                    </a:cubicBezTo>
                    <a:cubicBezTo>
                      <a:pt x="181" y="39"/>
                      <a:pt x="194" y="43"/>
                      <a:pt x="180" y="45"/>
                    </a:cubicBezTo>
                    <a:cubicBezTo>
                      <a:pt x="178" y="45"/>
                      <a:pt x="176" y="44"/>
                      <a:pt x="173" y="42"/>
                    </a:cubicBezTo>
                    <a:cubicBezTo>
                      <a:pt x="169" y="39"/>
                      <a:pt x="164" y="36"/>
                      <a:pt x="161" y="41"/>
                    </a:cubicBezTo>
                    <a:cubicBezTo>
                      <a:pt x="159" y="44"/>
                      <a:pt x="162" y="49"/>
                      <a:pt x="160" y="51"/>
                    </a:cubicBezTo>
                    <a:cubicBezTo>
                      <a:pt x="154" y="58"/>
                      <a:pt x="136" y="54"/>
                      <a:pt x="128" y="59"/>
                    </a:cubicBezTo>
                    <a:cubicBezTo>
                      <a:pt x="121" y="64"/>
                      <a:pt x="129" y="72"/>
                      <a:pt x="131" y="75"/>
                    </a:cubicBezTo>
                    <a:cubicBezTo>
                      <a:pt x="133" y="79"/>
                      <a:pt x="85" y="87"/>
                      <a:pt x="78" y="86"/>
                    </a:cubicBezTo>
                    <a:cubicBezTo>
                      <a:pt x="68" y="84"/>
                      <a:pt x="60" y="69"/>
                      <a:pt x="49" y="68"/>
                    </a:cubicBezTo>
                    <a:cubicBezTo>
                      <a:pt x="47" y="68"/>
                      <a:pt x="46" y="68"/>
                      <a:pt x="44" y="69"/>
                    </a:cubicBezTo>
                    <a:cubicBezTo>
                      <a:pt x="36" y="72"/>
                      <a:pt x="44" y="90"/>
                      <a:pt x="44" y="93"/>
                    </a:cubicBezTo>
                    <a:cubicBezTo>
                      <a:pt x="42" y="96"/>
                      <a:pt x="36" y="95"/>
                      <a:pt x="30" y="94"/>
                    </a:cubicBezTo>
                    <a:cubicBezTo>
                      <a:pt x="23" y="94"/>
                      <a:pt x="16" y="93"/>
                      <a:pt x="12" y="97"/>
                    </a:cubicBezTo>
                    <a:cubicBezTo>
                      <a:pt x="9" y="99"/>
                      <a:pt x="26" y="98"/>
                      <a:pt x="26" y="108"/>
                    </a:cubicBezTo>
                    <a:cubicBezTo>
                      <a:pt x="27" y="119"/>
                      <a:pt x="18" y="111"/>
                      <a:pt x="14" y="119"/>
                    </a:cubicBezTo>
                    <a:cubicBezTo>
                      <a:pt x="11" y="124"/>
                      <a:pt x="21" y="136"/>
                      <a:pt x="20" y="138"/>
                    </a:cubicBezTo>
                    <a:cubicBezTo>
                      <a:pt x="15" y="147"/>
                      <a:pt x="10" y="149"/>
                      <a:pt x="0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1" y="160"/>
                      <a:pt x="1" y="159"/>
                      <a:pt x="3" y="159"/>
                    </a:cubicBezTo>
                    <a:cubicBezTo>
                      <a:pt x="9" y="159"/>
                      <a:pt x="9" y="159"/>
                      <a:pt x="9" y="159"/>
                    </a:cubicBezTo>
                  </a:path>
                </a:pathLst>
              </a:custGeom>
              <a:solidFill>
                <a:srgbClr val="6785C1">
                  <a:lumMod val="40000"/>
                  <a:lumOff val="60000"/>
                </a:srgbClr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122" name="Lithuania" descr="{&quot;Key&quot;:&quot;lithuania&quot;,&quot;Name&quot;:&quot;Lithuania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63508E3C-12DF-66F2-F348-B160464A7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48042" y="3714692"/>
                <a:ext cx="420596" cy="359993"/>
              </a:xfrm>
              <a:custGeom>
                <a:avLst/>
                <a:gdLst>
                  <a:gd name="T0" fmla="*/ 98 w 252"/>
                  <a:gd name="T1" fmla="*/ 167 h 200"/>
                  <a:gd name="T2" fmla="*/ 128 w 252"/>
                  <a:gd name="T3" fmla="*/ 183 h 200"/>
                  <a:gd name="T4" fmla="*/ 160 w 252"/>
                  <a:gd name="T5" fmla="*/ 189 h 200"/>
                  <a:gd name="T6" fmla="*/ 179 w 252"/>
                  <a:gd name="T7" fmla="*/ 183 h 200"/>
                  <a:gd name="T8" fmla="*/ 185 w 252"/>
                  <a:gd name="T9" fmla="*/ 172 h 200"/>
                  <a:gd name="T10" fmla="*/ 200 w 252"/>
                  <a:gd name="T11" fmla="*/ 158 h 200"/>
                  <a:gd name="T12" fmla="*/ 214 w 252"/>
                  <a:gd name="T13" fmla="*/ 161 h 200"/>
                  <a:gd name="T14" fmla="*/ 213 w 252"/>
                  <a:gd name="T15" fmla="*/ 148 h 200"/>
                  <a:gd name="T16" fmla="*/ 213 w 252"/>
                  <a:gd name="T17" fmla="*/ 114 h 200"/>
                  <a:gd name="T18" fmla="*/ 228 w 252"/>
                  <a:gd name="T19" fmla="*/ 96 h 200"/>
                  <a:gd name="T20" fmla="*/ 245 w 252"/>
                  <a:gd name="T21" fmla="*/ 81 h 200"/>
                  <a:gd name="T22" fmla="*/ 250 w 252"/>
                  <a:gd name="T23" fmla="*/ 69 h 200"/>
                  <a:gd name="T24" fmla="*/ 235 w 252"/>
                  <a:gd name="T25" fmla="*/ 42 h 200"/>
                  <a:gd name="T26" fmla="*/ 230 w 252"/>
                  <a:gd name="T27" fmla="*/ 42 h 200"/>
                  <a:gd name="T28" fmla="*/ 167 w 252"/>
                  <a:gd name="T29" fmla="*/ 18 h 200"/>
                  <a:gd name="T30" fmla="*/ 141 w 252"/>
                  <a:gd name="T31" fmla="*/ 16 h 200"/>
                  <a:gd name="T32" fmla="*/ 125 w 252"/>
                  <a:gd name="T33" fmla="*/ 21 h 200"/>
                  <a:gd name="T34" fmla="*/ 98 w 252"/>
                  <a:gd name="T35" fmla="*/ 21 h 200"/>
                  <a:gd name="T36" fmla="*/ 82 w 252"/>
                  <a:gd name="T37" fmla="*/ 27 h 200"/>
                  <a:gd name="T38" fmla="*/ 67 w 252"/>
                  <a:gd name="T39" fmla="*/ 25 h 200"/>
                  <a:gd name="T40" fmla="*/ 12 w 252"/>
                  <a:gd name="T41" fmla="*/ 45 h 200"/>
                  <a:gd name="T42" fmla="*/ 2 w 252"/>
                  <a:gd name="T43" fmla="*/ 58 h 200"/>
                  <a:gd name="T44" fmla="*/ 6 w 252"/>
                  <a:gd name="T45" fmla="*/ 80 h 200"/>
                  <a:gd name="T46" fmla="*/ 11 w 252"/>
                  <a:gd name="T47" fmla="*/ 89 h 200"/>
                  <a:gd name="T48" fmla="*/ 16 w 252"/>
                  <a:gd name="T49" fmla="*/ 112 h 200"/>
                  <a:gd name="T50" fmla="*/ 21 w 252"/>
                  <a:gd name="T51" fmla="*/ 115 h 200"/>
                  <a:gd name="T52" fmla="*/ 25 w 252"/>
                  <a:gd name="T53" fmla="*/ 114 h 200"/>
                  <a:gd name="T54" fmla="*/ 54 w 252"/>
                  <a:gd name="T55" fmla="*/ 124 h 200"/>
                  <a:gd name="T56" fmla="*/ 79 w 252"/>
                  <a:gd name="T57" fmla="*/ 121 h 200"/>
                  <a:gd name="T58" fmla="*/ 85 w 252"/>
                  <a:gd name="T59" fmla="*/ 128 h 200"/>
                  <a:gd name="T60" fmla="*/ 96 w 252"/>
                  <a:gd name="T61" fmla="*/ 171 h 200"/>
                  <a:gd name="T62" fmla="*/ 7 w 252"/>
                  <a:gd name="T63" fmla="*/ 84 h 200"/>
                  <a:gd name="T64" fmla="*/ 7 w 252"/>
                  <a:gd name="T65" fmla="*/ 116 h 200"/>
                  <a:gd name="T66" fmla="*/ 11 w 252"/>
                  <a:gd name="T67" fmla="*/ 105 h 200"/>
                  <a:gd name="T68" fmla="*/ 8 w 252"/>
                  <a:gd name="T69" fmla="*/ 83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52" h="200">
                    <a:moveTo>
                      <a:pt x="96" y="171"/>
                    </a:moveTo>
                    <a:cubicBezTo>
                      <a:pt x="97" y="170"/>
                      <a:pt x="97" y="167"/>
                      <a:pt x="98" y="167"/>
                    </a:cubicBezTo>
                    <a:cubicBezTo>
                      <a:pt x="107" y="164"/>
                      <a:pt x="103" y="171"/>
                      <a:pt x="109" y="174"/>
                    </a:cubicBezTo>
                    <a:cubicBezTo>
                      <a:pt x="124" y="180"/>
                      <a:pt x="118" y="168"/>
                      <a:pt x="128" y="183"/>
                    </a:cubicBezTo>
                    <a:cubicBezTo>
                      <a:pt x="132" y="187"/>
                      <a:pt x="128" y="193"/>
                      <a:pt x="132" y="196"/>
                    </a:cubicBezTo>
                    <a:cubicBezTo>
                      <a:pt x="139" y="200"/>
                      <a:pt x="155" y="191"/>
                      <a:pt x="160" y="189"/>
                    </a:cubicBezTo>
                    <a:cubicBezTo>
                      <a:pt x="164" y="187"/>
                      <a:pt x="166" y="197"/>
                      <a:pt x="171" y="193"/>
                    </a:cubicBezTo>
                    <a:cubicBezTo>
                      <a:pt x="175" y="190"/>
                      <a:pt x="175" y="185"/>
                      <a:pt x="179" y="183"/>
                    </a:cubicBezTo>
                    <a:cubicBezTo>
                      <a:pt x="182" y="181"/>
                      <a:pt x="185" y="183"/>
                      <a:pt x="188" y="182"/>
                    </a:cubicBezTo>
                    <a:cubicBezTo>
                      <a:pt x="191" y="181"/>
                      <a:pt x="183" y="175"/>
                      <a:pt x="185" y="172"/>
                    </a:cubicBezTo>
                    <a:cubicBezTo>
                      <a:pt x="188" y="169"/>
                      <a:pt x="193" y="170"/>
                      <a:pt x="197" y="168"/>
                    </a:cubicBezTo>
                    <a:cubicBezTo>
                      <a:pt x="206" y="163"/>
                      <a:pt x="194" y="164"/>
                      <a:pt x="200" y="158"/>
                    </a:cubicBezTo>
                    <a:cubicBezTo>
                      <a:pt x="202" y="155"/>
                      <a:pt x="215" y="149"/>
                      <a:pt x="216" y="157"/>
                    </a:cubicBezTo>
                    <a:cubicBezTo>
                      <a:pt x="217" y="158"/>
                      <a:pt x="214" y="159"/>
                      <a:pt x="214" y="161"/>
                    </a:cubicBezTo>
                    <a:cubicBezTo>
                      <a:pt x="213" y="166"/>
                      <a:pt x="225" y="162"/>
                      <a:pt x="226" y="159"/>
                    </a:cubicBezTo>
                    <a:cubicBezTo>
                      <a:pt x="231" y="147"/>
                      <a:pt x="213" y="150"/>
                      <a:pt x="213" y="148"/>
                    </a:cubicBezTo>
                    <a:cubicBezTo>
                      <a:pt x="213" y="146"/>
                      <a:pt x="218" y="130"/>
                      <a:pt x="218" y="129"/>
                    </a:cubicBezTo>
                    <a:cubicBezTo>
                      <a:pt x="213" y="114"/>
                      <a:pt x="213" y="114"/>
                      <a:pt x="213" y="114"/>
                    </a:cubicBezTo>
                    <a:cubicBezTo>
                      <a:pt x="213" y="113"/>
                      <a:pt x="216" y="113"/>
                      <a:pt x="216" y="112"/>
                    </a:cubicBezTo>
                    <a:cubicBezTo>
                      <a:pt x="222" y="91"/>
                      <a:pt x="217" y="113"/>
                      <a:pt x="228" y="96"/>
                    </a:cubicBezTo>
                    <a:cubicBezTo>
                      <a:pt x="231" y="93"/>
                      <a:pt x="228" y="87"/>
                      <a:pt x="230" y="83"/>
                    </a:cubicBezTo>
                    <a:cubicBezTo>
                      <a:pt x="233" y="79"/>
                      <a:pt x="242" y="85"/>
                      <a:pt x="245" y="81"/>
                    </a:cubicBezTo>
                    <a:cubicBezTo>
                      <a:pt x="247" y="78"/>
                      <a:pt x="244" y="75"/>
                      <a:pt x="245" y="73"/>
                    </a:cubicBezTo>
                    <a:cubicBezTo>
                      <a:pt x="246" y="71"/>
                      <a:pt x="249" y="71"/>
                      <a:pt x="250" y="69"/>
                    </a:cubicBezTo>
                    <a:cubicBezTo>
                      <a:pt x="252" y="61"/>
                      <a:pt x="233" y="72"/>
                      <a:pt x="234" y="67"/>
                    </a:cubicBezTo>
                    <a:cubicBezTo>
                      <a:pt x="234" y="58"/>
                      <a:pt x="238" y="51"/>
                      <a:pt x="235" y="42"/>
                    </a:cubicBezTo>
                    <a:cubicBezTo>
                      <a:pt x="235" y="42"/>
                      <a:pt x="235" y="42"/>
                      <a:pt x="235" y="42"/>
                    </a:cubicBezTo>
                    <a:cubicBezTo>
                      <a:pt x="233" y="42"/>
                      <a:pt x="231" y="42"/>
                      <a:pt x="230" y="42"/>
                    </a:cubicBezTo>
                    <a:cubicBezTo>
                      <a:pt x="217" y="40"/>
                      <a:pt x="200" y="19"/>
                      <a:pt x="189" y="16"/>
                    </a:cubicBezTo>
                    <a:cubicBezTo>
                      <a:pt x="182" y="14"/>
                      <a:pt x="174" y="18"/>
                      <a:pt x="167" y="18"/>
                    </a:cubicBezTo>
                    <a:cubicBezTo>
                      <a:pt x="160" y="18"/>
                      <a:pt x="157" y="0"/>
                      <a:pt x="152" y="2"/>
                    </a:cubicBezTo>
                    <a:cubicBezTo>
                      <a:pt x="145" y="3"/>
                      <a:pt x="145" y="12"/>
                      <a:pt x="141" y="16"/>
                    </a:cubicBezTo>
                    <a:cubicBezTo>
                      <a:pt x="137" y="23"/>
                      <a:pt x="137" y="15"/>
                      <a:pt x="132" y="16"/>
                    </a:cubicBezTo>
                    <a:cubicBezTo>
                      <a:pt x="129" y="16"/>
                      <a:pt x="128" y="20"/>
                      <a:pt x="125" y="21"/>
                    </a:cubicBezTo>
                    <a:cubicBezTo>
                      <a:pt x="124" y="21"/>
                      <a:pt x="107" y="17"/>
                      <a:pt x="107" y="17"/>
                    </a:cubicBezTo>
                    <a:cubicBezTo>
                      <a:pt x="104" y="17"/>
                      <a:pt x="102" y="21"/>
                      <a:pt x="98" y="21"/>
                    </a:cubicBezTo>
                    <a:cubicBezTo>
                      <a:pt x="92" y="22"/>
                      <a:pt x="90" y="16"/>
                      <a:pt x="85" y="21"/>
                    </a:cubicBezTo>
                    <a:cubicBezTo>
                      <a:pt x="83" y="23"/>
                      <a:pt x="84" y="26"/>
                      <a:pt x="82" y="27"/>
                    </a:cubicBezTo>
                    <a:cubicBezTo>
                      <a:pt x="80" y="30"/>
                      <a:pt x="77" y="20"/>
                      <a:pt x="74" y="20"/>
                    </a:cubicBezTo>
                    <a:cubicBezTo>
                      <a:pt x="71" y="20"/>
                      <a:pt x="70" y="24"/>
                      <a:pt x="67" y="25"/>
                    </a:cubicBezTo>
                    <a:cubicBezTo>
                      <a:pt x="63" y="26"/>
                      <a:pt x="45" y="25"/>
                      <a:pt x="41" y="26"/>
                    </a:cubicBezTo>
                    <a:cubicBezTo>
                      <a:pt x="34" y="28"/>
                      <a:pt x="16" y="39"/>
                      <a:pt x="12" y="45"/>
                    </a:cubicBezTo>
                    <a:cubicBezTo>
                      <a:pt x="10" y="48"/>
                      <a:pt x="10" y="53"/>
                      <a:pt x="8" y="56"/>
                    </a:cubicBezTo>
                    <a:cubicBezTo>
                      <a:pt x="6" y="58"/>
                      <a:pt x="4" y="58"/>
                      <a:pt x="2" y="58"/>
                    </a:cubicBezTo>
                    <a:cubicBezTo>
                      <a:pt x="2" y="59"/>
                      <a:pt x="2" y="59"/>
                      <a:pt x="3" y="60"/>
                    </a:cubicBezTo>
                    <a:cubicBezTo>
                      <a:pt x="7" y="74"/>
                      <a:pt x="0" y="65"/>
                      <a:pt x="6" y="80"/>
                    </a:cubicBezTo>
                    <a:cubicBezTo>
                      <a:pt x="6" y="81"/>
                      <a:pt x="7" y="82"/>
                      <a:pt x="8" y="83"/>
                    </a:cubicBezTo>
                    <a:cubicBezTo>
                      <a:pt x="9" y="85"/>
                      <a:pt x="10" y="87"/>
                      <a:pt x="11" y="89"/>
                    </a:cubicBezTo>
                    <a:cubicBezTo>
                      <a:pt x="14" y="93"/>
                      <a:pt x="16" y="97"/>
                      <a:pt x="17" y="102"/>
                    </a:cubicBezTo>
                    <a:cubicBezTo>
                      <a:pt x="18" y="105"/>
                      <a:pt x="15" y="108"/>
                      <a:pt x="16" y="112"/>
                    </a:cubicBezTo>
                    <a:cubicBezTo>
                      <a:pt x="16" y="113"/>
                      <a:pt x="17" y="109"/>
                      <a:pt x="18" y="109"/>
                    </a:cubicBezTo>
                    <a:cubicBezTo>
                      <a:pt x="20" y="108"/>
                      <a:pt x="20" y="113"/>
                      <a:pt x="21" y="115"/>
                    </a:cubicBezTo>
                    <a:cubicBezTo>
                      <a:pt x="21" y="116"/>
                      <a:pt x="21" y="116"/>
                      <a:pt x="21" y="117"/>
                    </a:cubicBezTo>
                    <a:cubicBezTo>
                      <a:pt x="23" y="116"/>
                      <a:pt x="23" y="114"/>
                      <a:pt x="25" y="114"/>
                    </a:cubicBezTo>
                    <a:cubicBezTo>
                      <a:pt x="27" y="115"/>
                      <a:pt x="27" y="117"/>
                      <a:pt x="28" y="119"/>
                    </a:cubicBezTo>
                    <a:cubicBezTo>
                      <a:pt x="35" y="123"/>
                      <a:pt x="46" y="122"/>
                      <a:pt x="54" y="124"/>
                    </a:cubicBezTo>
                    <a:cubicBezTo>
                      <a:pt x="55" y="125"/>
                      <a:pt x="53" y="127"/>
                      <a:pt x="54" y="127"/>
                    </a:cubicBezTo>
                    <a:cubicBezTo>
                      <a:pt x="63" y="127"/>
                      <a:pt x="71" y="119"/>
                      <a:pt x="79" y="121"/>
                    </a:cubicBezTo>
                    <a:cubicBezTo>
                      <a:pt x="81" y="122"/>
                      <a:pt x="80" y="127"/>
                      <a:pt x="82" y="128"/>
                    </a:cubicBezTo>
                    <a:cubicBezTo>
                      <a:pt x="83" y="129"/>
                      <a:pt x="84" y="127"/>
                      <a:pt x="85" y="128"/>
                    </a:cubicBezTo>
                    <a:cubicBezTo>
                      <a:pt x="88" y="129"/>
                      <a:pt x="90" y="131"/>
                      <a:pt x="92" y="133"/>
                    </a:cubicBezTo>
                    <a:cubicBezTo>
                      <a:pt x="95" y="138"/>
                      <a:pt x="83" y="154"/>
                      <a:pt x="96" y="171"/>
                    </a:cubicBezTo>
                    <a:close/>
                    <a:moveTo>
                      <a:pt x="8" y="83"/>
                    </a:moveTo>
                    <a:cubicBezTo>
                      <a:pt x="7" y="84"/>
                      <a:pt x="7" y="84"/>
                      <a:pt x="7" y="84"/>
                    </a:cubicBezTo>
                    <a:cubicBezTo>
                      <a:pt x="6" y="89"/>
                      <a:pt x="10" y="93"/>
                      <a:pt x="10" y="98"/>
                    </a:cubicBezTo>
                    <a:cubicBezTo>
                      <a:pt x="11" y="103"/>
                      <a:pt x="10" y="110"/>
                      <a:pt x="7" y="116"/>
                    </a:cubicBezTo>
                    <a:cubicBezTo>
                      <a:pt x="8" y="116"/>
                      <a:pt x="8" y="116"/>
                      <a:pt x="8" y="116"/>
                    </a:cubicBezTo>
                    <a:cubicBezTo>
                      <a:pt x="10" y="113"/>
                      <a:pt x="10" y="110"/>
                      <a:pt x="11" y="105"/>
                    </a:cubicBezTo>
                    <a:cubicBezTo>
                      <a:pt x="11" y="103"/>
                      <a:pt x="11" y="95"/>
                      <a:pt x="11" y="89"/>
                    </a:cubicBezTo>
                    <a:cubicBezTo>
                      <a:pt x="11" y="81"/>
                      <a:pt x="11" y="76"/>
                      <a:pt x="8" y="83"/>
                    </a:cubicBezTo>
                    <a:close/>
                  </a:path>
                </a:pathLst>
              </a:custGeom>
              <a:solidFill>
                <a:srgbClr val="405F9E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123" name="Latvia" descr="{&quot;Key&quot;:&quot;latvia&quot;,&quot;Name&quot;:&quot;Latvia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380A93E2-6798-1F9D-9D26-843C4D78D9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30270" y="3498059"/>
                <a:ext cx="507973" cy="321763"/>
              </a:xfrm>
              <a:custGeom>
                <a:avLst/>
                <a:gdLst>
                  <a:gd name="T0" fmla="*/ 13 w 304"/>
                  <a:gd name="T1" fmla="*/ 179 h 179"/>
                  <a:gd name="T2" fmla="*/ 19 w 304"/>
                  <a:gd name="T3" fmla="*/ 177 h 179"/>
                  <a:gd name="T4" fmla="*/ 23 w 304"/>
                  <a:gd name="T5" fmla="*/ 166 h 179"/>
                  <a:gd name="T6" fmla="*/ 52 w 304"/>
                  <a:gd name="T7" fmla="*/ 147 h 179"/>
                  <a:gd name="T8" fmla="*/ 78 w 304"/>
                  <a:gd name="T9" fmla="*/ 146 h 179"/>
                  <a:gd name="T10" fmla="*/ 85 w 304"/>
                  <a:gd name="T11" fmla="*/ 141 h 179"/>
                  <a:gd name="T12" fmla="*/ 93 w 304"/>
                  <a:gd name="T13" fmla="*/ 148 h 179"/>
                  <a:gd name="T14" fmla="*/ 96 w 304"/>
                  <a:gd name="T15" fmla="*/ 142 h 179"/>
                  <a:gd name="T16" fmla="*/ 109 w 304"/>
                  <a:gd name="T17" fmla="*/ 142 h 179"/>
                  <a:gd name="T18" fmla="*/ 118 w 304"/>
                  <a:gd name="T19" fmla="*/ 138 h 179"/>
                  <a:gd name="T20" fmla="*/ 136 w 304"/>
                  <a:gd name="T21" fmla="*/ 142 h 179"/>
                  <a:gd name="T22" fmla="*/ 143 w 304"/>
                  <a:gd name="T23" fmla="*/ 137 h 179"/>
                  <a:gd name="T24" fmla="*/ 152 w 304"/>
                  <a:gd name="T25" fmla="*/ 137 h 179"/>
                  <a:gd name="T26" fmla="*/ 163 w 304"/>
                  <a:gd name="T27" fmla="*/ 123 h 179"/>
                  <a:gd name="T28" fmla="*/ 178 w 304"/>
                  <a:gd name="T29" fmla="*/ 139 h 179"/>
                  <a:gd name="T30" fmla="*/ 200 w 304"/>
                  <a:gd name="T31" fmla="*/ 137 h 179"/>
                  <a:gd name="T32" fmla="*/ 241 w 304"/>
                  <a:gd name="T33" fmla="*/ 163 h 179"/>
                  <a:gd name="T34" fmla="*/ 264 w 304"/>
                  <a:gd name="T35" fmla="*/ 145 h 179"/>
                  <a:gd name="T36" fmla="*/ 271 w 304"/>
                  <a:gd name="T37" fmla="*/ 148 h 179"/>
                  <a:gd name="T38" fmla="*/ 272 w 304"/>
                  <a:gd name="T39" fmla="*/ 143 h 179"/>
                  <a:gd name="T40" fmla="*/ 283 w 304"/>
                  <a:gd name="T41" fmla="*/ 143 h 179"/>
                  <a:gd name="T42" fmla="*/ 287 w 304"/>
                  <a:gd name="T43" fmla="*/ 125 h 179"/>
                  <a:gd name="T44" fmla="*/ 299 w 304"/>
                  <a:gd name="T45" fmla="*/ 112 h 179"/>
                  <a:gd name="T46" fmla="*/ 277 w 304"/>
                  <a:gd name="T47" fmla="*/ 73 h 179"/>
                  <a:gd name="T48" fmla="*/ 274 w 304"/>
                  <a:gd name="T49" fmla="*/ 64 h 179"/>
                  <a:gd name="T50" fmla="*/ 266 w 304"/>
                  <a:gd name="T51" fmla="*/ 67 h 179"/>
                  <a:gd name="T52" fmla="*/ 266 w 304"/>
                  <a:gd name="T53" fmla="*/ 64 h 179"/>
                  <a:gd name="T54" fmla="*/ 266 w 304"/>
                  <a:gd name="T55" fmla="*/ 62 h 179"/>
                  <a:gd name="T56" fmla="*/ 267 w 304"/>
                  <a:gd name="T57" fmla="*/ 50 h 179"/>
                  <a:gd name="T58" fmla="*/ 262 w 304"/>
                  <a:gd name="T59" fmla="*/ 47 h 179"/>
                  <a:gd name="T60" fmla="*/ 257 w 304"/>
                  <a:gd name="T61" fmla="*/ 29 h 179"/>
                  <a:gd name="T62" fmla="*/ 250 w 304"/>
                  <a:gd name="T63" fmla="*/ 26 h 179"/>
                  <a:gd name="T64" fmla="*/ 249 w 304"/>
                  <a:gd name="T65" fmla="*/ 19 h 179"/>
                  <a:gd name="T66" fmla="*/ 241 w 304"/>
                  <a:gd name="T67" fmla="*/ 21 h 179"/>
                  <a:gd name="T68" fmla="*/ 221 w 304"/>
                  <a:gd name="T69" fmla="*/ 18 h 179"/>
                  <a:gd name="T70" fmla="*/ 210 w 304"/>
                  <a:gd name="T71" fmla="*/ 30 h 179"/>
                  <a:gd name="T72" fmla="*/ 186 w 304"/>
                  <a:gd name="T73" fmla="*/ 15 h 179"/>
                  <a:gd name="T74" fmla="*/ 185 w 304"/>
                  <a:gd name="T75" fmla="*/ 10 h 179"/>
                  <a:gd name="T76" fmla="*/ 175 w 304"/>
                  <a:gd name="T77" fmla="*/ 11 h 179"/>
                  <a:gd name="T78" fmla="*/ 172 w 304"/>
                  <a:gd name="T79" fmla="*/ 7 h 179"/>
                  <a:gd name="T80" fmla="*/ 167 w 304"/>
                  <a:gd name="T81" fmla="*/ 9 h 179"/>
                  <a:gd name="T82" fmla="*/ 152 w 304"/>
                  <a:gd name="T83" fmla="*/ 0 h 179"/>
                  <a:gd name="T84" fmla="*/ 152 w 304"/>
                  <a:gd name="T85" fmla="*/ 3 h 179"/>
                  <a:gd name="T86" fmla="*/ 153 w 304"/>
                  <a:gd name="T87" fmla="*/ 4 h 179"/>
                  <a:gd name="T88" fmla="*/ 145 w 304"/>
                  <a:gd name="T89" fmla="*/ 3 h 179"/>
                  <a:gd name="T90" fmla="*/ 118 w 304"/>
                  <a:gd name="T91" fmla="*/ 24 h 179"/>
                  <a:gd name="T92" fmla="*/ 117 w 304"/>
                  <a:gd name="T93" fmla="*/ 23 h 179"/>
                  <a:gd name="T94" fmla="*/ 117 w 304"/>
                  <a:gd name="T95" fmla="*/ 28 h 179"/>
                  <a:gd name="T96" fmla="*/ 131 w 304"/>
                  <a:gd name="T97" fmla="*/ 69 h 179"/>
                  <a:gd name="T98" fmla="*/ 107 w 304"/>
                  <a:gd name="T99" fmla="*/ 95 h 179"/>
                  <a:gd name="T100" fmla="*/ 99 w 304"/>
                  <a:gd name="T101" fmla="*/ 91 h 179"/>
                  <a:gd name="T102" fmla="*/ 88 w 304"/>
                  <a:gd name="T103" fmla="*/ 88 h 179"/>
                  <a:gd name="T104" fmla="*/ 79 w 304"/>
                  <a:gd name="T105" fmla="*/ 70 h 179"/>
                  <a:gd name="T106" fmla="*/ 57 w 304"/>
                  <a:gd name="T107" fmla="*/ 57 h 179"/>
                  <a:gd name="T108" fmla="*/ 53 w 304"/>
                  <a:gd name="T109" fmla="*/ 46 h 179"/>
                  <a:gd name="T110" fmla="*/ 40 w 304"/>
                  <a:gd name="T111" fmla="*/ 54 h 179"/>
                  <a:gd name="T112" fmla="*/ 21 w 304"/>
                  <a:gd name="T113" fmla="*/ 65 h 179"/>
                  <a:gd name="T114" fmla="*/ 14 w 304"/>
                  <a:gd name="T115" fmla="*/ 110 h 179"/>
                  <a:gd name="T116" fmla="*/ 4 w 304"/>
                  <a:gd name="T117" fmla="*/ 124 h 179"/>
                  <a:gd name="T118" fmla="*/ 5 w 304"/>
                  <a:gd name="T119" fmla="*/ 134 h 179"/>
                  <a:gd name="T120" fmla="*/ 5 w 304"/>
                  <a:gd name="T121" fmla="*/ 146 h 179"/>
                  <a:gd name="T122" fmla="*/ 6 w 304"/>
                  <a:gd name="T123" fmla="*/ 147 h 179"/>
                  <a:gd name="T124" fmla="*/ 13 w 304"/>
                  <a:gd name="T125" fmla="*/ 179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04" h="179">
                    <a:moveTo>
                      <a:pt x="13" y="179"/>
                    </a:moveTo>
                    <a:cubicBezTo>
                      <a:pt x="15" y="179"/>
                      <a:pt x="17" y="179"/>
                      <a:pt x="19" y="177"/>
                    </a:cubicBezTo>
                    <a:cubicBezTo>
                      <a:pt x="21" y="174"/>
                      <a:pt x="21" y="169"/>
                      <a:pt x="23" y="166"/>
                    </a:cubicBezTo>
                    <a:cubicBezTo>
                      <a:pt x="27" y="160"/>
                      <a:pt x="45" y="149"/>
                      <a:pt x="52" y="147"/>
                    </a:cubicBezTo>
                    <a:cubicBezTo>
                      <a:pt x="56" y="146"/>
                      <a:pt x="74" y="147"/>
                      <a:pt x="78" y="146"/>
                    </a:cubicBezTo>
                    <a:cubicBezTo>
                      <a:pt x="81" y="145"/>
                      <a:pt x="82" y="141"/>
                      <a:pt x="85" y="141"/>
                    </a:cubicBezTo>
                    <a:cubicBezTo>
                      <a:pt x="88" y="141"/>
                      <a:pt x="91" y="151"/>
                      <a:pt x="93" y="148"/>
                    </a:cubicBezTo>
                    <a:cubicBezTo>
                      <a:pt x="95" y="147"/>
                      <a:pt x="94" y="144"/>
                      <a:pt x="96" y="142"/>
                    </a:cubicBezTo>
                    <a:cubicBezTo>
                      <a:pt x="101" y="137"/>
                      <a:pt x="103" y="143"/>
                      <a:pt x="109" y="142"/>
                    </a:cubicBezTo>
                    <a:cubicBezTo>
                      <a:pt x="113" y="142"/>
                      <a:pt x="115" y="138"/>
                      <a:pt x="118" y="138"/>
                    </a:cubicBezTo>
                    <a:cubicBezTo>
                      <a:pt x="118" y="138"/>
                      <a:pt x="135" y="142"/>
                      <a:pt x="136" y="142"/>
                    </a:cubicBezTo>
                    <a:cubicBezTo>
                      <a:pt x="139" y="141"/>
                      <a:pt x="140" y="137"/>
                      <a:pt x="143" y="137"/>
                    </a:cubicBezTo>
                    <a:cubicBezTo>
                      <a:pt x="148" y="136"/>
                      <a:pt x="148" y="144"/>
                      <a:pt x="152" y="137"/>
                    </a:cubicBezTo>
                    <a:cubicBezTo>
                      <a:pt x="156" y="133"/>
                      <a:pt x="156" y="124"/>
                      <a:pt x="163" y="123"/>
                    </a:cubicBezTo>
                    <a:cubicBezTo>
                      <a:pt x="168" y="121"/>
                      <a:pt x="171" y="139"/>
                      <a:pt x="178" y="139"/>
                    </a:cubicBezTo>
                    <a:cubicBezTo>
                      <a:pt x="185" y="139"/>
                      <a:pt x="193" y="135"/>
                      <a:pt x="200" y="137"/>
                    </a:cubicBezTo>
                    <a:cubicBezTo>
                      <a:pt x="211" y="140"/>
                      <a:pt x="228" y="161"/>
                      <a:pt x="241" y="163"/>
                    </a:cubicBezTo>
                    <a:cubicBezTo>
                      <a:pt x="255" y="166"/>
                      <a:pt x="255" y="144"/>
                      <a:pt x="264" y="145"/>
                    </a:cubicBezTo>
                    <a:cubicBezTo>
                      <a:pt x="267" y="145"/>
                      <a:pt x="268" y="148"/>
                      <a:pt x="271" y="148"/>
                    </a:cubicBezTo>
                    <a:cubicBezTo>
                      <a:pt x="272" y="148"/>
                      <a:pt x="271" y="144"/>
                      <a:pt x="272" y="143"/>
                    </a:cubicBezTo>
                    <a:cubicBezTo>
                      <a:pt x="276" y="142"/>
                      <a:pt x="280" y="146"/>
                      <a:pt x="283" y="143"/>
                    </a:cubicBezTo>
                    <a:cubicBezTo>
                      <a:pt x="283" y="143"/>
                      <a:pt x="286" y="126"/>
                      <a:pt x="287" y="125"/>
                    </a:cubicBezTo>
                    <a:cubicBezTo>
                      <a:pt x="288" y="121"/>
                      <a:pt x="299" y="113"/>
                      <a:pt x="299" y="112"/>
                    </a:cubicBezTo>
                    <a:cubicBezTo>
                      <a:pt x="304" y="96"/>
                      <a:pt x="287" y="81"/>
                      <a:pt x="277" y="73"/>
                    </a:cubicBezTo>
                    <a:cubicBezTo>
                      <a:pt x="274" y="70"/>
                      <a:pt x="281" y="65"/>
                      <a:pt x="274" y="64"/>
                    </a:cubicBezTo>
                    <a:cubicBezTo>
                      <a:pt x="271" y="63"/>
                      <a:pt x="268" y="68"/>
                      <a:pt x="266" y="67"/>
                    </a:cubicBezTo>
                    <a:cubicBezTo>
                      <a:pt x="264" y="67"/>
                      <a:pt x="266" y="65"/>
                      <a:pt x="266" y="64"/>
                    </a:cubicBezTo>
                    <a:cubicBezTo>
                      <a:pt x="266" y="64"/>
                      <a:pt x="266" y="63"/>
                      <a:pt x="266" y="62"/>
                    </a:cubicBezTo>
                    <a:cubicBezTo>
                      <a:pt x="266" y="58"/>
                      <a:pt x="267" y="54"/>
                      <a:pt x="267" y="50"/>
                    </a:cubicBezTo>
                    <a:cubicBezTo>
                      <a:pt x="266" y="48"/>
                      <a:pt x="262" y="49"/>
                      <a:pt x="262" y="47"/>
                    </a:cubicBezTo>
                    <a:cubicBezTo>
                      <a:pt x="262" y="40"/>
                      <a:pt x="276" y="35"/>
                      <a:pt x="257" y="29"/>
                    </a:cubicBezTo>
                    <a:cubicBezTo>
                      <a:pt x="255" y="28"/>
                      <a:pt x="251" y="28"/>
                      <a:pt x="250" y="26"/>
                    </a:cubicBezTo>
                    <a:cubicBezTo>
                      <a:pt x="248" y="24"/>
                      <a:pt x="251" y="20"/>
                      <a:pt x="249" y="19"/>
                    </a:cubicBezTo>
                    <a:cubicBezTo>
                      <a:pt x="246" y="17"/>
                      <a:pt x="244" y="20"/>
                      <a:pt x="241" y="21"/>
                    </a:cubicBezTo>
                    <a:cubicBezTo>
                      <a:pt x="241" y="23"/>
                      <a:pt x="224" y="17"/>
                      <a:pt x="221" y="18"/>
                    </a:cubicBezTo>
                    <a:cubicBezTo>
                      <a:pt x="221" y="18"/>
                      <a:pt x="211" y="30"/>
                      <a:pt x="210" y="30"/>
                    </a:cubicBezTo>
                    <a:cubicBezTo>
                      <a:pt x="206" y="30"/>
                      <a:pt x="188" y="18"/>
                      <a:pt x="186" y="15"/>
                    </a:cubicBezTo>
                    <a:cubicBezTo>
                      <a:pt x="185" y="14"/>
                      <a:pt x="187" y="10"/>
                      <a:pt x="185" y="10"/>
                    </a:cubicBezTo>
                    <a:cubicBezTo>
                      <a:pt x="182" y="9"/>
                      <a:pt x="178" y="12"/>
                      <a:pt x="175" y="11"/>
                    </a:cubicBezTo>
                    <a:cubicBezTo>
                      <a:pt x="173" y="10"/>
                      <a:pt x="174" y="7"/>
                      <a:pt x="172" y="7"/>
                    </a:cubicBezTo>
                    <a:cubicBezTo>
                      <a:pt x="171" y="7"/>
                      <a:pt x="169" y="10"/>
                      <a:pt x="167" y="9"/>
                    </a:cubicBezTo>
                    <a:cubicBezTo>
                      <a:pt x="164" y="8"/>
                      <a:pt x="158" y="0"/>
                      <a:pt x="152" y="0"/>
                    </a:cubicBezTo>
                    <a:cubicBezTo>
                      <a:pt x="151" y="0"/>
                      <a:pt x="152" y="1"/>
                      <a:pt x="152" y="3"/>
                    </a:cubicBezTo>
                    <a:cubicBezTo>
                      <a:pt x="152" y="3"/>
                      <a:pt x="153" y="3"/>
                      <a:pt x="153" y="4"/>
                    </a:cubicBezTo>
                    <a:cubicBezTo>
                      <a:pt x="155" y="11"/>
                      <a:pt x="148" y="0"/>
                      <a:pt x="145" y="3"/>
                    </a:cubicBezTo>
                    <a:cubicBezTo>
                      <a:pt x="140" y="7"/>
                      <a:pt x="122" y="23"/>
                      <a:pt x="118" y="24"/>
                    </a:cubicBezTo>
                    <a:cubicBezTo>
                      <a:pt x="117" y="23"/>
                      <a:pt x="117" y="23"/>
                      <a:pt x="117" y="23"/>
                    </a:cubicBezTo>
                    <a:cubicBezTo>
                      <a:pt x="117" y="25"/>
                      <a:pt x="117" y="26"/>
                      <a:pt x="117" y="28"/>
                    </a:cubicBezTo>
                    <a:cubicBezTo>
                      <a:pt x="120" y="40"/>
                      <a:pt x="134" y="56"/>
                      <a:pt x="131" y="69"/>
                    </a:cubicBezTo>
                    <a:cubicBezTo>
                      <a:pt x="129" y="77"/>
                      <a:pt x="116" y="94"/>
                      <a:pt x="107" y="95"/>
                    </a:cubicBezTo>
                    <a:cubicBezTo>
                      <a:pt x="104" y="95"/>
                      <a:pt x="102" y="92"/>
                      <a:pt x="99" y="91"/>
                    </a:cubicBezTo>
                    <a:cubicBezTo>
                      <a:pt x="93" y="90"/>
                      <a:pt x="92" y="94"/>
                      <a:pt x="88" y="88"/>
                    </a:cubicBezTo>
                    <a:cubicBezTo>
                      <a:pt x="85" y="82"/>
                      <a:pt x="85" y="74"/>
                      <a:pt x="79" y="70"/>
                    </a:cubicBezTo>
                    <a:cubicBezTo>
                      <a:pt x="74" y="65"/>
                      <a:pt x="62" y="63"/>
                      <a:pt x="57" y="57"/>
                    </a:cubicBezTo>
                    <a:cubicBezTo>
                      <a:pt x="53" y="55"/>
                      <a:pt x="57" y="47"/>
                      <a:pt x="53" y="46"/>
                    </a:cubicBezTo>
                    <a:cubicBezTo>
                      <a:pt x="48" y="43"/>
                      <a:pt x="44" y="51"/>
                      <a:pt x="40" y="54"/>
                    </a:cubicBezTo>
                    <a:cubicBezTo>
                      <a:pt x="34" y="59"/>
                      <a:pt x="26" y="60"/>
                      <a:pt x="21" y="65"/>
                    </a:cubicBezTo>
                    <a:cubicBezTo>
                      <a:pt x="8" y="80"/>
                      <a:pt x="19" y="96"/>
                      <a:pt x="14" y="110"/>
                    </a:cubicBezTo>
                    <a:cubicBezTo>
                      <a:pt x="13" y="116"/>
                      <a:pt x="5" y="118"/>
                      <a:pt x="4" y="124"/>
                    </a:cubicBezTo>
                    <a:cubicBezTo>
                      <a:pt x="2" y="127"/>
                      <a:pt x="5" y="130"/>
                      <a:pt x="5" y="134"/>
                    </a:cubicBezTo>
                    <a:cubicBezTo>
                      <a:pt x="5" y="138"/>
                      <a:pt x="4" y="142"/>
                      <a:pt x="5" y="146"/>
                    </a:cubicBezTo>
                    <a:cubicBezTo>
                      <a:pt x="5" y="146"/>
                      <a:pt x="5" y="147"/>
                      <a:pt x="6" y="147"/>
                    </a:cubicBezTo>
                    <a:cubicBezTo>
                      <a:pt x="0" y="154"/>
                      <a:pt x="9" y="171"/>
                      <a:pt x="13" y="179"/>
                    </a:cubicBezTo>
                    <a:close/>
                  </a:path>
                </a:pathLst>
              </a:custGeom>
              <a:solidFill>
                <a:srgbClr val="405F9E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124" name="Moldova" descr="{&quot;Key&quot;:&quot;moldova&quot;,&quot;Name&quot;:&quot;Moldova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E39B1AB7-8C27-A64B-F25C-C85AC531FC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3758" y="4707060"/>
                <a:ext cx="340623" cy="383886"/>
              </a:xfrm>
              <a:custGeom>
                <a:avLst/>
                <a:gdLst>
                  <a:gd name="T0" fmla="*/ 0 w 204"/>
                  <a:gd name="T1" fmla="*/ 28 h 213"/>
                  <a:gd name="T2" fmla="*/ 19 w 204"/>
                  <a:gd name="T3" fmla="*/ 33 h 213"/>
                  <a:gd name="T4" fmla="*/ 43 w 204"/>
                  <a:gd name="T5" fmla="*/ 65 h 213"/>
                  <a:gd name="T6" fmla="*/ 107 w 204"/>
                  <a:gd name="T7" fmla="*/ 129 h 213"/>
                  <a:gd name="T8" fmla="*/ 109 w 204"/>
                  <a:gd name="T9" fmla="*/ 174 h 213"/>
                  <a:gd name="T10" fmla="*/ 120 w 204"/>
                  <a:gd name="T11" fmla="*/ 200 h 213"/>
                  <a:gd name="T12" fmla="*/ 116 w 204"/>
                  <a:gd name="T13" fmla="*/ 205 h 213"/>
                  <a:gd name="T14" fmla="*/ 122 w 204"/>
                  <a:gd name="T15" fmla="*/ 208 h 213"/>
                  <a:gd name="T16" fmla="*/ 126 w 204"/>
                  <a:gd name="T17" fmla="*/ 213 h 213"/>
                  <a:gd name="T18" fmla="*/ 129 w 204"/>
                  <a:gd name="T19" fmla="*/ 206 h 213"/>
                  <a:gd name="T20" fmla="*/ 138 w 204"/>
                  <a:gd name="T21" fmla="*/ 206 h 213"/>
                  <a:gd name="T22" fmla="*/ 139 w 204"/>
                  <a:gd name="T23" fmla="*/ 185 h 213"/>
                  <a:gd name="T24" fmla="*/ 146 w 204"/>
                  <a:gd name="T25" fmla="*/ 178 h 213"/>
                  <a:gd name="T26" fmla="*/ 146 w 204"/>
                  <a:gd name="T27" fmla="*/ 168 h 213"/>
                  <a:gd name="T28" fmla="*/ 153 w 204"/>
                  <a:gd name="T29" fmla="*/ 163 h 213"/>
                  <a:gd name="T30" fmla="*/ 151 w 204"/>
                  <a:gd name="T31" fmla="*/ 156 h 213"/>
                  <a:gd name="T32" fmla="*/ 153 w 204"/>
                  <a:gd name="T33" fmla="*/ 148 h 213"/>
                  <a:gd name="T34" fmla="*/ 146 w 204"/>
                  <a:gd name="T35" fmla="*/ 129 h 213"/>
                  <a:gd name="T36" fmla="*/ 156 w 204"/>
                  <a:gd name="T37" fmla="*/ 122 h 213"/>
                  <a:gd name="T38" fmla="*/ 159 w 204"/>
                  <a:gd name="T39" fmla="*/ 129 h 213"/>
                  <a:gd name="T40" fmla="*/ 158 w 204"/>
                  <a:gd name="T41" fmla="*/ 132 h 213"/>
                  <a:gd name="T42" fmla="*/ 160 w 204"/>
                  <a:gd name="T43" fmla="*/ 133 h 213"/>
                  <a:gd name="T44" fmla="*/ 164 w 204"/>
                  <a:gd name="T45" fmla="*/ 124 h 213"/>
                  <a:gd name="T46" fmla="*/ 166 w 204"/>
                  <a:gd name="T47" fmla="*/ 127 h 213"/>
                  <a:gd name="T48" fmla="*/ 169 w 204"/>
                  <a:gd name="T49" fmla="*/ 122 h 213"/>
                  <a:gd name="T50" fmla="*/ 179 w 204"/>
                  <a:gd name="T51" fmla="*/ 128 h 213"/>
                  <a:gd name="T52" fmla="*/ 182 w 204"/>
                  <a:gd name="T53" fmla="*/ 118 h 213"/>
                  <a:gd name="T54" fmla="*/ 192 w 204"/>
                  <a:gd name="T55" fmla="*/ 126 h 213"/>
                  <a:gd name="T56" fmla="*/ 194 w 204"/>
                  <a:gd name="T57" fmla="*/ 122 h 213"/>
                  <a:gd name="T58" fmla="*/ 204 w 204"/>
                  <a:gd name="T59" fmla="*/ 117 h 213"/>
                  <a:gd name="T60" fmla="*/ 190 w 204"/>
                  <a:gd name="T61" fmla="*/ 111 h 213"/>
                  <a:gd name="T62" fmla="*/ 192 w 204"/>
                  <a:gd name="T63" fmla="*/ 109 h 213"/>
                  <a:gd name="T64" fmla="*/ 187 w 204"/>
                  <a:gd name="T65" fmla="*/ 91 h 213"/>
                  <a:gd name="T66" fmla="*/ 166 w 204"/>
                  <a:gd name="T67" fmla="*/ 85 h 213"/>
                  <a:gd name="T68" fmla="*/ 162 w 204"/>
                  <a:gd name="T69" fmla="*/ 76 h 213"/>
                  <a:gd name="T70" fmla="*/ 158 w 204"/>
                  <a:gd name="T71" fmla="*/ 59 h 213"/>
                  <a:gd name="T72" fmla="*/ 152 w 204"/>
                  <a:gd name="T73" fmla="*/ 64 h 213"/>
                  <a:gd name="T74" fmla="*/ 134 w 204"/>
                  <a:gd name="T75" fmla="*/ 50 h 213"/>
                  <a:gd name="T76" fmla="*/ 126 w 204"/>
                  <a:gd name="T77" fmla="*/ 17 h 213"/>
                  <a:gd name="T78" fmla="*/ 119 w 204"/>
                  <a:gd name="T79" fmla="*/ 24 h 213"/>
                  <a:gd name="T80" fmla="*/ 95 w 204"/>
                  <a:gd name="T81" fmla="*/ 12 h 213"/>
                  <a:gd name="T82" fmla="*/ 91 w 204"/>
                  <a:gd name="T83" fmla="*/ 20 h 213"/>
                  <a:gd name="T84" fmla="*/ 88 w 204"/>
                  <a:gd name="T85" fmla="*/ 13 h 213"/>
                  <a:gd name="T86" fmla="*/ 83 w 204"/>
                  <a:gd name="T87" fmla="*/ 16 h 213"/>
                  <a:gd name="T88" fmla="*/ 83 w 204"/>
                  <a:gd name="T89" fmla="*/ 9 h 213"/>
                  <a:gd name="T90" fmla="*/ 70 w 204"/>
                  <a:gd name="T91" fmla="*/ 13 h 213"/>
                  <a:gd name="T92" fmla="*/ 69 w 204"/>
                  <a:gd name="T93" fmla="*/ 8 h 213"/>
                  <a:gd name="T94" fmla="*/ 50 w 204"/>
                  <a:gd name="T95" fmla="*/ 2 h 213"/>
                  <a:gd name="T96" fmla="*/ 28 w 204"/>
                  <a:gd name="T97" fmla="*/ 14 h 213"/>
                  <a:gd name="T98" fmla="*/ 5 w 204"/>
                  <a:gd name="T99" fmla="*/ 18 h 213"/>
                  <a:gd name="T100" fmla="*/ 8 w 204"/>
                  <a:gd name="T101" fmla="*/ 24 h 213"/>
                  <a:gd name="T102" fmla="*/ 2 w 204"/>
                  <a:gd name="T103" fmla="*/ 21 h 213"/>
                  <a:gd name="T104" fmla="*/ 0 w 204"/>
                  <a:gd name="T105" fmla="*/ 28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04" h="213">
                    <a:moveTo>
                      <a:pt x="0" y="28"/>
                    </a:moveTo>
                    <a:cubicBezTo>
                      <a:pt x="8" y="24"/>
                      <a:pt x="13" y="28"/>
                      <a:pt x="19" y="33"/>
                    </a:cubicBezTo>
                    <a:cubicBezTo>
                      <a:pt x="31" y="41"/>
                      <a:pt x="33" y="55"/>
                      <a:pt x="43" y="65"/>
                    </a:cubicBezTo>
                    <a:cubicBezTo>
                      <a:pt x="59" y="80"/>
                      <a:pt x="102" y="107"/>
                      <a:pt x="107" y="129"/>
                    </a:cubicBezTo>
                    <a:cubicBezTo>
                      <a:pt x="111" y="144"/>
                      <a:pt x="106" y="159"/>
                      <a:pt x="109" y="174"/>
                    </a:cubicBezTo>
                    <a:cubicBezTo>
                      <a:pt x="110" y="180"/>
                      <a:pt x="121" y="194"/>
                      <a:pt x="120" y="200"/>
                    </a:cubicBezTo>
                    <a:cubicBezTo>
                      <a:pt x="120" y="202"/>
                      <a:pt x="116" y="203"/>
                      <a:pt x="116" y="205"/>
                    </a:cubicBezTo>
                    <a:cubicBezTo>
                      <a:pt x="117" y="208"/>
                      <a:pt x="120" y="206"/>
                      <a:pt x="122" y="208"/>
                    </a:cubicBezTo>
                    <a:cubicBezTo>
                      <a:pt x="123" y="209"/>
                      <a:pt x="123" y="213"/>
                      <a:pt x="126" y="213"/>
                    </a:cubicBezTo>
                    <a:cubicBezTo>
                      <a:pt x="129" y="213"/>
                      <a:pt x="126" y="206"/>
                      <a:pt x="129" y="206"/>
                    </a:cubicBezTo>
                    <a:cubicBezTo>
                      <a:pt x="132" y="205"/>
                      <a:pt x="135" y="206"/>
                      <a:pt x="138" y="206"/>
                    </a:cubicBezTo>
                    <a:cubicBezTo>
                      <a:pt x="142" y="205"/>
                      <a:pt x="134" y="193"/>
                      <a:pt x="139" y="185"/>
                    </a:cubicBezTo>
                    <a:cubicBezTo>
                      <a:pt x="140" y="183"/>
                      <a:pt x="144" y="181"/>
                      <a:pt x="146" y="178"/>
                    </a:cubicBezTo>
                    <a:cubicBezTo>
                      <a:pt x="149" y="174"/>
                      <a:pt x="141" y="172"/>
                      <a:pt x="146" y="168"/>
                    </a:cubicBezTo>
                    <a:cubicBezTo>
                      <a:pt x="148" y="166"/>
                      <a:pt x="152" y="166"/>
                      <a:pt x="153" y="163"/>
                    </a:cubicBezTo>
                    <a:cubicBezTo>
                      <a:pt x="155" y="161"/>
                      <a:pt x="151" y="159"/>
                      <a:pt x="151" y="156"/>
                    </a:cubicBezTo>
                    <a:cubicBezTo>
                      <a:pt x="151" y="153"/>
                      <a:pt x="154" y="150"/>
                      <a:pt x="153" y="148"/>
                    </a:cubicBezTo>
                    <a:cubicBezTo>
                      <a:pt x="152" y="143"/>
                      <a:pt x="138" y="139"/>
                      <a:pt x="146" y="129"/>
                    </a:cubicBezTo>
                    <a:cubicBezTo>
                      <a:pt x="149" y="126"/>
                      <a:pt x="154" y="118"/>
                      <a:pt x="156" y="122"/>
                    </a:cubicBezTo>
                    <a:cubicBezTo>
                      <a:pt x="157" y="124"/>
                      <a:pt x="159" y="127"/>
                      <a:pt x="159" y="129"/>
                    </a:cubicBezTo>
                    <a:cubicBezTo>
                      <a:pt x="159" y="131"/>
                      <a:pt x="158" y="131"/>
                      <a:pt x="158" y="132"/>
                    </a:cubicBezTo>
                    <a:cubicBezTo>
                      <a:pt x="159" y="133"/>
                      <a:pt x="160" y="133"/>
                      <a:pt x="160" y="133"/>
                    </a:cubicBezTo>
                    <a:cubicBezTo>
                      <a:pt x="162" y="131"/>
                      <a:pt x="161" y="127"/>
                      <a:pt x="164" y="124"/>
                    </a:cubicBezTo>
                    <a:cubicBezTo>
                      <a:pt x="165" y="123"/>
                      <a:pt x="165" y="128"/>
                      <a:pt x="166" y="127"/>
                    </a:cubicBezTo>
                    <a:cubicBezTo>
                      <a:pt x="169" y="127"/>
                      <a:pt x="168" y="123"/>
                      <a:pt x="169" y="122"/>
                    </a:cubicBezTo>
                    <a:cubicBezTo>
                      <a:pt x="169" y="122"/>
                      <a:pt x="177" y="127"/>
                      <a:pt x="179" y="128"/>
                    </a:cubicBezTo>
                    <a:cubicBezTo>
                      <a:pt x="182" y="128"/>
                      <a:pt x="179" y="118"/>
                      <a:pt x="182" y="118"/>
                    </a:cubicBezTo>
                    <a:cubicBezTo>
                      <a:pt x="187" y="118"/>
                      <a:pt x="190" y="128"/>
                      <a:pt x="192" y="126"/>
                    </a:cubicBezTo>
                    <a:cubicBezTo>
                      <a:pt x="193" y="124"/>
                      <a:pt x="192" y="123"/>
                      <a:pt x="194" y="122"/>
                    </a:cubicBezTo>
                    <a:cubicBezTo>
                      <a:pt x="196" y="120"/>
                      <a:pt x="200" y="119"/>
                      <a:pt x="204" y="117"/>
                    </a:cubicBezTo>
                    <a:cubicBezTo>
                      <a:pt x="204" y="116"/>
                      <a:pt x="191" y="115"/>
                      <a:pt x="190" y="111"/>
                    </a:cubicBezTo>
                    <a:cubicBezTo>
                      <a:pt x="189" y="110"/>
                      <a:pt x="192" y="110"/>
                      <a:pt x="192" y="109"/>
                    </a:cubicBezTo>
                    <a:cubicBezTo>
                      <a:pt x="187" y="91"/>
                      <a:pt x="187" y="91"/>
                      <a:pt x="187" y="91"/>
                    </a:cubicBezTo>
                    <a:cubicBezTo>
                      <a:pt x="183" y="88"/>
                      <a:pt x="169" y="88"/>
                      <a:pt x="166" y="85"/>
                    </a:cubicBezTo>
                    <a:cubicBezTo>
                      <a:pt x="164" y="83"/>
                      <a:pt x="165" y="74"/>
                      <a:pt x="162" y="76"/>
                    </a:cubicBezTo>
                    <a:cubicBezTo>
                      <a:pt x="155" y="80"/>
                      <a:pt x="168" y="64"/>
                      <a:pt x="158" y="59"/>
                    </a:cubicBezTo>
                    <a:cubicBezTo>
                      <a:pt x="150" y="54"/>
                      <a:pt x="159" y="67"/>
                      <a:pt x="152" y="64"/>
                    </a:cubicBezTo>
                    <a:cubicBezTo>
                      <a:pt x="148" y="63"/>
                      <a:pt x="134" y="53"/>
                      <a:pt x="134" y="50"/>
                    </a:cubicBezTo>
                    <a:cubicBezTo>
                      <a:pt x="130" y="38"/>
                      <a:pt x="139" y="26"/>
                      <a:pt x="126" y="17"/>
                    </a:cubicBezTo>
                    <a:cubicBezTo>
                      <a:pt x="121" y="15"/>
                      <a:pt x="125" y="26"/>
                      <a:pt x="119" y="24"/>
                    </a:cubicBezTo>
                    <a:cubicBezTo>
                      <a:pt x="105" y="18"/>
                      <a:pt x="114" y="7"/>
                      <a:pt x="95" y="12"/>
                    </a:cubicBezTo>
                    <a:cubicBezTo>
                      <a:pt x="91" y="13"/>
                      <a:pt x="93" y="23"/>
                      <a:pt x="91" y="20"/>
                    </a:cubicBezTo>
                    <a:cubicBezTo>
                      <a:pt x="89" y="19"/>
                      <a:pt x="89" y="16"/>
                      <a:pt x="88" y="13"/>
                    </a:cubicBezTo>
                    <a:cubicBezTo>
                      <a:pt x="87" y="12"/>
                      <a:pt x="84" y="21"/>
                      <a:pt x="83" y="16"/>
                    </a:cubicBezTo>
                    <a:cubicBezTo>
                      <a:pt x="82" y="14"/>
                      <a:pt x="85" y="8"/>
                      <a:pt x="83" y="9"/>
                    </a:cubicBezTo>
                    <a:cubicBezTo>
                      <a:pt x="78" y="10"/>
                      <a:pt x="74" y="13"/>
                      <a:pt x="70" y="13"/>
                    </a:cubicBezTo>
                    <a:cubicBezTo>
                      <a:pt x="69" y="13"/>
                      <a:pt x="70" y="10"/>
                      <a:pt x="69" y="8"/>
                    </a:cubicBezTo>
                    <a:cubicBezTo>
                      <a:pt x="63" y="4"/>
                      <a:pt x="57" y="2"/>
                      <a:pt x="50" y="2"/>
                    </a:cubicBezTo>
                    <a:cubicBezTo>
                      <a:pt x="35" y="0"/>
                      <a:pt x="39" y="9"/>
                      <a:pt x="28" y="14"/>
                    </a:cubicBezTo>
                    <a:cubicBezTo>
                      <a:pt x="27" y="15"/>
                      <a:pt x="5" y="17"/>
                      <a:pt x="5" y="18"/>
                    </a:cubicBezTo>
                    <a:cubicBezTo>
                      <a:pt x="5" y="20"/>
                      <a:pt x="8" y="21"/>
                      <a:pt x="8" y="24"/>
                    </a:cubicBezTo>
                    <a:cubicBezTo>
                      <a:pt x="9" y="26"/>
                      <a:pt x="3" y="20"/>
                      <a:pt x="2" y="21"/>
                    </a:cubicBezTo>
                    <a:cubicBezTo>
                      <a:pt x="0" y="23"/>
                      <a:pt x="1" y="26"/>
                      <a:pt x="0" y="28"/>
                    </a:cubicBez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125" name="Romania" descr="{&quot;Key&quot;:&quot;romania&quot;,&quot;Name&quot;:&quot;Romania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28065960-6025-CC45-93E1-00788B7B1E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72444" y="4750068"/>
                <a:ext cx="827863" cy="670607"/>
              </a:xfrm>
              <a:custGeom>
                <a:avLst/>
                <a:gdLst>
                  <a:gd name="T0" fmla="*/ 430 w 496"/>
                  <a:gd name="T1" fmla="*/ 306 h 372"/>
                  <a:gd name="T2" fmla="*/ 419 w 496"/>
                  <a:gd name="T3" fmla="*/ 301 h 372"/>
                  <a:gd name="T4" fmla="*/ 409 w 496"/>
                  <a:gd name="T5" fmla="*/ 298 h 372"/>
                  <a:gd name="T6" fmla="*/ 390 w 496"/>
                  <a:gd name="T7" fmla="*/ 300 h 372"/>
                  <a:gd name="T8" fmla="*/ 330 w 496"/>
                  <a:gd name="T9" fmla="*/ 323 h 372"/>
                  <a:gd name="T10" fmla="*/ 275 w 496"/>
                  <a:gd name="T11" fmla="*/ 354 h 372"/>
                  <a:gd name="T12" fmla="*/ 240 w 496"/>
                  <a:gd name="T13" fmla="*/ 362 h 372"/>
                  <a:gd name="T14" fmla="*/ 190 w 496"/>
                  <a:gd name="T15" fmla="*/ 361 h 372"/>
                  <a:gd name="T16" fmla="*/ 166 w 496"/>
                  <a:gd name="T17" fmla="*/ 348 h 372"/>
                  <a:gd name="T18" fmla="*/ 146 w 496"/>
                  <a:gd name="T19" fmla="*/ 315 h 372"/>
                  <a:gd name="T20" fmla="*/ 105 w 496"/>
                  <a:gd name="T21" fmla="*/ 317 h 372"/>
                  <a:gd name="T22" fmla="*/ 85 w 496"/>
                  <a:gd name="T23" fmla="*/ 318 h 372"/>
                  <a:gd name="T24" fmla="*/ 72 w 496"/>
                  <a:gd name="T25" fmla="*/ 310 h 372"/>
                  <a:gd name="T26" fmla="*/ 79 w 496"/>
                  <a:gd name="T27" fmla="*/ 298 h 372"/>
                  <a:gd name="T28" fmla="*/ 73 w 496"/>
                  <a:gd name="T29" fmla="*/ 281 h 372"/>
                  <a:gd name="T30" fmla="*/ 31 w 496"/>
                  <a:gd name="T31" fmla="*/ 245 h 372"/>
                  <a:gd name="T32" fmla="*/ 27 w 496"/>
                  <a:gd name="T33" fmla="*/ 246 h 372"/>
                  <a:gd name="T34" fmla="*/ 7 w 496"/>
                  <a:gd name="T35" fmla="*/ 231 h 372"/>
                  <a:gd name="T36" fmla="*/ 3 w 496"/>
                  <a:gd name="T37" fmla="*/ 219 h 372"/>
                  <a:gd name="T38" fmla="*/ 27 w 496"/>
                  <a:gd name="T39" fmla="*/ 205 h 372"/>
                  <a:gd name="T40" fmla="*/ 39 w 496"/>
                  <a:gd name="T41" fmla="*/ 207 h 372"/>
                  <a:gd name="T42" fmla="*/ 54 w 496"/>
                  <a:gd name="T43" fmla="*/ 173 h 372"/>
                  <a:gd name="T44" fmla="*/ 63 w 496"/>
                  <a:gd name="T45" fmla="*/ 146 h 372"/>
                  <a:gd name="T46" fmla="*/ 70 w 496"/>
                  <a:gd name="T47" fmla="*/ 118 h 372"/>
                  <a:gd name="T48" fmla="*/ 85 w 496"/>
                  <a:gd name="T49" fmla="*/ 86 h 372"/>
                  <a:gd name="T50" fmla="*/ 111 w 496"/>
                  <a:gd name="T51" fmla="*/ 66 h 372"/>
                  <a:gd name="T52" fmla="*/ 122 w 496"/>
                  <a:gd name="T53" fmla="*/ 51 h 372"/>
                  <a:gd name="T54" fmla="*/ 142 w 496"/>
                  <a:gd name="T55" fmla="*/ 55 h 372"/>
                  <a:gd name="T56" fmla="*/ 177 w 496"/>
                  <a:gd name="T57" fmla="*/ 57 h 372"/>
                  <a:gd name="T58" fmla="*/ 212 w 496"/>
                  <a:gd name="T59" fmla="*/ 63 h 372"/>
                  <a:gd name="T60" fmla="*/ 270 w 496"/>
                  <a:gd name="T61" fmla="*/ 30 h 372"/>
                  <a:gd name="T62" fmla="*/ 286 w 496"/>
                  <a:gd name="T63" fmla="*/ 6 h 372"/>
                  <a:gd name="T64" fmla="*/ 289 w 496"/>
                  <a:gd name="T65" fmla="*/ 0 h 372"/>
                  <a:gd name="T66" fmla="*/ 307 w 496"/>
                  <a:gd name="T67" fmla="*/ 9 h 372"/>
                  <a:gd name="T68" fmla="*/ 395 w 496"/>
                  <a:gd name="T69" fmla="*/ 105 h 372"/>
                  <a:gd name="T70" fmla="*/ 408 w 496"/>
                  <a:gd name="T71" fmla="*/ 176 h 372"/>
                  <a:gd name="T72" fmla="*/ 410 w 496"/>
                  <a:gd name="T73" fmla="*/ 184 h 372"/>
                  <a:gd name="T74" fmla="*/ 415 w 496"/>
                  <a:gd name="T75" fmla="*/ 189 h 372"/>
                  <a:gd name="T76" fmla="*/ 421 w 496"/>
                  <a:gd name="T77" fmla="*/ 196 h 372"/>
                  <a:gd name="T78" fmla="*/ 445 w 496"/>
                  <a:gd name="T79" fmla="*/ 191 h 372"/>
                  <a:gd name="T80" fmla="*/ 470 w 496"/>
                  <a:gd name="T81" fmla="*/ 175 h 372"/>
                  <a:gd name="T82" fmla="*/ 489 w 496"/>
                  <a:gd name="T83" fmla="*/ 186 h 372"/>
                  <a:gd name="T84" fmla="*/ 493 w 496"/>
                  <a:gd name="T85" fmla="*/ 189 h 372"/>
                  <a:gd name="T86" fmla="*/ 496 w 496"/>
                  <a:gd name="T87" fmla="*/ 213 h 372"/>
                  <a:gd name="T88" fmla="*/ 467 w 496"/>
                  <a:gd name="T89" fmla="*/ 234 h 372"/>
                  <a:gd name="T90" fmla="*/ 456 w 496"/>
                  <a:gd name="T91" fmla="*/ 216 h 372"/>
                  <a:gd name="T92" fmla="*/ 457 w 496"/>
                  <a:gd name="T93" fmla="*/ 239 h 372"/>
                  <a:gd name="T94" fmla="*/ 466 w 496"/>
                  <a:gd name="T95" fmla="*/ 238 h 372"/>
                  <a:gd name="T96" fmla="*/ 465 w 496"/>
                  <a:gd name="T97" fmla="*/ 240 h 372"/>
                  <a:gd name="T98" fmla="*/ 463 w 496"/>
                  <a:gd name="T99" fmla="*/ 307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96" h="372">
                    <a:moveTo>
                      <a:pt x="462" y="307"/>
                    </a:moveTo>
                    <a:cubicBezTo>
                      <a:pt x="453" y="309"/>
                      <a:pt x="439" y="314"/>
                      <a:pt x="430" y="306"/>
                    </a:cubicBezTo>
                    <a:cubicBezTo>
                      <a:pt x="427" y="304"/>
                      <a:pt x="427" y="296"/>
                      <a:pt x="423" y="298"/>
                    </a:cubicBezTo>
                    <a:cubicBezTo>
                      <a:pt x="422" y="298"/>
                      <a:pt x="420" y="301"/>
                      <a:pt x="419" y="301"/>
                    </a:cubicBezTo>
                    <a:cubicBezTo>
                      <a:pt x="410" y="306"/>
                      <a:pt x="414" y="303"/>
                      <a:pt x="415" y="301"/>
                    </a:cubicBezTo>
                    <a:cubicBezTo>
                      <a:pt x="415" y="299"/>
                      <a:pt x="414" y="298"/>
                      <a:pt x="409" y="298"/>
                    </a:cubicBezTo>
                    <a:cubicBezTo>
                      <a:pt x="404" y="298"/>
                      <a:pt x="401" y="303"/>
                      <a:pt x="396" y="304"/>
                    </a:cubicBezTo>
                    <a:cubicBezTo>
                      <a:pt x="392" y="304"/>
                      <a:pt x="391" y="302"/>
                      <a:pt x="390" y="300"/>
                    </a:cubicBezTo>
                    <a:cubicBezTo>
                      <a:pt x="388" y="298"/>
                      <a:pt x="385" y="295"/>
                      <a:pt x="369" y="301"/>
                    </a:cubicBezTo>
                    <a:cubicBezTo>
                      <a:pt x="358" y="305"/>
                      <a:pt x="338" y="314"/>
                      <a:pt x="330" y="323"/>
                    </a:cubicBezTo>
                    <a:cubicBezTo>
                      <a:pt x="320" y="332"/>
                      <a:pt x="319" y="344"/>
                      <a:pt x="306" y="352"/>
                    </a:cubicBezTo>
                    <a:cubicBezTo>
                      <a:pt x="295" y="359"/>
                      <a:pt x="286" y="354"/>
                      <a:pt x="275" y="354"/>
                    </a:cubicBezTo>
                    <a:cubicBezTo>
                      <a:pt x="266" y="353"/>
                      <a:pt x="256" y="353"/>
                      <a:pt x="248" y="356"/>
                    </a:cubicBezTo>
                    <a:cubicBezTo>
                      <a:pt x="245" y="357"/>
                      <a:pt x="243" y="361"/>
                      <a:pt x="240" y="362"/>
                    </a:cubicBezTo>
                    <a:cubicBezTo>
                      <a:pt x="231" y="366"/>
                      <a:pt x="221" y="364"/>
                      <a:pt x="211" y="362"/>
                    </a:cubicBezTo>
                    <a:cubicBezTo>
                      <a:pt x="204" y="361"/>
                      <a:pt x="196" y="360"/>
                      <a:pt x="190" y="361"/>
                    </a:cubicBezTo>
                    <a:cubicBezTo>
                      <a:pt x="177" y="362"/>
                      <a:pt x="173" y="372"/>
                      <a:pt x="160" y="366"/>
                    </a:cubicBezTo>
                    <a:cubicBezTo>
                      <a:pt x="150" y="362"/>
                      <a:pt x="172" y="350"/>
                      <a:pt x="166" y="348"/>
                    </a:cubicBezTo>
                    <a:cubicBezTo>
                      <a:pt x="157" y="344"/>
                      <a:pt x="130" y="338"/>
                      <a:pt x="132" y="323"/>
                    </a:cubicBezTo>
                    <a:cubicBezTo>
                      <a:pt x="132" y="318"/>
                      <a:pt x="151" y="318"/>
                      <a:pt x="146" y="315"/>
                    </a:cubicBezTo>
                    <a:cubicBezTo>
                      <a:pt x="86" y="285"/>
                      <a:pt x="139" y="312"/>
                      <a:pt x="115" y="326"/>
                    </a:cubicBezTo>
                    <a:cubicBezTo>
                      <a:pt x="111" y="329"/>
                      <a:pt x="109" y="319"/>
                      <a:pt x="105" y="317"/>
                    </a:cubicBezTo>
                    <a:cubicBezTo>
                      <a:pt x="102" y="315"/>
                      <a:pt x="98" y="317"/>
                      <a:pt x="95" y="317"/>
                    </a:cubicBezTo>
                    <a:cubicBezTo>
                      <a:pt x="92" y="317"/>
                      <a:pt x="88" y="319"/>
                      <a:pt x="85" y="318"/>
                    </a:cubicBezTo>
                    <a:cubicBezTo>
                      <a:pt x="83" y="317"/>
                      <a:pt x="84" y="314"/>
                      <a:pt x="83" y="311"/>
                    </a:cubicBezTo>
                    <a:cubicBezTo>
                      <a:pt x="82" y="309"/>
                      <a:pt x="77" y="309"/>
                      <a:pt x="72" y="310"/>
                    </a:cubicBezTo>
                    <a:cubicBezTo>
                      <a:pt x="66" y="310"/>
                      <a:pt x="62" y="311"/>
                      <a:pt x="70" y="305"/>
                    </a:cubicBezTo>
                    <a:cubicBezTo>
                      <a:pt x="73" y="303"/>
                      <a:pt x="82" y="301"/>
                      <a:pt x="79" y="298"/>
                    </a:cubicBezTo>
                    <a:cubicBezTo>
                      <a:pt x="76" y="297"/>
                      <a:pt x="70" y="298"/>
                      <a:pt x="69" y="295"/>
                    </a:cubicBezTo>
                    <a:cubicBezTo>
                      <a:pt x="69" y="292"/>
                      <a:pt x="80" y="285"/>
                      <a:pt x="73" y="281"/>
                    </a:cubicBezTo>
                    <a:cubicBezTo>
                      <a:pt x="62" y="275"/>
                      <a:pt x="40" y="277"/>
                      <a:pt x="33" y="264"/>
                    </a:cubicBezTo>
                    <a:cubicBezTo>
                      <a:pt x="31" y="262"/>
                      <a:pt x="31" y="248"/>
                      <a:pt x="31" y="245"/>
                    </a:cubicBezTo>
                    <a:cubicBezTo>
                      <a:pt x="31" y="244"/>
                      <a:pt x="31" y="244"/>
                      <a:pt x="31" y="244"/>
                    </a:cubicBezTo>
                    <a:cubicBezTo>
                      <a:pt x="30" y="244"/>
                      <a:pt x="28" y="247"/>
                      <a:pt x="27" y="246"/>
                    </a:cubicBezTo>
                    <a:cubicBezTo>
                      <a:pt x="23" y="244"/>
                      <a:pt x="23" y="238"/>
                      <a:pt x="19" y="235"/>
                    </a:cubicBezTo>
                    <a:cubicBezTo>
                      <a:pt x="16" y="233"/>
                      <a:pt x="11" y="233"/>
                      <a:pt x="7" y="231"/>
                    </a:cubicBezTo>
                    <a:cubicBezTo>
                      <a:pt x="4" y="229"/>
                      <a:pt x="2" y="225"/>
                      <a:pt x="0" y="222"/>
                    </a:cubicBezTo>
                    <a:cubicBezTo>
                      <a:pt x="1" y="221"/>
                      <a:pt x="2" y="219"/>
                      <a:pt x="3" y="219"/>
                    </a:cubicBezTo>
                    <a:cubicBezTo>
                      <a:pt x="6" y="218"/>
                      <a:pt x="23" y="216"/>
                      <a:pt x="24" y="212"/>
                    </a:cubicBezTo>
                    <a:cubicBezTo>
                      <a:pt x="26" y="210"/>
                      <a:pt x="17" y="207"/>
                      <a:pt x="27" y="205"/>
                    </a:cubicBezTo>
                    <a:cubicBezTo>
                      <a:pt x="29" y="205"/>
                      <a:pt x="31" y="206"/>
                      <a:pt x="33" y="206"/>
                    </a:cubicBezTo>
                    <a:cubicBezTo>
                      <a:pt x="35" y="207"/>
                      <a:pt x="37" y="208"/>
                      <a:pt x="39" y="207"/>
                    </a:cubicBezTo>
                    <a:cubicBezTo>
                      <a:pt x="49" y="203"/>
                      <a:pt x="46" y="183"/>
                      <a:pt x="49" y="177"/>
                    </a:cubicBezTo>
                    <a:cubicBezTo>
                      <a:pt x="50" y="175"/>
                      <a:pt x="53" y="175"/>
                      <a:pt x="54" y="173"/>
                    </a:cubicBezTo>
                    <a:cubicBezTo>
                      <a:pt x="60" y="154"/>
                      <a:pt x="60" y="154"/>
                      <a:pt x="60" y="154"/>
                    </a:cubicBezTo>
                    <a:cubicBezTo>
                      <a:pt x="61" y="151"/>
                      <a:pt x="63" y="148"/>
                      <a:pt x="63" y="146"/>
                    </a:cubicBezTo>
                    <a:cubicBezTo>
                      <a:pt x="63" y="145"/>
                      <a:pt x="60" y="145"/>
                      <a:pt x="60" y="143"/>
                    </a:cubicBezTo>
                    <a:cubicBezTo>
                      <a:pt x="61" y="138"/>
                      <a:pt x="67" y="122"/>
                      <a:pt x="70" y="118"/>
                    </a:cubicBezTo>
                    <a:cubicBezTo>
                      <a:pt x="71" y="117"/>
                      <a:pt x="74" y="118"/>
                      <a:pt x="74" y="116"/>
                    </a:cubicBezTo>
                    <a:cubicBezTo>
                      <a:pt x="76" y="105"/>
                      <a:pt x="73" y="98"/>
                      <a:pt x="85" y="86"/>
                    </a:cubicBezTo>
                    <a:cubicBezTo>
                      <a:pt x="89" y="81"/>
                      <a:pt x="93" y="84"/>
                      <a:pt x="100" y="82"/>
                    </a:cubicBezTo>
                    <a:cubicBezTo>
                      <a:pt x="106" y="79"/>
                      <a:pt x="106" y="70"/>
                      <a:pt x="111" y="66"/>
                    </a:cubicBezTo>
                    <a:cubicBezTo>
                      <a:pt x="113" y="67"/>
                      <a:pt x="116" y="65"/>
                      <a:pt x="120" y="54"/>
                    </a:cubicBezTo>
                    <a:cubicBezTo>
                      <a:pt x="121" y="53"/>
                      <a:pt x="121" y="51"/>
                      <a:pt x="122" y="51"/>
                    </a:cubicBezTo>
                    <a:cubicBezTo>
                      <a:pt x="123" y="51"/>
                      <a:pt x="138" y="58"/>
                      <a:pt x="139" y="58"/>
                    </a:cubicBezTo>
                    <a:cubicBezTo>
                      <a:pt x="140" y="58"/>
                      <a:pt x="141" y="55"/>
                      <a:pt x="142" y="55"/>
                    </a:cubicBezTo>
                    <a:cubicBezTo>
                      <a:pt x="146" y="53"/>
                      <a:pt x="153" y="54"/>
                      <a:pt x="160" y="56"/>
                    </a:cubicBezTo>
                    <a:cubicBezTo>
                      <a:pt x="166" y="57"/>
                      <a:pt x="173" y="58"/>
                      <a:pt x="177" y="57"/>
                    </a:cubicBezTo>
                    <a:cubicBezTo>
                      <a:pt x="182" y="55"/>
                      <a:pt x="186" y="51"/>
                      <a:pt x="191" y="50"/>
                    </a:cubicBezTo>
                    <a:cubicBezTo>
                      <a:pt x="200" y="49"/>
                      <a:pt x="206" y="61"/>
                      <a:pt x="212" y="63"/>
                    </a:cubicBezTo>
                    <a:cubicBezTo>
                      <a:pt x="221" y="66"/>
                      <a:pt x="224" y="50"/>
                      <a:pt x="226" y="48"/>
                    </a:cubicBezTo>
                    <a:cubicBezTo>
                      <a:pt x="236" y="37"/>
                      <a:pt x="262" y="38"/>
                      <a:pt x="270" y="30"/>
                    </a:cubicBezTo>
                    <a:cubicBezTo>
                      <a:pt x="285" y="16"/>
                      <a:pt x="263" y="28"/>
                      <a:pt x="274" y="14"/>
                    </a:cubicBezTo>
                    <a:cubicBezTo>
                      <a:pt x="277" y="10"/>
                      <a:pt x="281" y="8"/>
                      <a:pt x="286" y="6"/>
                    </a:cubicBezTo>
                    <a:cubicBezTo>
                      <a:pt x="286" y="5"/>
                      <a:pt x="286" y="5"/>
                      <a:pt x="286" y="5"/>
                    </a:cubicBezTo>
                    <a:cubicBezTo>
                      <a:pt x="289" y="0"/>
                      <a:pt x="289" y="0"/>
                      <a:pt x="289" y="0"/>
                    </a:cubicBezTo>
                    <a:cubicBezTo>
                      <a:pt x="288" y="1"/>
                      <a:pt x="288" y="3"/>
                      <a:pt x="288" y="4"/>
                    </a:cubicBezTo>
                    <a:cubicBezTo>
                      <a:pt x="296" y="0"/>
                      <a:pt x="301" y="4"/>
                      <a:pt x="307" y="9"/>
                    </a:cubicBezTo>
                    <a:cubicBezTo>
                      <a:pt x="319" y="17"/>
                      <a:pt x="321" y="31"/>
                      <a:pt x="331" y="41"/>
                    </a:cubicBezTo>
                    <a:cubicBezTo>
                      <a:pt x="347" y="56"/>
                      <a:pt x="390" y="83"/>
                      <a:pt x="395" y="105"/>
                    </a:cubicBezTo>
                    <a:cubicBezTo>
                      <a:pt x="399" y="120"/>
                      <a:pt x="394" y="135"/>
                      <a:pt x="397" y="150"/>
                    </a:cubicBezTo>
                    <a:cubicBezTo>
                      <a:pt x="398" y="156"/>
                      <a:pt x="409" y="170"/>
                      <a:pt x="408" y="176"/>
                    </a:cubicBezTo>
                    <a:cubicBezTo>
                      <a:pt x="408" y="178"/>
                      <a:pt x="404" y="179"/>
                      <a:pt x="404" y="181"/>
                    </a:cubicBezTo>
                    <a:cubicBezTo>
                      <a:pt x="405" y="184"/>
                      <a:pt x="408" y="182"/>
                      <a:pt x="410" y="184"/>
                    </a:cubicBezTo>
                    <a:cubicBezTo>
                      <a:pt x="411" y="185"/>
                      <a:pt x="411" y="189"/>
                      <a:pt x="414" y="189"/>
                    </a:cubicBezTo>
                    <a:cubicBezTo>
                      <a:pt x="414" y="189"/>
                      <a:pt x="415" y="189"/>
                      <a:pt x="415" y="189"/>
                    </a:cubicBezTo>
                    <a:cubicBezTo>
                      <a:pt x="416" y="189"/>
                      <a:pt x="417" y="189"/>
                      <a:pt x="418" y="189"/>
                    </a:cubicBezTo>
                    <a:cubicBezTo>
                      <a:pt x="419" y="191"/>
                      <a:pt x="419" y="194"/>
                      <a:pt x="421" y="196"/>
                    </a:cubicBezTo>
                    <a:cubicBezTo>
                      <a:pt x="423" y="198"/>
                      <a:pt x="448" y="199"/>
                      <a:pt x="447" y="197"/>
                    </a:cubicBezTo>
                    <a:cubicBezTo>
                      <a:pt x="447" y="196"/>
                      <a:pt x="439" y="194"/>
                      <a:pt x="445" y="191"/>
                    </a:cubicBezTo>
                    <a:cubicBezTo>
                      <a:pt x="448" y="189"/>
                      <a:pt x="452" y="190"/>
                      <a:pt x="456" y="188"/>
                    </a:cubicBezTo>
                    <a:cubicBezTo>
                      <a:pt x="461" y="185"/>
                      <a:pt x="463" y="177"/>
                      <a:pt x="470" y="175"/>
                    </a:cubicBezTo>
                    <a:cubicBezTo>
                      <a:pt x="482" y="171"/>
                      <a:pt x="488" y="175"/>
                      <a:pt x="491" y="186"/>
                    </a:cubicBezTo>
                    <a:cubicBezTo>
                      <a:pt x="491" y="186"/>
                      <a:pt x="489" y="186"/>
                      <a:pt x="489" y="186"/>
                    </a:cubicBezTo>
                    <a:cubicBezTo>
                      <a:pt x="489" y="188"/>
                      <a:pt x="490" y="189"/>
                      <a:pt x="491" y="190"/>
                    </a:cubicBezTo>
                    <a:cubicBezTo>
                      <a:pt x="492" y="190"/>
                      <a:pt x="492" y="190"/>
                      <a:pt x="493" y="189"/>
                    </a:cubicBezTo>
                    <a:cubicBezTo>
                      <a:pt x="493" y="189"/>
                      <a:pt x="494" y="189"/>
                      <a:pt x="494" y="189"/>
                    </a:cubicBezTo>
                    <a:cubicBezTo>
                      <a:pt x="495" y="191"/>
                      <a:pt x="496" y="211"/>
                      <a:pt x="496" y="213"/>
                    </a:cubicBezTo>
                    <a:cubicBezTo>
                      <a:pt x="495" y="220"/>
                      <a:pt x="478" y="221"/>
                      <a:pt x="474" y="224"/>
                    </a:cubicBezTo>
                    <a:cubicBezTo>
                      <a:pt x="471" y="227"/>
                      <a:pt x="471" y="234"/>
                      <a:pt x="467" y="234"/>
                    </a:cubicBezTo>
                    <a:cubicBezTo>
                      <a:pt x="467" y="233"/>
                      <a:pt x="471" y="215"/>
                      <a:pt x="463" y="210"/>
                    </a:cubicBezTo>
                    <a:cubicBezTo>
                      <a:pt x="461" y="209"/>
                      <a:pt x="457" y="214"/>
                      <a:pt x="456" y="216"/>
                    </a:cubicBezTo>
                    <a:cubicBezTo>
                      <a:pt x="453" y="220"/>
                      <a:pt x="463" y="224"/>
                      <a:pt x="463" y="228"/>
                    </a:cubicBezTo>
                    <a:cubicBezTo>
                      <a:pt x="463" y="233"/>
                      <a:pt x="454" y="236"/>
                      <a:pt x="457" y="239"/>
                    </a:cubicBezTo>
                    <a:cubicBezTo>
                      <a:pt x="459" y="242"/>
                      <a:pt x="463" y="234"/>
                      <a:pt x="467" y="234"/>
                    </a:cubicBezTo>
                    <a:cubicBezTo>
                      <a:pt x="469" y="233"/>
                      <a:pt x="467" y="237"/>
                      <a:pt x="466" y="238"/>
                    </a:cubicBezTo>
                    <a:cubicBezTo>
                      <a:pt x="465" y="238"/>
                      <a:pt x="465" y="239"/>
                      <a:pt x="463" y="240"/>
                    </a:cubicBezTo>
                    <a:cubicBezTo>
                      <a:pt x="464" y="239"/>
                      <a:pt x="465" y="239"/>
                      <a:pt x="465" y="240"/>
                    </a:cubicBezTo>
                    <a:cubicBezTo>
                      <a:pt x="469" y="242"/>
                      <a:pt x="455" y="264"/>
                      <a:pt x="455" y="265"/>
                    </a:cubicBezTo>
                    <a:cubicBezTo>
                      <a:pt x="456" y="269"/>
                      <a:pt x="461" y="289"/>
                      <a:pt x="463" y="307"/>
                    </a:cubicBezTo>
                    <a:cubicBezTo>
                      <a:pt x="462" y="307"/>
                      <a:pt x="462" y="307"/>
                      <a:pt x="462" y="307"/>
                    </a:cubicBezTo>
                  </a:path>
                </a:pathLst>
              </a:custGeom>
              <a:solidFill>
                <a:srgbClr val="405F9E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126" name="Bulgaria" descr="{&quot;Key&quot;:&quot;bulgaria&quot;,&quot;Name&quot;:&quot;Bulgaria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7717FAF7-B0FC-9735-B401-E7C1159050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0146" y="5282092"/>
                <a:ext cx="562770" cy="458751"/>
              </a:xfrm>
              <a:custGeom>
                <a:avLst/>
                <a:gdLst>
                  <a:gd name="T0" fmla="*/ 238 w 336"/>
                  <a:gd name="T1" fmla="*/ 187 h 255"/>
                  <a:gd name="T2" fmla="*/ 221 w 336"/>
                  <a:gd name="T3" fmla="*/ 223 h 255"/>
                  <a:gd name="T4" fmla="*/ 190 w 336"/>
                  <a:gd name="T5" fmla="*/ 232 h 255"/>
                  <a:gd name="T6" fmla="*/ 166 w 336"/>
                  <a:gd name="T7" fmla="*/ 233 h 255"/>
                  <a:gd name="T8" fmla="*/ 160 w 336"/>
                  <a:gd name="T9" fmla="*/ 230 h 255"/>
                  <a:gd name="T10" fmla="*/ 149 w 336"/>
                  <a:gd name="T11" fmla="*/ 221 h 255"/>
                  <a:gd name="T12" fmla="*/ 137 w 336"/>
                  <a:gd name="T13" fmla="*/ 225 h 255"/>
                  <a:gd name="T14" fmla="*/ 103 w 336"/>
                  <a:gd name="T15" fmla="*/ 242 h 255"/>
                  <a:gd name="T16" fmla="*/ 77 w 336"/>
                  <a:gd name="T17" fmla="*/ 253 h 255"/>
                  <a:gd name="T18" fmla="*/ 63 w 336"/>
                  <a:gd name="T19" fmla="*/ 253 h 255"/>
                  <a:gd name="T20" fmla="*/ 63 w 336"/>
                  <a:gd name="T21" fmla="*/ 222 h 255"/>
                  <a:gd name="T22" fmla="*/ 37 w 336"/>
                  <a:gd name="T23" fmla="*/ 201 h 255"/>
                  <a:gd name="T24" fmla="*/ 29 w 336"/>
                  <a:gd name="T25" fmla="*/ 174 h 255"/>
                  <a:gd name="T26" fmla="*/ 23 w 336"/>
                  <a:gd name="T27" fmla="*/ 170 h 255"/>
                  <a:gd name="T28" fmla="*/ 21 w 336"/>
                  <a:gd name="T29" fmla="*/ 161 h 255"/>
                  <a:gd name="T30" fmla="*/ 26 w 336"/>
                  <a:gd name="T31" fmla="*/ 143 h 255"/>
                  <a:gd name="T32" fmla="*/ 45 w 336"/>
                  <a:gd name="T33" fmla="*/ 117 h 255"/>
                  <a:gd name="T34" fmla="*/ 4 w 336"/>
                  <a:gd name="T35" fmla="*/ 65 h 255"/>
                  <a:gd name="T36" fmla="*/ 15 w 336"/>
                  <a:gd name="T37" fmla="*/ 45 h 255"/>
                  <a:gd name="T38" fmla="*/ 29 w 336"/>
                  <a:gd name="T39" fmla="*/ 71 h 255"/>
                  <a:gd name="T40" fmla="*/ 80 w 336"/>
                  <a:gd name="T41" fmla="*/ 67 h 255"/>
                  <a:gd name="T42" fmla="*/ 117 w 336"/>
                  <a:gd name="T43" fmla="*/ 61 h 255"/>
                  <a:gd name="T44" fmla="*/ 175 w 336"/>
                  <a:gd name="T45" fmla="*/ 57 h 255"/>
                  <a:gd name="T46" fmla="*/ 238 w 336"/>
                  <a:gd name="T47" fmla="*/ 6 h 255"/>
                  <a:gd name="T48" fmla="*/ 265 w 336"/>
                  <a:gd name="T49" fmla="*/ 9 h 255"/>
                  <a:gd name="T50" fmla="*/ 284 w 336"/>
                  <a:gd name="T51" fmla="*/ 6 h 255"/>
                  <a:gd name="T52" fmla="*/ 292 w 336"/>
                  <a:gd name="T53" fmla="*/ 3 h 255"/>
                  <a:gd name="T54" fmla="*/ 331 w 336"/>
                  <a:gd name="T55" fmla="*/ 12 h 255"/>
                  <a:gd name="T56" fmla="*/ 332 w 336"/>
                  <a:gd name="T57" fmla="*/ 41 h 255"/>
                  <a:gd name="T58" fmla="*/ 324 w 336"/>
                  <a:gd name="T59" fmla="*/ 39 h 255"/>
                  <a:gd name="T60" fmla="*/ 305 w 336"/>
                  <a:gd name="T61" fmla="*/ 61 h 255"/>
                  <a:gd name="T62" fmla="*/ 311 w 336"/>
                  <a:gd name="T63" fmla="*/ 86 h 255"/>
                  <a:gd name="T64" fmla="*/ 304 w 336"/>
                  <a:gd name="T65" fmla="*/ 100 h 255"/>
                  <a:gd name="T66" fmla="*/ 301 w 336"/>
                  <a:gd name="T67" fmla="*/ 106 h 255"/>
                  <a:gd name="T68" fmla="*/ 293 w 336"/>
                  <a:gd name="T69" fmla="*/ 119 h 255"/>
                  <a:gd name="T70" fmla="*/ 314 w 336"/>
                  <a:gd name="T71" fmla="*/ 127 h 255"/>
                  <a:gd name="T72" fmla="*/ 329 w 336"/>
                  <a:gd name="T73" fmla="*/ 141 h 255"/>
                  <a:gd name="T74" fmla="*/ 331 w 336"/>
                  <a:gd name="T75" fmla="*/ 147 h 255"/>
                  <a:gd name="T76" fmla="*/ 309 w 336"/>
                  <a:gd name="T77" fmla="*/ 157 h 255"/>
                  <a:gd name="T78" fmla="*/ 279 w 336"/>
                  <a:gd name="T79" fmla="*/ 153 h 255"/>
                  <a:gd name="T80" fmla="*/ 263 w 336"/>
                  <a:gd name="T81" fmla="*/ 164 h 255"/>
                  <a:gd name="T82" fmla="*/ 255 w 336"/>
                  <a:gd name="T83" fmla="*/ 177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36" h="255">
                    <a:moveTo>
                      <a:pt x="245" y="188"/>
                    </a:moveTo>
                    <a:cubicBezTo>
                      <a:pt x="243" y="187"/>
                      <a:pt x="240" y="187"/>
                      <a:pt x="238" y="187"/>
                    </a:cubicBezTo>
                    <a:cubicBezTo>
                      <a:pt x="216" y="192"/>
                      <a:pt x="252" y="208"/>
                      <a:pt x="239" y="217"/>
                    </a:cubicBezTo>
                    <a:cubicBezTo>
                      <a:pt x="239" y="217"/>
                      <a:pt x="222" y="223"/>
                      <a:pt x="221" y="223"/>
                    </a:cubicBezTo>
                    <a:cubicBezTo>
                      <a:pt x="213" y="226"/>
                      <a:pt x="200" y="236"/>
                      <a:pt x="192" y="235"/>
                    </a:cubicBezTo>
                    <a:cubicBezTo>
                      <a:pt x="190" y="235"/>
                      <a:pt x="191" y="233"/>
                      <a:pt x="190" y="232"/>
                    </a:cubicBezTo>
                    <a:cubicBezTo>
                      <a:pt x="184" y="229"/>
                      <a:pt x="177" y="226"/>
                      <a:pt x="171" y="227"/>
                    </a:cubicBezTo>
                    <a:cubicBezTo>
                      <a:pt x="168" y="228"/>
                      <a:pt x="168" y="233"/>
                      <a:pt x="166" y="233"/>
                    </a:cubicBezTo>
                    <a:cubicBezTo>
                      <a:pt x="164" y="234"/>
                      <a:pt x="163" y="230"/>
                      <a:pt x="162" y="229"/>
                    </a:cubicBezTo>
                    <a:cubicBezTo>
                      <a:pt x="161" y="229"/>
                      <a:pt x="160" y="229"/>
                      <a:pt x="160" y="230"/>
                    </a:cubicBezTo>
                    <a:cubicBezTo>
                      <a:pt x="159" y="230"/>
                      <a:pt x="159" y="230"/>
                      <a:pt x="158" y="230"/>
                    </a:cubicBezTo>
                    <a:cubicBezTo>
                      <a:pt x="154" y="227"/>
                      <a:pt x="153" y="221"/>
                      <a:pt x="149" y="221"/>
                    </a:cubicBezTo>
                    <a:cubicBezTo>
                      <a:pt x="145" y="220"/>
                      <a:pt x="144" y="225"/>
                      <a:pt x="140" y="226"/>
                    </a:cubicBezTo>
                    <a:cubicBezTo>
                      <a:pt x="139" y="226"/>
                      <a:pt x="138" y="225"/>
                      <a:pt x="137" y="225"/>
                    </a:cubicBezTo>
                    <a:cubicBezTo>
                      <a:pt x="135" y="224"/>
                      <a:pt x="134" y="223"/>
                      <a:pt x="133" y="224"/>
                    </a:cubicBezTo>
                    <a:cubicBezTo>
                      <a:pt x="123" y="230"/>
                      <a:pt x="119" y="237"/>
                      <a:pt x="103" y="242"/>
                    </a:cubicBezTo>
                    <a:cubicBezTo>
                      <a:pt x="97" y="244"/>
                      <a:pt x="88" y="242"/>
                      <a:pt x="82" y="246"/>
                    </a:cubicBezTo>
                    <a:cubicBezTo>
                      <a:pt x="80" y="247"/>
                      <a:pt x="80" y="252"/>
                      <a:pt x="77" y="253"/>
                    </a:cubicBezTo>
                    <a:cubicBezTo>
                      <a:pt x="76" y="255"/>
                      <a:pt x="73" y="253"/>
                      <a:pt x="71" y="253"/>
                    </a:cubicBezTo>
                    <a:cubicBezTo>
                      <a:pt x="68" y="253"/>
                      <a:pt x="65" y="253"/>
                      <a:pt x="63" y="253"/>
                    </a:cubicBezTo>
                    <a:cubicBezTo>
                      <a:pt x="63" y="254"/>
                      <a:pt x="63" y="255"/>
                      <a:pt x="63" y="255"/>
                    </a:cubicBezTo>
                    <a:cubicBezTo>
                      <a:pt x="64" y="251"/>
                      <a:pt x="63" y="222"/>
                      <a:pt x="63" y="222"/>
                    </a:cubicBezTo>
                    <a:cubicBezTo>
                      <a:pt x="59" y="218"/>
                      <a:pt x="52" y="207"/>
                      <a:pt x="47" y="203"/>
                    </a:cubicBezTo>
                    <a:cubicBezTo>
                      <a:pt x="45" y="201"/>
                      <a:pt x="41" y="203"/>
                      <a:pt x="37" y="201"/>
                    </a:cubicBezTo>
                    <a:cubicBezTo>
                      <a:pt x="36" y="201"/>
                      <a:pt x="21" y="189"/>
                      <a:pt x="21" y="188"/>
                    </a:cubicBezTo>
                    <a:cubicBezTo>
                      <a:pt x="24" y="183"/>
                      <a:pt x="31" y="182"/>
                      <a:pt x="29" y="174"/>
                    </a:cubicBezTo>
                    <a:cubicBezTo>
                      <a:pt x="28" y="172"/>
                      <a:pt x="26" y="171"/>
                      <a:pt x="25" y="170"/>
                    </a:cubicBezTo>
                    <a:cubicBezTo>
                      <a:pt x="24" y="170"/>
                      <a:pt x="24" y="170"/>
                      <a:pt x="23" y="170"/>
                    </a:cubicBezTo>
                    <a:cubicBezTo>
                      <a:pt x="22" y="170"/>
                      <a:pt x="22" y="170"/>
                      <a:pt x="21" y="169"/>
                    </a:cubicBezTo>
                    <a:cubicBezTo>
                      <a:pt x="21" y="166"/>
                      <a:pt x="21" y="164"/>
                      <a:pt x="21" y="161"/>
                    </a:cubicBezTo>
                    <a:cubicBezTo>
                      <a:pt x="21" y="157"/>
                      <a:pt x="17" y="154"/>
                      <a:pt x="18" y="151"/>
                    </a:cubicBezTo>
                    <a:cubicBezTo>
                      <a:pt x="28" y="136"/>
                      <a:pt x="26" y="140"/>
                      <a:pt x="26" y="143"/>
                    </a:cubicBezTo>
                    <a:cubicBezTo>
                      <a:pt x="26" y="146"/>
                      <a:pt x="26" y="149"/>
                      <a:pt x="34" y="143"/>
                    </a:cubicBezTo>
                    <a:cubicBezTo>
                      <a:pt x="36" y="141"/>
                      <a:pt x="48" y="121"/>
                      <a:pt x="45" y="117"/>
                    </a:cubicBezTo>
                    <a:cubicBezTo>
                      <a:pt x="40" y="114"/>
                      <a:pt x="18" y="104"/>
                      <a:pt x="17" y="102"/>
                    </a:cubicBezTo>
                    <a:cubicBezTo>
                      <a:pt x="11" y="97"/>
                      <a:pt x="0" y="73"/>
                      <a:pt x="4" y="65"/>
                    </a:cubicBezTo>
                    <a:cubicBezTo>
                      <a:pt x="5" y="61"/>
                      <a:pt x="12" y="61"/>
                      <a:pt x="14" y="58"/>
                    </a:cubicBezTo>
                    <a:cubicBezTo>
                      <a:pt x="16" y="54"/>
                      <a:pt x="13" y="49"/>
                      <a:pt x="15" y="45"/>
                    </a:cubicBezTo>
                    <a:cubicBezTo>
                      <a:pt x="22" y="48"/>
                      <a:pt x="31" y="50"/>
                      <a:pt x="35" y="53"/>
                    </a:cubicBezTo>
                    <a:cubicBezTo>
                      <a:pt x="41" y="55"/>
                      <a:pt x="19" y="67"/>
                      <a:pt x="29" y="71"/>
                    </a:cubicBezTo>
                    <a:cubicBezTo>
                      <a:pt x="42" y="77"/>
                      <a:pt x="46" y="67"/>
                      <a:pt x="59" y="66"/>
                    </a:cubicBezTo>
                    <a:cubicBezTo>
                      <a:pt x="65" y="65"/>
                      <a:pt x="73" y="66"/>
                      <a:pt x="80" y="67"/>
                    </a:cubicBezTo>
                    <a:cubicBezTo>
                      <a:pt x="90" y="69"/>
                      <a:pt x="100" y="71"/>
                      <a:pt x="109" y="67"/>
                    </a:cubicBezTo>
                    <a:cubicBezTo>
                      <a:pt x="112" y="66"/>
                      <a:pt x="114" y="62"/>
                      <a:pt x="117" y="61"/>
                    </a:cubicBezTo>
                    <a:cubicBezTo>
                      <a:pt x="125" y="58"/>
                      <a:pt x="135" y="58"/>
                      <a:pt x="144" y="59"/>
                    </a:cubicBezTo>
                    <a:cubicBezTo>
                      <a:pt x="155" y="59"/>
                      <a:pt x="164" y="64"/>
                      <a:pt x="175" y="57"/>
                    </a:cubicBezTo>
                    <a:cubicBezTo>
                      <a:pt x="188" y="49"/>
                      <a:pt x="189" y="37"/>
                      <a:pt x="199" y="28"/>
                    </a:cubicBezTo>
                    <a:cubicBezTo>
                      <a:pt x="207" y="19"/>
                      <a:pt x="227" y="10"/>
                      <a:pt x="238" y="6"/>
                    </a:cubicBezTo>
                    <a:cubicBezTo>
                      <a:pt x="254" y="0"/>
                      <a:pt x="257" y="3"/>
                      <a:pt x="259" y="5"/>
                    </a:cubicBezTo>
                    <a:cubicBezTo>
                      <a:pt x="260" y="7"/>
                      <a:pt x="261" y="9"/>
                      <a:pt x="265" y="9"/>
                    </a:cubicBezTo>
                    <a:cubicBezTo>
                      <a:pt x="270" y="8"/>
                      <a:pt x="273" y="3"/>
                      <a:pt x="278" y="3"/>
                    </a:cubicBezTo>
                    <a:cubicBezTo>
                      <a:pt x="283" y="3"/>
                      <a:pt x="284" y="4"/>
                      <a:pt x="284" y="6"/>
                    </a:cubicBezTo>
                    <a:cubicBezTo>
                      <a:pt x="283" y="8"/>
                      <a:pt x="279" y="11"/>
                      <a:pt x="288" y="6"/>
                    </a:cubicBezTo>
                    <a:cubicBezTo>
                      <a:pt x="289" y="6"/>
                      <a:pt x="291" y="3"/>
                      <a:pt x="292" y="3"/>
                    </a:cubicBezTo>
                    <a:cubicBezTo>
                      <a:pt x="296" y="1"/>
                      <a:pt x="296" y="9"/>
                      <a:pt x="299" y="11"/>
                    </a:cubicBezTo>
                    <a:cubicBezTo>
                      <a:pt x="308" y="19"/>
                      <a:pt x="322" y="14"/>
                      <a:pt x="331" y="12"/>
                    </a:cubicBezTo>
                    <a:cubicBezTo>
                      <a:pt x="332" y="12"/>
                      <a:pt x="332" y="12"/>
                      <a:pt x="332" y="12"/>
                    </a:cubicBezTo>
                    <a:cubicBezTo>
                      <a:pt x="335" y="26"/>
                      <a:pt x="336" y="39"/>
                      <a:pt x="332" y="41"/>
                    </a:cubicBezTo>
                    <a:cubicBezTo>
                      <a:pt x="331" y="42"/>
                      <a:pt x="329" y="41"/>
                      <a:pt x="328" y="40"/>
                    </a:cubicBezTo>
                    <a:cubicBezTo>
                      <a:pt x="327" y="40"/>
                      <a:pt x="325" y="39"/>
                      <a:pt x="324" y="39"/>
                    </a:cubicBezTo>
                    <a:cubicBezTo>
                      <a:pt x="303" y="45"/>
                      <a:pt x="317" y="44"/>
                      <a:pt x="310" y="57"/>
                    </a:cubicBezTo>
                    <a:cubicBezTo>
                      <a:pt x="310" y="59"/>
                      <a:pt x="306" y="59"/>
                      <a:pt x="305" y="61"/>
                    </a:cubicBezTo>
                    <a:cubicBezTo>
                      <a:pt x="305" y="62"/>
                      <a:pt x="308" y="61"/>
                      <a:pt x="308" y="62"/>
                    </a:cubicBezTo>
                    <a:cubicBezTo>
                      <a:pt x="309" y="71"/>
                      <a:pt x="309" y="77"/>
                      <a:pt x="311" y="86"/>
                    </a:cubicBezTo>
                    <a:cubicBezTo>
                      <a:pt x="312" y="89"/>
                      <a:pt x="315" y="94"/>
                      <a:pt x="313" y="97"/>
                    </a:cubicBezTo>
                    <a:cubicBezTo>
                      <a:pt x="312" y="100"/>
                      <a:pt x="306" y="98"/>
                      <a:pt x="304" y="100"/>
                    </a:cubicBezTo>
                    <a:cubicBezTo>
                      <a:pt x="303" y="100"/>
                      <a:pt x="305" y="101"/>
                      <a:pt x="305" y="101"/>
                    </a:cubicBezTo>
                    <a:cubicBezTo>
                      <a:pt x="304" y="104"/>
                      <a:pt x="301" y="104"/>
                      <a:pt x="301" y="106"/>
                    </a:cubicBezTo>
                    <a:cubicBezTo>
                      <a:pt x="300" y="108"/>
                      <a:pt x="304" y="110"/>
                      <a:pt x="303" y="111"/>
                    </a:cubicBezTo>
                    <a:cubicBezTo>
                      <a:pt x="300" y="114"/>
                      <a:pt x="295" y="115"/>
                      <a:pt x="293" y="119"/>
                    </a:cubicBezTo>
                    <a:cubicBezTo>
                      <a:pt x="288" y="125"/>
                      <a:pt x="291" y="124"/>
                      <a:pt x="297" y="123"/>
                    </a:cubicBezTo>
                    <a:cubicBezTo>
                      <a:pt x="303" y="121"/>
                      <a:pt x="311" y="120"/>
                      <a:pt x="314" y="127"/>
                    </a:cubicBezTo>
                    <a:cubicBezTo>
                      <a:pt x="314" y="128"/>
                      <a:pt x="313" y="130"/>
                      <a:pt x="313" y="131"/>
                    </a:cubicBezTo>
                    <a:cubicBezTo>
                      <a:pt x="313" y="132"/>
                      <a:pt x="326" y="139"/>
                      <a:pt x="329" y="141"/>
                    </a:cubicBezTo>
                    <a:cubicBezTo>
                      <a:pt x="330" y="144"/>
                      <a:pt x="332" y="145"/>
                      <a:pt x="332" y="147"/>
                    </a:cubicBezTo>
                    <a:cubicBezTo>
                      <a:pt x="331" y="147"/>
                      <a:pt x="331" y="147"/>
                      <a:pt x="331" y="147"/>
                    </a:cubicBezTo>
                    <a:cubicBezTo>
                      <a:pt x="328" y="148"/>
                      <a:pt x="325" y="147"/>
                      <a:pt x="321" y="148"/>
                    </a:cubicBezTo>
                    <a:cubicBezTo>
                      <a:pt x="317" y="150"/>
                      <a:pt x="313" y="154"/>
                      <a:pt x="309" y="157"/>
                    </a:cubicBezTo>
                    <a:cubicBezTo>
                      <a:pt x="308" y="157"/>
                      <a:pt x="309" y="160"/>
                      <a:pt x="309" y="159"/>
                    </a:cubicBezTo>
                    <a:cubicBezTo>
                      <a:pt x="296" y="156"/>
                      <a:pt x="292" y="146"/>
                      <a:pt x="279" y="153"/>
                    </a:cubicBezTo>
                    <a:cubicBezTo>
                      <a:pt x="269" y="164"/>
                      <a:pt x="269" y="164"/>
                      <a:pt x="269" y="164"/>
                    </a:cubicBezTo>
                    <a:cubicBezTo>
                      <a:pt x="267" y="164"/>
                      <a:pt x="265" y="164"/>
                      <a:pt x="263" y="164"/>
                    </a:cubicBezTo>
                    <a:cubicBezTo>
                      <a:pt x="261" y="164"/>
                      <a:pt x="259" y="164"/>
                      <a:pt x="257" y="165"/>
                    </a:cubicBezTo>
                    <a:cubicBezTo>
                      <a:pt x="254" y="168"/>
                      <a:pt x="257" y="174"/>
                      <a:pt x="255" y="177"/>
                    </a:cubicBezTo>
                    <a:cubicBezTo>
                      <a:pt x="252" y="181"/>
                      <a:pt x="240" y="179"/>
                      <a:pt x="245" y="188"/>
                    </a:cubicBezTo>
                  </a:path>
                </a:pathLst>
              </a:custGeom>
              <a:solidFill>
                <a:srgbClr val="405F9E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127" name="Albania" descr="{&quot;Key&quot;:&quot;albania&quot;,&quot;Name&quot;:&quot;Albania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5A5FF447-8602-5D10-CBF7-F7AA171FF5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44305" y="5613411"/>
                <a:ext cx="192527" cy="391851"/>
              </a:xfrm>
              <a:custGeom>
                <a:avLst/>
                <a:gdLst>
                  <a:gd name="T0" fmla="*/ 107 w 115"/>
                  <a:gd name="T1" fmla="*/ 124 h 218"/>
                  <a:gd name="T2" fmla="*/ 113 w 115"/>
                  <a:gd name="T3" fmla="*/ 140 h 218"/>
                  <a:gd name="T4" fmla="*/ 106 w 115"/>
                  <a:gd name="T5" fmla="*/ 152 h 218"/>
                  <a:gd name="T6" fmla="*/ 100 w 115"/>
                  <a:gd name="T7" fmla="*/ 158 h 218"/>
                  <a:gd name="T8" fmla="*/ 97 w 115"/>
                  <a:gd name="T9" fmla="*/ 182 h 218"/>
                  <a:gd name="T10" fmla="*/ 78 w 115"/>
                  <a:gd name="T11" fmla="*/ 193 h 218"/>
                  <a:gd name="T12" fmla="*/ 85 w 115"/>
                  <a:gd name="T13" fmla="*/ 204 h 218"/>
                  <a:gd name="T14" fmla="*/ 82 w 115"/>
                  <a:gd name="T15" fmla="*/ 206 h 218"/>
                  <a:gd name="T16" fmla="*/ 79 w 115"/>
                  <a:gd name="T17" fmla="*/ 208 h 218"/>
                  <a:gd name="T18" fmla="*/ 71 w 115"/>
                  <a:gd name="T19" fmla="*/ 216 h 218"/>
                  <a:gd name="T20" fmla="*/ 64 w 115"/>
                  <a:gd name="T21" fmla="*/ 216 h 218"/>
                  <a:gd name="T22" fmla="*/ 64 w 115"/>
                  <a:gd name="T23" fmla="*/ 217 h 218"/>
                  <a:gd name="T24" fmla="*/ 62 w 115"/>
                  <a:gd name="T25" fmla="*/ 218 h 218"/>
                  <a:gd name="T26" fmla="*/ 61 w 115"/>
                  <a:gd name="T27" fmla="*/ 216 h 218"/>
                  <a:gd name="T28" fmla="*/ 61 w 115"/>
                  <a:gd name="T29" fmla="*/ 213 h 218"/>
                  <a:gd name="T30" fmla="*/ 62 w 115"/>
                  <a:gd name="T31" fmla="*/ 204 h 218"/>
                  <a:gd name="T32" fmla="*/ 56 w 115"/>
                  <a:gd name="T33" fmla="*/ 202 h 218"/>
                  <a:gd name="T34" fmla="*/ 52 w 115"/>
                  <a:gd name="T35" fmla="*/ 193 h 218"/>
                  <a:gd name="T36" fmla="*/ 16 w 115"/>
                  <a:gd name="T37" fmla="*/ 169 h 218"/>
                  <a:gd name="T38" fmla="*/ 21 w 115"/>
                  <a:gd name="T39" fmla="*/ 167 h 218"/>
                  <a:gd name="T40" fmla="*/ 27 w 115"/>
                  <a:gd name="T41" fmla="*/ 166 h 218"/>
                  <a:gd name="T42" fmla="*/ 14 w 115"/>
                  <a:gd name="T43" fmla="*/ 152 h 218"/>
                  <a:gd name="T44" fmla="*/ 17 w 115"/>
                  <a:gd name="T45" fmla="*/ 148 h 218"/>
                  <a:gd name="T46" fmla="*/ 17 w 115"/>
                  <a:gd name="T47" fmla="*/ 140 h 218"/>
                  <a:gd name="T48" fmla="*/ 17 w 115"/>
                  <a:gd name="T49" fmla="*/ 133 h 218"/>
                  <a:gd name="T50" fmla="*/ 25 w 115"/>
                  <a:gd name="T51" fmla="*/ 131 h 218"/>
                  <a:gd name="T52" fmla="*/ 23 w 115"/>
                  <a:gd name="T53" fmla="*/ 124 h 218"/>
                  <a:gd name="T54" fmla="*/ 21 w 115"/>
                  <a:gd name="T55" fmla="*/ 131 h 218"/>
                  <a:gd name="T56" fmla="*/ 21 w 115"/>
                  <a:gd name="T57" fmla="*/ 106 h 218"/>
                  <a:gd name="T58" fmla="*/ 13 w 115"/>
                  <a:gd name="T59" fmla="*/ 96 h 218"/>
                  <a:gd name="T60" fmla="*/ 15 w 115"/>
                  <a:gd name="T61" fmla="*/ 82 h 218"/>
                  <a:gd name="T62" fmla="*/ 24 w 115"/>
                  <a:gd name="T63" fmla="*/ 80 h 218"/>
                  <a:gd name="T64" fmla="*/ 21 w 115"/>
                  <a:gd name="T65" fmla="*/ 76 h 218"/>
                  <a:gd name="T66" fmla="*/ 21 w 115"/>
                  <a:gd name="T67" fmla="*/ 64 h 218"/>
                  <a:gd name="T68" fmla="*/ 14 w 115"/>
                  <a:gd name="T69" fmla="*/ 63 h 218"/>
                  <a:gd name="T70" fmla="*/ 8 w 115"/>
                  <a:gd name="T71" fmla="*/ 63 h 218"/>
                  <a:gd name="T72" fmla="*/ 8 w 115"/>
                  <a:gd name="T73" fmla="*/ 52 h 218"/>
                  <a:gd name="T74" fmla="*/ 8 w 115"/>
                  <a:gd name="T75" fmla="*/ 45 h 218"/>
                  <a:gd name="T76" fmla="*/ 0 w 115"/>
                  <a:gd name="T77" fmla="*/ 39 h 218"/>
                  <a:gd name="T78" fmla="*/ 20 w 115"/>
                  <a:gd name="T79" fmla="*/ 0 h 218"/>
                  <a:gd name="T80" fmla="*/ 28 w 115"/>
                  <a:gd name="T81" fmla="*/ 15 h 218"/>
                  <a:gd name="T82" fmla="*/ 40 w 115"/>
                  <a:gd name="T83" fmla="*/ 5 h 218"/>
                  <a:gd name="T84" fmla="*/ 52 w 115"/>
                  <a:gd name="T85" fmla="*/ 22 h 218"/>
                  <a:gd name="T86" fmla="*/ 55 w 115"/>
                  <a:gd name="T87" fmla="*/ 22 h 218"/>
                  <a:gd name="T88" fmla="*/ 58 w 115"/>
                  <a:gd name="T89" fmla="*/ 21 h 218"/>
                  <a:gd name="T90" fmla="*/ 69 w 115"/>
                  <a:gd name="T91" fmla="*/ 27 h 218"/>
                  <a:gd name="T92" fmla="*/ 73 w 115"/>
                  <a:gd name="T93" fmla="*/ 63 h 218"/>
                  <a:gd name="T94" fmla="*/ 76 w 115"/>
                  <a:gd name="T95" fmla="*/ 73 h 218"/>
                  <a:gd name="T96" fmla="*/ 72 w 115"/>
                  <a:gd name="T97" fmla="*/ 77 h 218"/>
                  <a:gd name="T98" fmla="*/ 78 w 115"/>
                  <a:gd name="T99" fmla="*/ 87 h 218"/>
                  <a:gd name="T100" fmla="*/ 76 w 115"/>
                  <a:gd name="T101" fmla="*/ 92 h 218"/>
                  <a:gd name="T102" fmla="*/ 92 w 115"/>
                  <a:gd name="T103" fmla="*/ 121 h 218"/>
                  <a:gd name="T104" fmla="*/ 100 w 115"/>
                  <a:gd name="T105" fmla="*/ 119 h 218"/>
                  <a:gd name="T106" fmla="*/ 107 w 115"/>
                  <a:gd name="T107" fmla="*/ 120 h 218"/>
                  <a:gd name="T108" fmla="*/ 107 w 115"/>
                  <a:gd name="T109" fmla="*/ 124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5" h="218">
                    <a:moveTo>
                      <a:pt x="107" y="124"/>
                    </a:moveTo>
                    <a:cubicBezTo>
                      <a:pt x="107" y="131"/>
                      <a:pt x="115" y="133"/>
                      <a:pt x="113" y="140"/>
                    </a:cubicBezTo>
                    <a:cubicBezTo>
                      <a:pt x="110" y="152"/>
                      <a:pt x="108" y="152"/>
                      <a:pt x="106" y="152"/>
                    </a:cubicBezTo>
                    <a:cubicBezTo>
                      <a:pt x="104" y="151"/>
                      <a:pt x="102" y="151"/>
                      <a:pt x="100" y="158"/>
                    </a:cubicBezTo>
                    <a:cubicBezTo>
                      <a:pt x="100" y="158"/>
                      <a:pt x="97" y="181"/>
                      <a:pt x="97" y="182"/>
                    </a:cubicBezTo>
                    <a:cubicBezTo>
                      <a:pt x="96" y="183"/>
                      <a:pt x="78" y="189"/>
                      <a:pt x="78" y="193"/>
                    </a:cubicBezTo>
                    <a:cubicBezTo>
                      <a:pt x="85" y="204"/>
                      <a:pt x="85" y="204"/>
                      <a:pt x="85" y="204"/>
                    </a:cubicBezTo>
                    <a:cubicBezTo>
                      <a:pt x="86" y="207"/>
                      <a:pt x="84" y="207"/>
                      <a:pt x="82" y="206"/>
                    </a:cubicBezTo>
                    <a:cubicBezTo>
                      <a:pt x="81" y="206"/>
                      <a:pt x="79" y="206"/>
                      <a:pt x="79" y="208"/>
                    </a:cubicBezTo>
                    <a:cubicBezTo>
                      <a:pt x="79" y="218"/>
                      <a:pt x="76" y="217"/>
                      <a:pt x="71" y="216"/>
                    </a:cubicBezTo>
                    <a:cubicBezTo>
                      <a:pt x="69" y="216"/>
                      <a:pt x="66" y="216"/>
                      <a:pt x="64" y="216"/>
                    </a:cubicBezTo>
                    <a:cubicBezTo>
                      <a:pt x="63" y="216"/>
                      <a:pt x="64" y="217"/>
                      <a:pt x="64" y="217"/>
                    </a:cubicBezTo>
                    <a:cubicBezTo>
                      <a:pt x="63" y="218"/>
                      <a:pt x="63" y="218"/>
                      <a:pt x="62" y="218"/>
                    </a:cubicBezTo>
                    <a:cubicBezTo>
                      <a:pt x="62" y="218"/>
                      <a:pt x="62" y="217"/>
                      <a:pt x="61" y="216"/>
                    </a:cubicBezTo>
                    <a:cubicBezTo>
                      <a:pt x="61" y="215"/>
                      <a:pt x="61" y="214"/>
                      <a:pt x="61" y="213"/>
                    </a:cubicBezTo>
                    <a:cubicBezTo>
                      <a:pt x="61" y="209"/>
                      <a:pt x="63" y="206"/>
                      <a:pt x="62" y="204"/>
                    </a:cubicBezTo>
                    <a:cubicBezTo>
                      <a:pt x="61" y="202"/>
                      <a:pt x="57" y="204"/>
                      <a:pt x="56" y="202"/>
                    </a:cubicBezTo>
                    <a:cubicBezTo>
                      <a:pt x="53" y="200"/>
                      <a:pt x="54" y="195"/>
                      <a:pt x="52" y="193"/>
                    </a:cubicBezTo>
                    <a:cubicBezTo>
                      <a:pt x="48" y="188"/>
                      <a:pt x="12" y="178"/>
                      <a:pt x="16" y="169"/>
                    </a:cubicBezTo>
                    <a:cubicBezTo>
                      <a:pt x="16" y="167"/>
                      <a:pt x="19" y="167"/>
                      <a:pt x="21" y="167"/>
                    </a:cubicBezTo>
                    <a:cubicBezTo>
                      <a:pt x="24" y="168"/>
                      <a:pt x="26" y="168"/>
                      <a:pt x="27" y="166"/>
                    </a:cubicBezTo>
                    <a:cubicBezTo>
                      <a:pt x="27" y="165"/>
                      <a:pt x="16" y="158"/>
                      <a:pt x="14" y="152"/>
                    </a:cubicBezTo>
                    <a:cubicBezTo>
                      <a:pt x="14" y="150"/>
                      <a:pt x="17" y="149"/>
                      <a:pt x="17" y="148"/>
                    </a:cubicBezTo>
                    <a:cubicBezTo>
                      <a:pt x="17" y="145"/>
                      <a:pt x="17" y="142"/>
                      <a:pt x="17" y="140"/>
                    </a:cubicBezTo>
                    <a:cubicBezTo>
                      <a:pt x="17" y="137"/>
                      <a:pt x="16" y="135"/>
                      <a:pt x="17" y="133"/>
                    </a:cubicBezTo>
                    <a:cubicBezTo>
                      <a:pt x="18" y="131"/>
                      <a:pt x="23" y="132"/>
                      <a:pt x="25" y="131"/>
                    </a:cubicBezTo>
                    <a:cubicBezTo>
                      <a:pt x="26" y="129"/>
                      <a:pt x="25" y="124"/>
                      <a:pt x="23" y="124"/>
                    </a:cubicBezTo>
                    <a:cubicBezTo>
                      <a:pt x="21" y="125"/>
                      <a:pt x="22" y="129"/>
                      <a:pt x="21" y="131"/>
                    </a:cubicBezTo>
                    <a:cubicBezTo>
                      <a:pt x="17" y="134"/>
                      <a:pt x="21" y="112"/>
                      <a:pt x="21" y="106"/>
                    </a:cubicBezTo>
                    <a:cubicBezTo>
                      <a:pt x="22" y="99"/>
                      <a:pt x="13" y="103"/>
                      <a:pt x="13" y="96"/>
                    </a:cubicBezTo>
                    <a:cubicBezTo>
                      <a:pt x="13" y="91"/>
                      <a:pt x="12" y="86"/>
                      <a:pt x="15" y="82"/>
                    </a:cubicBezTo>
                    <a:cubicBezTo>
                      <a:pt x="17" y="80"/>
                      <a:pt x="22" y="82"/>
                      <a:pt x="24" y="80"/>
                    </a:cubicBezTo>
                    <a:cubicBezTo>
                      <a:pt x="25" y="79"/>
                      <a:pt x="21" y="78"/>
                      <a:pt x="21" y="76"/>
                    </a:cubicBezTo>
                    <a:cubicBezTo>
                      <a:pt x="20" y="72"/>
                      <a:pt x="24" y="67"/>
                      <a:pt x="21" y="64"/>
                    </a:cubicBezTo>
                    <a:cubicBezTo>
                      <a:pt x="19" y="62"/>
                      <a:pt x="16" y="62"/>
                      <a:pt x="14" y="63"/>
                    </a:cubicBezTo>
                    <a:cubicBezTo>
                      <a:pt x="12" y="63"/>
                      <a:pt x="9" y="64"/>
                      <a:pt x="8" y="63"/>
                    </a:cubicBezTo>
                    <a:cubicBezTo>
                      <a:pt x="8" y="59"/>
                      <a:pt x="8" y="55"/>
                      <a:pt x="8" y="52"/>
                    </a:cubicBezTo>
                    <a:cubicBezTo>
                      <a:pt x="8" y="50"/>
                      <a:pt x="9" y="47"/>
                      <a:pt x="8" y="45"/>
                    </a:cubicBezTo>
                    <a:cubicBezTo>
                      <a:pt x="6" y="42"/>
                      <a:pt x="1" y="42"/>
                      <a:pt x="0" y="39"/>
                    </a:cubicBezTo>
                    <a:cubicBezTo>
                      <a:pt x="0" y="38"/>
                      <a:pt x="18" y="2"/>
                      <a:pt x="20" y="0"/>
                    </a:cubicBezTo>
                    <a:cubicBezTo>
                      <a:pt x="21" y="0"/>
                      <a:pt x="23" y="14"/>
                      <a:pt x="28" y="15"/>
                    </a:cubicBezTo>
                    <a:cubicBezTo>
                      <a:pt x="40" y="5"/>
                      <a:pt x="40" y="5"/>
                      <a:pt x="40" y="5"/>
                    </a:cubicBezTo>
                    <a:cubicBezTo>
                      <a:pt x="49" y="5"/>
                      <a:pt x="47" y="19"/>
                      <a:pt x="52" y="22"/>
                    </a:cubicBezTo>
                    <a:cubicBezTo>
                      <a:pt x="53" y="23"/>
                      <a:pt x="54" y="22"/>
                      <a:pt x="55" y="22"/>
                    </a:cubicBezTo>
                    <a:cubicBezTo>
                      <a:pt x="56" y="21"/>
                      <a:pt x="57" y="21"/>
                      <a:pt x="58" y="21"/>
                    </a:cubicBezTo>
                    <a:cubicBezTo>
                      <a:pt x="62" y="23"/>
                      <a:pt x="66" y="24"/>
                      <a:pt x="69" y="27"/>
                    </a:cubicBezTo>
                    <a:cubicBezTo>
                      <a:pt x="79" y="39"/>
                      <a:pt x="72" y="51"/>
                      <a:pt x="73" y="63"/>
                    </a:cubicBezTo>
                    <a:cubicBezTo>
                      <a:pt x="73" y="67"/>
                      <a:pt x="76" y="70"/>
                      <a:pt x="76" y="73"/>
                    </a:cubicBezTo>
                    <a:cubicBezTo>
                      <a:pt x="76" y="75"/>
                      <a:pt x="71" y="75"/>
                      <a:pt x="72" y="77"/>
                    </a:cubicBezTo>
                    <a:cubicBezTo>
                      <a:pt x="72" y="81"/>
                      <a:pt x="78" y="83"/>
                      <a:pt x="78" y="87"/>
                    </a:cubicBezTo>
                    <a:cubicBezTo>
                      <a:pt x="79" y="89"/>
                      <a:pt x="76" y="90"/>
                      <a:pt x="76" y="92"/>
                    </a:cubicBezTo>
                    <a:cubicBezTo>
                      <a:pt x="76" y="97"/>
                      <a:pt x="90" y="118"/>
                      <a:pt x="92" y="121"/>
                    </a:cubicBezTo>
                    <a:cubicBezTo>
                      <a:pt x="96" y="125"/>
                      <a:pt x="98" y="119"/>
                      <a:pt x="100" y="119"/>
                    </a:cubicBezTo>
                    <a:cubicBezTo>
                      <a:pt x="102" y="118"/>
                      <a:pt x="105" y="119"/>
                      <a:pt x="107" y="120"/>
                    </a:cubicBezTo>
                    <a:cubicBezTo>
                      <a:pt x="108" y="121"/>
                      <a:pt x="106" y="124"/>
                      <a:pt x="107" y="124"/>
                    </a:cubicBezTo>
                  </a:path>
                </a:pathLst>
              </a:custGeom>
              <a:solidFill>
                <a:srgbClr val="A3DAFE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128" name="Estonia" descr="{&quot;Key&quot;:&quot;estonia&quot;,&quot;Name&quot;:&quot;Estonia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A66A7D33-7ED4-9E8F-A17B-9B1AE815B9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49522" y="3270276"/>
                <a:ext cx="402824" cy="299462"/>
              </a:xfrm>
              <a:custGeom>
                <a:avLst/>
                <a:gdLst>
                  <a:gd name="T0" fmla="*/ 133 w 241"/>
                  <a:gd name="T1" fmla="*/ 129 h 166"/>
                  <a:gd name="T2" fmla="*/ 140 w 241"/>
                  <a:gd name="T3" fmla="*/ 129 h 166"/>
                  <a:gd name="T4" fmla="*/ 155 w 241"/>
                  <a:gd name="T5" fmla="*/ 135 h 166"/>
                  <a:gd name="T6" fmla="*/ 163 w 241"/>
                  <a:gd name="T7" fmla="*/ 137 h 166"/>
                  <a:gd name="T8" fmla="*/ 174 w 241"/>
                  <a:gd name="T9" fmla="*/ 141 h 166"/>
                  <a:gd name="T10" fmla="*/ 209 w 241"/>
                  <a:gd name="T11" fmla="*/ 144 h 166"/>
                  <a:gd name="T12" fmla="*/ 228 w 241"/>
                  <a:gd name="T13" fmla="*/ 134 h 166"/>
                  <a:gd name="T14" fmla="*/ 231 w 241"/>
                  <a:gd name="T15" fmla="*/ 128 h 166"/>
                  <a:gd name="T16" fmla="*/ 241 w 241"/>
                  <a:gd name="T17" fmla="*/ 118 h 166"/>
                  <a:gd name="T18" fmla="*/ 232 w 241"/>
                  <a:gd name="T19" fmla="*/ 105 h 166"/>
                  <a:gd name="T20" fmla="*/ 221 w 241"/>
                  <a:gd name="T21" fmla="*/ 84 h 166"/>
                  <a:gd name="T22" fmla="*/ 216 w 241"/>
                  <a:gd name="T23" fmla="*/ 38 h 166"/>
                  <a:gd name="T24" fmla="*/ 216 w 241"/>
                  <a:gd name="T25" fmla="*/ 15 h 166"/>
                  <a:gd name="T26" fmla="*/ 212 w 241"/>
                  <a:gd name="T27" fmla="*/ 7 h 166"/>
                  <a:gd name="T28" fmla="*/ 139 w 241"/>
                  <a:gd name="T29" fmla="*/ 7 h 166"/>
                  <a:gd name="T30" fmla="*/ 129 w 241"/>
                  <a:gd name="T31" fmla="*/ 7 h 166"/>
                  <a:gd name="T32" fmla="*/ 121 w 241"/>
                  <a:gd name="T33" fmla="*/ 23 h 166"/>
                  <a:gd name="T34" fmla="*/ 97 w 241"/>
                  <a:gd name="T35" fmla="*/ 22 h 166"/>
                  <a:gd name="T36" fmla="*/ 72 w 241"/>
                  <a:gd name="T37" fmla="*/ 41 h 166"/>
                  <a:gd name="T38" fmla="*/ 53 w 241"/>
                  <a:gd name="T39" fmla="*/ 58 h 166"/>
                  <a:gd name="T40" fmla="*/ 59 w 241"/>
                  <a:gd name="T41" fmla="*/ 91 h 166"/>
                  <a:gd name="T42" fmla="*/ 76 w 241"/>
                  <a:gd name="T43" fmla="*/ 121 h 166"/>
                  <a:gd name="T44" fmla="*/ 93 w 241"/>
                  <a:gd name="T45" fmla="*/ 125 h 166"/>
                  <a:gd name="T46" fmla="*/ 106 w 241"/>
                  <a:gd name="T47" fmla="*/ 121 h 166"/>
                  <a:gd name="T48" fmla="*/ 105 w 241"/>
                  <a:gd name="T49" fmla="*/ 149 h 166"/>
                  <a:gd name="T50" fmla="*/ 44 w 241"/>
                  <a:gd name="T51" fmla="*/ 106 h 166"/>
                  <a:gd name="T52" fmla="*/ 56 w 241"/>
                  <a:gd name="T53" fmla="*/ 116 h 166"/>
                  <a:gd name="T54" fmla="*/ 49 w 241"/>
                  <a:gd name="T55" fmla="*/ 125 h 166"/>
                  <a:gd name="T56" fmla="*/ 46 w 241"/>
                  <a:gd name="T57" fmla="*/ 129 h 166"/>
                  <a:gd name="T58" fmla="*/ 33 w 241"/>
                  <a:gd name="T59" fmla="*/ 138 h 166"/>
                  <a:gd name="T60" fmla="*/ 23 w 241"/>
                  <a:gd name="T61" fmla="*/ 143 h 166"/>
                  <a:gd name="T62" fmla="*/ 15 w 241"/>
                  <a:gd name="T63" fmla="*/ 164 h 166"/>
                  <a:gd name="T64" fmla="*/ 15 w 241"/>
                  <a:gd name="T65" fmla="*/ 144 h 166"/>
                  <a:gd name="T66" fmla="*/ 10 w 241"/>
                  <a:gd name="T67" fmla="*/ 132 h 166"/>
                  <a:gd name="T68" fmla="*/ 13 w 241"/>
                  <a:gd name="T69" fmla="*/ 126 h 166"/>
                  <a:gd name="T70" fmla="*/ 19 w 241"/>
                  <a:gd name="T71" fmla="*/ 119 h 166"/>
                  <a:gd name="T72" fmla="*/ 24 w 241"/>
                  <a:gd name="T73" fmla="*/ 74 h 166"/>
                  <a:gd name="T74" fmla="*/ 28 w 241"/>
                  <a:gd name="T75" fmla="*/ 79 h 166"/>
                  <a:gd name="T76" fmla="*/ 37 w 241"/>
                  <a:gd name="T77" fmla="*/ 90 h 166"/>
                  <a:gd name="T78" fmla="*/ 20 w 241"/>
                  <a:gd name="T79" fmla="*/ 93 h 166"/>
                  <a:gd name="T80" fmla="*/ 17 w 241"/>
                  <a:gd name="T81" fmla="*/ 85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41" h="166">
                    <a:moveTo>
                      <a:pt x="106" y="150"/>
                    </a:moveTo>
                    <a:cubicBezTo>
                      <a:pt x="110" y="149"/>
                      <a:pt x="128" y="133"/>
                      <a:pt x="133" y="129"/>
                    </a:cubicBezTo>
                    <a:cubicBezTo>
                      <a:pt x="136" y="126"/>
                      <a:pt x="143" y="137"/>
                      <a:pt x="141" y="130"/>
                    </a:cubicBezTo>
                    <a:cubicBezTo>
                      <a:pt x="141" y="129"/>
                      <a:pt x="140" y="129"/>
                      <a:pt x="140" y="129"/>
                    </a:cubicBezTo>
                    <a:cubicBezTo>
                      <a:pt x="140" y="127"/>
                      <a:pt x="139" y="126"/>
                      <a:pt x="140" y="126"/>
                    </a:cubicBezTo>
                    <a:cubicBezTo>
                      <a:pt x="146" y="126"/>
                      <a:pt x="152" y="134"/>
                      <a:pt x="155" y="135"/>
                    </a:cubicBezTo>
                    <a:cubicBezTo>
                      <a:pt x="157" y="136"/>
                      <a:pt x="159" y="133"/>
                      <a:pt x="160" y="133"/>
                    </a:cubicBezTo>
                    <a:cubicBezTo>
                      <a:pt x="162" y="133"/>
                      <a:pt x="161" y="136"/>
                      <a:pt x="163" y="137"/>
                    </a:cubicBezTo>
                    <a:cubicBezTo>
                      <a:pt x="166" y="138"/>
                      <a:pt x="170" y="135"/>
                      <a:pt x="173" y="136"/>
                    </a:cubicBezTo>
                    <a:cubicBezTo>
                      <a:pt x="175" y="136"/>
                      <a:pt x="173" y="140"/>
                      <a:pt x="174" y="141"/>
                    </a:cubicBezTo>
                    <a:cubicBezTo>
                      <a:pt x="176" y="144"/>
                      <a:pt x="194" y="156"/>
                      <a:pt x="198" y="156"/>
                    </a:cubicBezTo>
                    <a:cubicBezTo>
                      <a:pt x="199" y="156"/>
                      <a:pt x="209" y="144"/>
                      <a:pt x="209" y="144"/>
                    </a:cubicBezTo>
                    <a:cubicBezTo>
                      <a:pt x="212" y="143"/>
                      <a:pt x="229" y="149"/>
                      <a:pt x="229" y="147"/>
                    </a:cubicBezTo>
                    <a:cubicBezTo>
                      <a:pt x="230" y="144"/>
                      <a:pt x="226" y="136"/>
                      <a:pt x="228" y="134"/>
                    </a:cubicBezTo>
                    <a:cubicBezTo>
                      <a:pt x="229" y="133"/>
                      <a:pt x="232" y="133"/>
                      <a:pt x="233" y="131"/>
                    </a:cubicBezTo>
                    <a:cubicBezTo>
                      <a:pt x="233" y="130"/>
                      <a:pt x="231" y="130"/>
                      <a:pt x="231" y="128"/>
                    </a:cubicBezTo>
                    <a:cubicBezTo>
                      <a:pt x="230" y="127"/>
                      <a:pt x="230" y="125"/>
                      <a:pt x="231" y="124"/>
                    </a:cubicBezTo>
                    <a:cubicBezTo>
                      <a:pt x="238" y="118"/>
                      <a:pt x="238" y="125"/>
                      <a:pt x="241" y="118"/>
                    </a:cubicBezTo>
                    <a:cubicBezTo>
                      <a:pt x="241" y="116"/>
                      <a:pt x="236" y="117"/>
                      <a:pt x="234" y="116"/>
                    </a:cubicBezTo>
                    <a:cubicBezTo>
                      <a:pt x="230" y="112"/>
                      <a:pt x="233" y="109"/>
                      <a:pt x="232" y="105"/>
                    </a:cubicBezTo>
                    <a:cubicBezTo>
                      <a:pt x="231" y="103"/>
                      <a:pt x="222" y="98"/>
                      <a:pt x="220" y="96"/>
                    </a:cubicBezTo>
                    <a:cubicBezTo>
                      <a:pt x="216" y="88"/>
                      <a:pt x="221" y="92"/>
                      <a:pt x="221" y="84"/>
                    </a:cubicBezTo>
                    <a:cubicBezTo>
                      <a:pt x="221" y="74"/>
                      <a:pt x="209" y="63"/>
                      <a:pt x="208" y="53"/>
                    </a:cubicBezTo>
                    <a:cubicBezTo>
                      <a:pt x="207" y="47"/>
                      <a:pt x="214" y="43"/>
                      <a:pt x="216" y="38"/>
                    </a:cubicBezTo>
                    <a:cubicBezTo>
                      <a:pt x="216" y="24"/>
                      <a:pt x="216" y="24"/>
                      <a:pt x="216" y="24"/>
                    </a:cubicBezTo>
                    <a:cubicBezTo>
                      <a:pt x="216" y="21"/>
                      <a:pt x="214" y="18"/>
                      <a:pt x="216" y="15"/>
                    </a:cubicBezTo>
                    <a:cubicBezTo>
                      <a:pt x="221" y="4"/>
                      <a:pt x="231" y="9"/>
                      <a:pt x="217" y="0"/>
                    </a:cubicBezTo>
                    <a:cubicBezTo>
                      <a:pt x="217" y="2"/>
                      <a:pt x="216" y="5"/>
                      <a:pt x="212" y="7"/>
                    </a:cubicBezTo>
                    <a:cubicBezTo>
                      <a:pt x="207" y="10"/>
                      <a:pt x="153" y="11"/>
                      <a:pt x="144" y="10"/>
                    </a:cubicBezTo>
                    <a:cubicBezTo>
                      <a:pt x="143" y="10"/>
                      <a:pt x="142" y="7"/>
                      <a:pt x="139" y="7"/>
                    </a:cubicBezTo>
                    <a:cubicBezTo>
                      <a:pt x="129" y="10"/>
                      <a:pt x="153" y="16"/>
                      <a:pt x="135" y="14"/>
                    </a:cubicBezTo>
                    <a:cubicBezTo>
                      <a:pt x="132" y="13"/>
                      <a:pt x="131" y="7"/>
                      <a:pt x="129" y="7"/>
                    </a:cubicBezTo>
                    <a:cubicBezTo>
                      <a:pt x="126" y="8"/>
                      <a:pt x="130" y="13"/>
                      <a:pt x="129" y="15"/>
                    </a:cubicBezTo>
                    <a:cubicBezTo>
                      <a:pt x="127" y="18"/>
                      <a:pt x="124" y="22"/>
                      <a:pt x="121" y="23"/>
                    </a:cubicBezTo>
                    <a:cubicBezTo>
                      <a:pt x="115" y="26"/>
                      <a:pt x="109" y="27"/>
                      <a:pt x="103" y="26"/>
                    </a:cubicBezTo>
                    <a:cubicBezTo>
                      <a:pt x="100" y="26"/>
                      <a:pt x="99" y="21"/>
                      <a:pt x="97" y="22"/>
                    </a:cubicBezTo>
                    <a:cubicBezTo>
                      <a:pt x="94" y="24"/>
                      <a:pt x="101" y="30"/>
                      <a:pt x="98" y="31"/>
                    </a:cubicBezTo>
                    <a:cubicBezTo>
                      <a:pt x="92" y="32"/>
                      <a:pt x="75" y="33"/>
                      <a:pt x="72" y="41"/>
                    </a:cubicBezTo>
                    <a:cubicBezTo>
                      <a:pt x="71" y="44"/>
                      <a:pt x="77" y="47"/>
                      <a:pt x="75" y="49"/>
                    </a:cubicBezTo>
                    <a:cubicBezTo>
                      <a:pt x="73" y="54"/>
                      <a:pt x="56" y="53"/>
                      <a:pt x="53" y="58"/>
                    </a:cubicBezTo>
                    <a:cubicBezTo>
                      <a:pt x="45" y="79"/>
                      <a:pt x="60" y="66"/>
                      <a:pt x="63" y="75"/>
                    </a:cubicBezTo>
                    <a:cubicBezTo>
                      <a:pt x="65" y="80"/>
                      <a:pt x="57" y="86"/>
                      <a:pt x="59" y="91"/>
                    </a:cubicBezTo>
                    <a:cubicBezTo>
                      <a:pt x="61" y="97"/>
                      <a:pt x="70" y="104"/>
                      <a:pt x="71" y="106"/>
                    </a:cubicBezTo>
                    <a:cubicBezTo>
                      <a:pt x="75" y="111"/>
                      <a:pt x="69" y="117"/>
                      <a:pt x="76" y="121"/>
                    </a:cubicBezTo>
                    <a:cubicBezTo>
                      <a:pt x="79" y="122"/>
                      <a:pt x="83" y="119"/>
                      <a:pt x="86" y="120"/>
                    </a:cubicBezTo>
                    <a:cubicBezTo>
                      <a:pt x="88" y="121"/>
                      <a:pt x="90" y="126"/>
                      <a:pt x="93" y="125"/>
                    </a:cubicBezTo>
                    <a:cubicBezTo>
                      <a:pt x="97" y="122"/>
                      <a:pt x="97" y="101"/>
                      <a:pt x="109" y="115"/>
                    </a:cubicBezTo>
                    <a:cubicBezTo>
                      <a:pt x="110" y="117"/>
                      <a:pt x="106" y="118"/>
                      <a:pt x="106" y="121"/>
                    </a:cubicBezTo>
                    <a:cubicBezTo>
                      <a:pt x="106" y="125"/>
                      <a:pt x="108" y="130"/>
                      <a:pt x="108" y="134"/>
                    </a:cubicBezTo>
                    <a:cubicBezTo>
                      <a:pt x="108" y="146"/>
                      <a:pt x="104" y="139"/>
                      <a:pt x="105" y="149"/>
                    </a:cubicBezTo>
                    <a:lnTo>
                      <a:pt x="106" y="150"/>
                    </a:lnTo>
                    <a:close/>
                    <a:moveTo>
                      <a:pt x="44" y="106"/>
                    </a:moveTo>
                    <a:cubicBezTo>
                      <a:pt x="52" y="112"/>
                      <a:pt x="51" y="112"/>
                      <a:pt x="60" y="116"/>
                    </a:cubicBezTo>
                    <a:cubicBezTo>
                      <a:pt x="64" y="118"/>
                      <a:pt x="53" y="111"/>
                      <a:pt x="56" y="116"/>
                    </a:cubicBezTo>
                    <a:cubicBezTo>
                      <a:pt x="58" y="121"/>
                      <a:pt x="56" y="113"/>
                      <a:pt x="52" y="114"/>
                    </a:cubicBezTo>
                    <a:cubicBezTo>
                      <a:pt x="49" y="114"/>
                      <a:pt x="52" y="122"/>
                      <a:pt x="49" y="125"/>
                    </a:cubicBezTo>
                    <a:cubicBezTo>
                      <a:pt x="49" y="125"/>
                      <a:pt x="47" y="122"/>
                      <a:pt x="46" y="123"/>
                    </a:cubicBezTo>
                    <a:cubicBezTo>
                      <a:pt x="45" y="124"/>
                      <a:pt x="47" y="127"/>
                      <a:pt x="46" y="129"/>
                    </a:cubicBezTo>
                    <a:cubicBezTo>
                      <a:pt x="43" y="136"/>
                      <a:pt x="37" y="134"/>
                      <a:pt x="36" y="135"/>
                    </a:cubicBezTo>
                    <a:cubicBezTo>
                      <a:pt x="35" y="135"/>
                      <a:pt x="35" y="137"/>
                      <a:pt x="33" y="138"/>
                    </a:cubicBezTo>
                    <a:cubicBezTo>
                      <a:pt x="30" y="139"/>
                      <a:pt x="26" y="140"/>
                      <a:pt x="23" y="142"/>
                    </a:cubicBezTo>
                    <a:cubicBezTo>
                      <a:pt x="23" y="142"/>
                      <a:pt x="23" y="143"/>
                      <a:pt x="23" y="143"/>
                    </a:cubicBezTo>
                    <a:cubicBezTo>
                      <a:pt x="23" y="148"/>
                      <a:pt x="24" y="153"/>
                      <a:pt x="23" y="157"/>
                    </a:cubicBezTo>
                    <a:cubicBezTo>
                      <a:pt x="22" y="160"/>
                      <a:pt x="18" y="166"/>
                      <a:pt x="15" y="164"/>
                    </a:cubicBezTo>
                    <a:cubicBezTo>
                      <a:pt x="9" y="156"/>
                      <a:pt x="22" y="151"/>
                      <a:pt x="20" y="145"/>
                    </a:cubicBezTo>
                    <a:cubicBezTo>
                      <a:pt x="20" y="143"/>
                      <a:pt x="17" y="146"/>
                      <a:pt x="15" y="144"/>
                    </a:cubicBezTo>
                    <a:cubicBezTo>
                      <a:pt x="12" y="143"/>
                      <a:pt x="7" y="142"/>
                      <a:pt x="5" y="138"/>
                    </a:cubicBezTo>
                    <a:cubicBezTo>
                      <a:pt x="4" y="135"/>
                      <a:pt x="10" y="134"/>
                      <a:pt x="10" y="132"/>
                    </a:cubicBezTo>
                    <a:cubicBezTo>
                      <a:pt x="9" y="127"/>
                      <a:pt x="0" y="126"/>
                      <a:pt x="2" y="122"/>
                    </a:cubicBezTo>
                    <a:cubicBezTo>
                      <a:pt x="3" y="118"/>
                      <a:pt x="9" y="126"/>
                      <a:pt x="13" y="126"/>
                    </a:cubicBezTo>
                    <a:cubicBezTo>
                      <a:pt x="16" y="126"/>
                      <a:pt x="11" y="117"/>
                      <a:pt x="14" y="116"/>
                    </a:cubicBezTo>
                    <a:cubicBezTo>
                      <a:pt x="16" y="115"/>
                      <a:pt x="18" y="121"/>
                      <a:pt x="19" y="119"/>
                    </a:cubicBezTo>
                    <a:cubicBezTo>
                      <a:pt x="23" y="105"/>
                      <a:pt x="31" y="110"/>
                      <a:pt x="44" y="106"/>
                    </a:cubicBezTo>
                    <a:close/>
                    <a:moveTo>
                      <a:pt x="24" y="74"/>
                    </a:moveTo>
                    <a:cubicBezTo>
                      <a:pt x="25" y="74"/>
                      <a:pt x="27" y="73"/>
                      <a:pt x="27" y="74"/>
                    </a:cubicBezTo>
                    <a:cubicBezTo>
                      <a:pt x="28" y="75"/>
                      <a:pt x="27" y="78"/>
                      <a:pt x="28" y="79"/>
                    </a:cubicBezTo>
                    <a:cubicBezTo>
                      <a:pt x="31" y="80"/>
                      <a:pt x="35" y="78"/>
                      <a:pt x="37" y="79"/>
                    </a:cubicBezTo>
                    <a:cubicBezTo>
                      <a:pt x="56" y="90"/>
                      <a:pt x="38" y="88"/>
                      <a:pt x="37" y="90"/>
                    </a:cubicBezTo>
                    <a:cubicBezTo>
                      <a:pt x="32" y="101"/>
                      <a:pt x="48" y="92"/>
                      <a:pt x="27" y="104"/>
                    </a:cubicBezTo>
                    <a:cubicBezTo>
                      <a:pt x="21" y="107"/>
                      <a:pt x="20" y="93"/>
                      <a:pt x="20" y="93"/>
                    </a:cubicBezTo>
                    <a:cubicBezTo>
                      <a:pt x="18" y="87"/>
                      <a:pt x="8" y="90"/>
                      <a:pt x="4" y="88"/>
                    </a:cubicBezTo>
                    <a:cubicBezTo>
                      <a:pt x="0" y="88"/>
                      <a:pt x="13" y="86"/>
                      <a:pt x="17" y="85"/>
                    </a:cubicBezTo>
                    <a:cubicBezTo>
                      <a:pt x="22" y="84"/>
                      <a:pt x="23" y="77"/>
                      <a:pt x="24" y="74"/>
                    </a:cubicBezTo>
                    <a:close/>
                  </a:path>
                </a:pathLst>
              </a:custGeom>
              <a:solidFill>
                <a:srgbClr val="6785C1">
                  <a:lumMod val="40000"/>
                  <a:lumOff val="60000"/>
                </a:srgbClr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129" name="Andorra" descr="{&quot;Key&quot;:&quot;andorra&quot;,&quot;Name&quot;:&quot;Andorra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4141BBB4-6F6C-4391-999F-9264C5E949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60215" y="5617498"/>
                <a:ext cx="105273" cy="98358"/>
              </a:xfrm>
              <a:custGeom>
                <a:avLst/>
                <a:gdLst>
                  <a:gd name="T0" fmla="*/ 26 w 31"/>
                  <a:gd name="T1" fmla="*/ 15 h 22"/>
                  <a:gd name="T2" fmla="*/ 16 w 31"/>
                  <a:gd name="T3" fmla="*/ 1 h 22"/>
                  <a:gd name="T4" fmla="*/ 26 w 31"/>
                  <a:gd name="T5" fmla="*/ 1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22">
                    <a:moveTo>
                      <a:pt x="26" y="15"/>
                    </a:moveTo>
                    <a:cubicBezTo>
                      <a:pt x="0" y="22"/>
                      <a:pt x="14" y="1"/>
                      <a:pt x="16" y="1"/>
                    </a:cubicBezTo>
                    <a:cubicBezTo>
                      <a:pt x="30" y="0"/>
                      <a:pt x="31" y="7"/>
                      <a:pt x="26" y="15"/>
                    </a:cubicBezTo>
                    <a:close/>
                  </a:path>
                </a:pathLst>
              </a:custGeom>
              <a:solidFill>
                <a:srgbClr val="A3DAFE"/>
              </a:solidFill>
              <a:ln w="6350">
                <a:solidFill>
                  <a:srgbClr val="D9F4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130" name="Luxembourg" descr="{&quot;Key&quot;:&quot;luxembourg&quot;,&quot;Name&quot;:&quot;Luxembourg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BC693E14-EA3F-0FF4-68BD-914DB34DF3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3237" y="4651309"/>
                <a:ext cx="78491" cy="111502"/>
              </a:xfrm>
              <a:custGeom>
                <a:avLst/>
                <a:gdLst>
                  <a:gd name="T0" fmla="*/ 30 w 47"/>
                  <a:gd name="T1" fmla="*/ 61 h 62"/>
                  <a:gd name="T2" fmla="*/ 20 w 47"/>
                  <a:gd name="T3" fmla="*/ 59 h 62"/>
                  <a:gd name="T4" fmla="*/ 11 w 47"/>
                  <a:gd name="T5" fmla="*/ 61 h 62"/>
                  <a:gd name="T6" fmla="*/ 11 w 47"/>
                  <a:gd name="T7" fmla="*/ 59 h 62"/>
                  <a:gd name="T8" fmla="*/ 4 w 47"/>
                  <a:gd name="T9" fmla="*/ 56 h 62"/>
                  <a:gd name="T10" fmla="*/ 4 w 47"/>
                  <a:gd name="T11" fmla="*/ 54 h 62"/>
                  <a:gd name="T12" fmla="*/ 1 w 47"/>
                  <a:gd name="T13" fmla="*/ 28 h 62"/>
                  <a:gd name="T14" fmla="*/ 21 w 47"/>
                  <a:gd name="T15" fmla="*/ 11 h 62"/>
                  <a:gd name="T16" fmla="*/ 21 w 47"/>
                  <a:gd name="T17" fmla="*/ 21 h 62"/>
                  <a:gd name="T18" fmla="*/ 39 w 47"/>
                  <a:gd name="T19" fmla="*/ 36 h 62"/>
                  <a:gd name="T20" fmla="*/ 30 w 47"/>
                  <a:gd name="T21" fmla="*/ 61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7" h="62">
                    <a:moveTo>
                      <a:pt x="30" y="61"/>
                    </a:moveTo>
                    <a:cubicBezTo>
                      <a:pt x="27" y="60"/>
                      <a:pt x="24" y="59"/>
                      <a:pt x="20" y="59"/>
                    </a:cubicBezTo>
                    <a:cubicBezTo>
                      <a:pt x="18" y="59"/>
                      <a:pt x="15" y="61"/>
                      <a:pt x="11" y="61"/>
                    </a:cubicBezTo>
                    <a:cubicBezTo>
                      <a:pt x="11" y="62"/>
                      <a:pt x="11" y="60"/>
                      <a:pt x="11" y="59"/>
                    </a:cubicBezTo>
                    <a:cubicBezTo>
                      <a:pt x="9" y="58"/>
                      <a:pt x="6" y="57"/>
                      <a:pt x="4" y="56"/>
                    </a:cubicBezTo>
                    <a:cubicBezTo>
                      <a:pt x="4" y="54"/>
                      <a:pt x="4" y="54"/>
                      <a:pt x="4" y="54"/>
                    </a:cubicBezTo>
                    <a:cubicBezTo>
                      <a:pt x="17" y="55"/>
                      <a:pt x="0" y="33"/>
                      <a:pt x="1" y="28"/>
                    </a:cubicBezTo>
                    <a:cubicBezTo>
                      <a:pt x="4" y="21"/>
                      <a:pt x="15" y="0"/>
                      <a:pt x="21" y="11"/>
                    </a:cubicBezTo>
                    <a:cubicBezTo>
                      <a:pt x="20" y="14"/>
                      <a:pt x="20" y="17"/>
                      <a:pt x="21" y="21"/>
                    </a:cubicBezTo>
                    <a:cubicBezTo>
                      <a:pt x="24" y="33"/>
                      <a:pt x="37" y="34"/>
                      <a:pt x="39" y="36"/>
                    </a:cubicBezTo>
                    <a:cubicBezTo>
                      <a:pt x="47" y="46"/>
                      <a:pt x="24" y="50"/>
                      <a:pt x="30" y="61"/>
                    </a:cubicBezTo>
                    <a:close/>
                  </a:path>
                </a:pathLst>
              </a:custGeom>
              <a:solidFill>
                <a:srgbClr val="6785C1">
                  <a:lumMod val="40000"/>
                  <a:lumOff val="60000"/>
                </a:srgbClr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131" name="Netherlands" descr="{&quot;Key&quot;:&quot;netherlands&quot;,&quot;Name&quot;:&quot;Netherlands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4424D57E-067F-367C-5080-3166834DE6C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69963" y="4224416"/>
                <a:ext cx="315447" cy="371144"/>
              </a:xfrm>
              <a:custGeom>
                <a:avLst/>
                <a:gdLst>
                  <a:gd name="T0" fmla="*/ 90 w 188"/>
                  <a:gd name="T1" fmla="*/ 35 h 206"/>
                  <a:gd name="T2" fmla="*/ 88 w 188"/>
                  <a:gd name="T3" fmla="*/ 58 h 206"/>
                  <a:gd name="T4" fmla="*/ 83 w 188"/>
                  <a:gd name="T5" fmla="*/ 76 h 206"/>
                  <a:gd name="T6" fmla="*/ 116 w 188"/>
                  <a:gd name="T7" fmla="*/ 61 h 206"/>
                  <a:gd name="T8" fmla="*/ 120 w 188"/>
                  <a:gd name="T9" fmla="*/ 44 h 206"/>
                  <a:gd name="T10" fmla="*/ 107 w 188"/>
                  <a:gd name="T11" fmla="*/ 29 h 206"/>
                  <a:gd name="T12" fmla="*/ 101 w 188"/>
                  <a:gd name="T13" fmla="*/ 28 h 206"/>
                  <a:gd name="T14" fmla="*/ 77 w 188"/>
                  <a:gd name="T15" fmla="*/ 34 h 206"/>
                  <a:gd name="T16" fmla="*/ 65 w 188"/>
                  <a:gd name="T17" fmla="*/ 70 h 206"/>
                  <a:gd name="T18" fmla="*/ 41 w 188"/>
                  <a:gd name="T19" fmla="*/ 103 h 206"/>
                  <a:gd name="T20" fmla="*/ 37 w 188"/>
                  <a:gd name="T21" fmla="*/ 116 h 206"/>
                  <a:gd name="T22" fmla="*/ 31 w 188"/>
                  <a:gd name="T23" fmla="*/ 132 h 206"/>
                  <a:gd name="T24" fmla="*/ 42 w 188"/>
                  <a:gd name="T25" fmla="*/ 135 h 206"/>
                  <a:gd name="T26" fmla="*/ 44 w 188"/>
                  <a:gd name="T27" fmla="*/ 142 h 206"/>
                  <a:gd name="T28" fmla="*/ 5 w 188"/>
                  <a:gd name="T29" fmla="*/ 135 h 206"/>
                  <a:gd name="T30" fmla="*/ 28 w 188"/>
                  <a:gd name="T31" fmla="*/ 143 h 206"/>
                  <a:gd name="T32" fmla="*/ 43 w 188"/>
                  <a:gd name="T33" fmla="*/ 147 h 206"/>
                  <a:gd name="T34" fmla="*/ 50 w 188"/>
                  <a:gd name="T35" fmla="*/ 152 h 206"/>
                  <a:gd name="T36" fmla="*/ 56 w 188"/>
                  <a:gd name="T37" fmla="*/ 147 h 206"/>
                  <a:gd name="T38" fmla="*/ 67 w 188"/>
                  <a:gd name="T39" fmla="*/ 149 h 206"/>
                  <a:gd name="T40" fmla="*/ 87 w 188"/>
                  <a:gd name="T41" fmla="*/ 162 h 206"/>
                  <a:gd name="T42" fmla="*/ 113 w 188"/>
                  <a:gd name="T43" fmla="*/ 176 h 206"/>
                  <a:gd name="T44" fmla="*/ 110 w 188"/>
                  <a:gd name="T45" fmla="*/ 187 h 206"/>
                  <a:gd name="T46" fmla="*/ 121 w 188"/>
                  <a:gd name="T47" fmla="*/ 202 h 206"/>
                  <a:gd name="T48" fmla="*/ 120 w 188"/>
                  <a:gd name="T49" fmla="*/ 198 h 206"/>
                  <a:gd name="T50" fmla="*/ 116 w 188"/>
                  <a:gd name="T51" fmla="*/ 180 h 206"/>
                  <a:gd name="T52" fmla="*/ 130 w 188"/>
                  <a:gd name="T53" fmla="*/ 172 h 206"/>
                  <a:gd name="T54" fmla="*/ 133 w 188"/>
                  <a:gd name="T55" fmla="*/ 157 h 206"/>
                  <a:gd name="T56" fmla="*/ 123 w 188"/>
                  <a:gd name="T57" fmla="*/ 125 h 206"/>
                  <a:gd name="T58" fmla="*/ 133 w 188"/>
                  <a:gd name="T59" fmla="*/ 121 h 206"/>
                  <a:gd name="T60" fmla="*/ 143 w 188"/>
                  <a:gd name="T61" fmla="*/ 122 h 206"/>
                  <a:gd name="T62" fmla="*/ 158 w 188"/>
                  <a:gd name="T63" fmla="*/ 106 h 206"/>
                  <a:gd name="T64" fmla="*/ 159 w 188"/>
                  <a:gd name="T65" fmla="*/ 70 h 206"/>
                  <a:gd name="T66" fmla="*/ 161 w 188"/>
                  <a:gd name="T67" fmla="*/ 64 h 206"/>
                  <a:gd name="T68" fmla="*/ 175 w 188"/>
                  <a:gd name="T69" fmla="*/ 65 h 206"/>
                  <a:gd name="T70" fmla="*/ 187 w 188"/>
                  <a:gd name="T71" fmla="*/ 20 h 206"/>
                  <a:gd name="T72" fmla="*/ 107 w 188"/>
                  <a:gd name="T73" fmla="*/ 18 h 206"/>
                  <a:gd name="T74" fmla="*/ 1 w 188"/>
                  <a:gd name="T75" fmla="*/ 147 h 206"/>
                  <a:gd name="T76" fmla="*/ 21 w 188"/>
                  <a:gd name="T77" fmla="*/ 160 h 206"/>
                  <a:gd name="T78" fmla="*/ 30 w 188"/>
                  <a:gd name="T79" fmla="*/ 147 h 206"/>
                  <a:gd name="T80" fmla="*/ 9 w 188"/>
                  <a:gd name="T81" fmla="*/ 145 h 206"/>
                  <a:gd name="T82" fmla="*/ 1 w 188"/>
                  <a:gd name="T83" fmla="*/ 147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88" h="206">
                    <a:moveTo>
                      <a:pt x="100" y="27"/>
                    </a:moveTo>
                    <a:cubicBezTo>
                      <a:pt x="90" y="35"/>
                      <a:pt x="90" y="35"/>
                      <a:pt x="90" y="35"/>
                    </a:cubicBezTo>
                    <a:cubicBezTo>
                      <a:pt x="84" y="55"/>
                      <a:pt x="109" y="46"/>
                      <a:pt x="100" y="52"/>
                    </a:cubicBezTo>
                    <a:cubicBezTo>
                      <a:pt x="96" y="55"/>
                      <a:pt x="90" y="54"/>
                      <a:pt x="88" y="58"/>
                    </a:cubicBezTo>
                    <a:cubicBezTo>
                      <a:pt x="85" y="62"/>
                      <a:pt x="94" y="66"/>
                      <a:pt x="91" y="69"/>
                    </a:cubicBezTo>
                    <a:cubicBezTo>
                      <a:pt x="89" y="71"/>
                      <a:pt x="82" y="74"/>
                      <a:pt x="83" y="76"/>
                    </a:cubicBezTo>
                    <a:cubicBezTo>
                      <a:pt x="90" y="79"/>
                      <a:pt x="90" y="79"/>
                      <a:pt x="90" y="79"/>
                    </a:cubicBezTo>
                    <a:cubicBezTo>
                      <a:pt x="94" y="79"/>
                      <a:pt x="106" y="56"/>
                      <a:pt x="116" y="61"/>
                    </a:cubicBezTo>
                    <a:cubicBezTo>
                      <a:pt x="119" y="63"/>
                      <a:pt x="114" y="60"/>
                      <a:pt x="113" y="56"/>
                    </a:cubicBezTo>
                    <a:cubicBezTo>
                      <a:pt x="112" y="52"/>
                      <a:pt x="121" y="48"/>
                      <a:pt x="120" y="44"/>
                    </a:cubicBezTo>
                    <a:cubicBezTo>
                      <a:pt x="117" y="39"/>
                      <a:pt x="104" y="46"/>
                      <a:pt x="104" y="40"/>
                    </a:cubicBezTo>
                    <a:cubicBezTo>
                      <a:pt x="104" y="36"/>
                      <a:pt x="107" y="33"/>
                      <a:pt x="107" y="29"/>
                    </a:cubicBezTo>
                    <a:cubicBezTo>
                      <a:pt x="107" y="28"/>
                      <a:pt x="106" y="27"/>
                      <a:pt x="105" y="26"/>
                    </a:cubicBezTo>
                    <a:cubicBezTo>
                      <a:pt x="105" y="25"/>
                      <a:pt x="98" y="31"/>
                      <a:pt x="101" y="28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86" y="36"/>
                      <a:pt x="81" y="34"/>
                      <a:pt x="77" y="34"/>
                    </a:cubicBezTo>
                    <a:cubicBezTo>
                      <a:pt x="75" y="34"/>
                      <a:pt x="74" y="33"/>
                      <a:pt x="73" y="34"/>
                    </a:cubicBezTo>
                    <a:cubicBezTo>
                      <a:pt x="66" y="43"/>
                      <a:pt x="68" y="61"/>
                      <a:pt x="65" y="70"/>
                    </a:cubicBezTo>
                    <a:cubicBezTo>
                      <a:pt x="61" y="79"/>
                      <a:pt x="54" y="89"/>
                      <a:pt x="48" y="95"/>
                    </a:cubicBezTo>
                    <a:cubicBezTo>
                      <a:pt x="46" y="98"/>
                      <a:pt x="44" y="102"/>
                      <a:pt x="41" y="103"/>
                    </a:cubicBezTo>
                    <a:cubicBezTo>
                      <a:pt x="40" y="104"/>
                      <a:pt x="36" y="102"/>
                      <a:pt x="35" y="104"/>
                    </a:cubicBezTo>
                    <a:cubicBezTo>
                      <a:pt x="34" y="108"/>
                      <a:pt x="39" y="112"/>
                      <a:pt x="37" y="116"/>
                    </a:cubicBezTo>
                    <a:cubicBezTo>
                      <a:pt x="32" y="125"/>
                      <a:pt x="14" y="120"/>
                      <a:pt x="18" y="122"/>
                    </a:cubicBezTo>
                    <a:cubicBezTo>
                      <a:pt x="23" y="125"/>
                      <a:pt x="26" y="129"/>
                      <a:pt x="31" y="132"/>
                    </a:cubicBezTo>
                    <a:cubicBezTo>
                      <a:pt x="34" y="132"/>
                      <a:pt x="36" y="129"/>
                      <a:pt x="37" y="129"/>
                    </a:cubicBezTo>
                    <a:cubicBezTo>
                      <a:pt x="40" y="130"/>
                      <a:pt x="44" y="133"/>
                      <a:pt x="42" y="135"/>
                    </a:cubicBezTo>
                    <a:cubicBezTo>
                      <a:pt x="39" y="137"/>
                      <a:pt x="32" y="130"/>
                      <a:pt x="32" y="134"/>
                    </a:cubicBezTo>
                    <a:cubicBezTo>
                      <a:pt x="32" y="139"/>
                      <a:pt x="47" y="138"/>
                      <a:pt x="44" y="142"/>
                    </a:cubicBezTo>
                    <a:cubicBezTo>
                      <a:pt x="36" y="154"/>
                      <a:pt x="28" y="133"/>
                      <a:pt x="24" y="132"/>
                    </a:cubicBezTo>
                    <a:cubicBezTo>
                      <a:pt x="14" y="129"/>
                      <a:pt x="4" y="131"/>
                      <a:pt x="5" y="135"/>
                    </a:cubicBezTo>
                    <a:cubicBezTo>
                      <a:pt x="5" y="136"/>
                      <a:pt x="23" y="147"/>
                      <a:pt x="26" y="147"/>
                    </a:cubicBezTo>
                    <a:cubicBezTo>
                      <a:pt x="27" y="147"/>
                      <a:pt x="27" y="145"/>
                      <a:pt x="28" y="143"/>
                    </a:cubicBezTo>
                    <a:cubicBezTo>
                      <a:pt x="30" y="142"/>
                      <a:pt x="32" y="146"/>
                      <a:pt x="35" y="146"/>
                    </a:cubicBezTo>
                    <a:cubicBezTo>
                      <a:pt x="37" y="147"/>
                      <a:pt x="40" y="145"/>
                      <a:pt x="43" y="147"/>
                    </a:cubicBezTo>
                    <a:cubicBezTo>
                      <a:pt x="44" y="149"/>
                      <a:pt x="45" y="150"/>
                      <a:pt x="45" y="152"/>
                    </a:cubicBezTo>
                    <a:cubicBezTo>
                      <a:pt x="47" y="152"/>
                      <a:pt x="48" y="153"/>
                      <a:pt x="50" y="152"/>
                    </a:cubicBezTo>
                    <a:cubicBezTo>
                      <a:pt x="54" y="152"/>
                      <a:pt x="43" y="139"/>
                      <a:pt x="57" y="143"/>
                    </a:cubicBezTo>
                    <a:cubicBezTo>
                      <a:pt x="58" y="143"/>
                      <a:pt x="56" y="146"/>
                      <a:pt x="56" y="147"/>
                    </a:cubicBezTo>
                    <a:cubicBezTo>
                      <a:pt x="63" y="152"/>
                      <a:pt x="65" y="139"/>
                      <a:pt x="70" y="143"/>
                    </a:cubicBezTo>
                    <a:cubicBezTo>
                      <a:pt x="71" y="145"/>
                      <a:pt x="65" y="148"/>
                      <a:pt x="67" y="149"/>
                    </a:cubicBezTo>
                    <a:cubicBezTo>
                      <a:pt x="80" y="156"/>
                      <a:pt x="69" y="147"/>
                      <a:pt x="79" y="145"/>
                    </a:cubicBezTo>
                    <a:cubicBezTo>
                      <a:pt x="80" y="145"/>
                      <a:pt x="83" y="161"/>
                      <a:pt x="87" y="162"/>
                    </a:cubicBezTo>
                    <a:cubicBezTo>
                      <a:pt x="96" y="163"/>
                      <a:pt x="108" y="163"/>
                      <a:pt x="116" y="172"/>
                    </a:cubicBezTo>
                    <a:cubicBezTo>
                      <a:pt x="116" y="173"/>
                      <a:pt x="113" y="175"/>
                      <a:pt x="113" y="176"/>
                    </a:cubicBezTo>
                    <a:cubicBezTo>
                      <a:pt x="112" y="179"/>
                      <a:pt x="109" y="182"/>
                      <a:pt x="108" y="185"/>
                    </a:cubicBezTo>
                    <a:cubicBezTo>
                      <a:pt x="108" y="186"/>
                      <a:pt x="111" y="186"/>
                      <a:pt x="110" y="187"/>
                    </a:cubicBezTo>
                    <a:cubicBezTo>
                      <a:pt x="110" y="189"/>
                      <a:pt x="107" y="189"/>
                      <a:pt x="107" y="192"/>
                    </a:cubicBezTo>
                    <a:cubicBezTo>
                      <a:pt x="103" y="206"/>
                      <a:pt x="112" y="202"/>
                      <a:pt x="121" y="202"/>
                    </a:cubicBezTo>
                    <a:cubicBezTo>
                      <a:pt x="122" y="202"/>
                      <a:pt x="122" y="202"/>
                      <a:pt x="122" y="202"/>
                    </a:cubicBezTo>
                    <a:cubicBezTo>
                      <a:pt x="121" y="201"/>
                      <a:pt x="120" y="199"/>
                      <a:pt x="120" y="198"/>
                    </a:cubicBezTo>
                    <a:cubicBezTo>
                      <a:pt x="121" y="196"/>
                      <a:pt x="125" y="196"/>
                      <a:pt x="125" y="194"/>
                    </a:cubicBezTo>
                    <a:cubicBezTo>
                      <a:pt x="127" y="184"/>
                      <a:pt x="110" y="181"/>
                      <a:pt x="116" y="180"/>
                    </a:cubicBezTo>
                    <a:cubicBezTo>
                      <a:pt x="117" y="179"/>
                      <a:pt x="118" y="181"/>
                      <a:pt x="120" y="181"/>
                    </a:cubicBezTo>
                    <a:cubicBezTo>
                      <a:pt x="130" y="172"/>
                      <a:pt x="130" y="172"/>
                      <a:pt x="130" y="172"/>
                    </a:cubicBezTo>
                    <a:cubicBezTo>
                      <a:pt x="131" y="169"/>
                      <a:pt x="123" y="172"/>
                      <a:pt x="126" y="168"/>
                    </a:cubicBezTo>
                    <a:cubicBezTo>
                      <a:pt x="127" y="164"/>
                      <a:pt x="131" y="161"/>
                      <a:pt x="133" y="157"/>
                    </a:cubicBezTo>
                    <a:cubicBezTo>
                      <a:pt x="138" y="145"/>
                      <a:pt x="126" y="136"/>
                      <a:pt x="122" y="129"/>
                    </a:cubicBezTo>
                    <a:cubicBezTo>
                      <a:pt x="122" y="128"/>
                      <a:pt x="123" y="126"/>
                      <a:pt x="123" y="125"/>
                    </a:cubicBezTo>
                    <a:cubicBezTo>
                      <a:pt x="123" y="124"/>
                      <a:pt x="122" y="122"/>
                      <a:pt x="123" y="122"/>
                    </a:cubicBezTo>
                    <a:cubicBezTo>
                      <a:pt x="126" y="120"/>
                      <a:pt x="130" y="122"/>
                      <a:pt x="133" y="121"/>
                    </a:cubicBezTo>
                    <a:cubicBezTo>
                      <a:pt x="134" y="120"/>
                      <a:pt x="132" y="117"/>
                      <a:pt x="133" y="117"/>
                    </a:cubicBezTo>
                    <a:cubicBezTo>
                      <a:pt x="137" y="119"/>
                      <a:pt x="139" y="122"/>
                      <a:pt x="143" y="122"/>
                    </a:cubicBezTo>
                    <a:cubicBezTo>
                      <a:pt x="147" y="123"/>
                      <a:pt x="162" y="118"/>
                      <a:pt x="164" y="114"/>
                    </a:cubicBezTo>
                    <a:cubicBezTo>
                      <a:pt x="165" y="110"/>
                      <a:pt x="153" y="109"/>
                      <a:pt x="158" y="106"/>
                    </a:cubicBezTo>
                    <a:cubicBezTo>
                      <a:pt x="167" y="100"/>
                      <a:pt x="178" y="98"/>
                      <a:pt x="176" y="83"/>
                    </a:cubicBezTo>
                    <a:cubicBezTo>
                      <a:pt x="175" y="76"/>
                      <a:pt x="154" y="79"/>
                      <a:pt x="159" y="70"/>
                    </a:cubicBezTo>
                    <a:cubicBezTo>
                      <a:pt x="160" y="69"/>
                      <a:pt x="163" y="70"/>
                      <a:pt x="163" y="69"/>
                    </a:cubicBezTo>
                    <a:cubicBezTo>
                      <a:pt x="163" y="68"/>
                      <a:pt x="160" y="66"/>
                      <a:pt x="161" y="64"/>
                    </a:cubicBezTo>
                    <a:cubicBezTo>
                      <a:pt x="161" y="63"/>
                      <a:pt x="163" y="63"/>
                      <a:pt x="164" y="63"/>
                    </a:cubicBezTo>
                    <a:cubicBezTo>
                      <a:pt x="168" y="63"/>
                      <a:pt x="171" y="65"/>
                      <a:pt x="175" y="65"/>
                    </a:cubicBezTo>
                    <a:cubicBezTo>
                      <a:pt x="180" y="65"/>
                      <a:pt x="176" y="56"/>
                      <a:pt x="177" y="51"/>
                    </a:cubicBezTo>
                    <a:cubicBezTo>
                      <a:pt x="178" y="47"/>
                      <a:pt x="188" y="29"/>
                      <a:pt x="187" y="20"/>
                    </a:cubicBezTo>
                    <a:cubicBezTo>
                      <a:pt x="176" y="25"/>
                      <a:pt x="174" y="4"/>
                      <a:pt x="165" y="2"/>
                    </a:cubicBezTo>
                    <a:cubicBezTo>
                      <a:pt x="156" y="0"/>
                      <a:pt x="112" y="10"/>
                      <a:pt x="107" y="18"/>
                    </a:cubicBezTo>
                    <a:cubicBezTo>
                      <a:pt x="104" y="21"/>
                      <a:pt x="103" y="25"/>
                      <a:pt x="100" y="27"/>
                    </a:cubicBezTo>
                    <a:close/>
                    <a:moveTo>
                      <a:pt x="1" y="147"/>
                    </a:moveTo>
                    <a:cubicBezTo>
                      <a:pt x="0" y="162"/>
                      <a:pt x="12" y="152"/>
                      <a:pt x="21" y="156"/>
                    </a:cubicBezTo>
                    <a:cubicBezTo>
                      <a:pt x="22" y="157"/>
                      <a:pt x="19" y="159"/>
                      <a:pt x="21" y="160"/>
                    </a:cubicBezTo>
                    <a:cubicBezTo>
                      <a:pt x="27" y="165"/>
                      <a:pt x="33" y="157"/>
                      <a:pt x="37" y="153"/>
                    </a:cubicBezTo>
                    <a:cubicBezTo>
                      <a:pt x="35" y="150"/>
                      <a:pt x="31" y="148"/>
                      <a:pt x="30" y="147"/>
                    </a:cubicBezTo>
                    <a:cubicBezTo>
                      <a:pt x="27" y="147"/>
                      <a:pt x="27" y="152"/>
                      <a:pt x="24" y="152"/>
                    </a:cubicBezTo>
                    <a:cubicBezTo>
                      <a:pt x="14" y="152"/>
                      <a:pt x="21" y="146"/>
                      <a:pt x="9" y="145"/>
                    </a:cubicBezTo>
                    <a:cubicBezTo>
                      <a:pt x="6" y="144"/>
                      <a:pt x="4" y="144"/>
                      <a:pt x="0" y="145"/>
                    </a:cubicBezTo>
                    <a:lnTo>
                      <a:pt x="1" y="147"/>
                    </a:lnTo>
                    <a:close/>
                  </a:path>
                </a:pathLst>
              </a:custGeom>
              <a:solidFill>
                <a:srgbClr val="6785C1">
                  <a:lumMod val="40000"/>
                  <a:lumOff val="60000"/>
                </a:srgbClr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132" name="Bosnia and Herzegovina" descr="{&quot;Key&quot;:&quot;bosnia and herzegovina&quot;,&quot;Name&quot;:&quot;Bosnia and Herzegovina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0D91A5C1-A105-D9DC-558C-8FB728DC4A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87391" y="5299613"/>
                <a:ext cx="368761" cy="358400"/>
              </a:xfrm>
              <a:custGeom>
                <a:avLst/>
                <a:gdLst>
                  <a:gd name="T0" fmla="*/ 181 w 221"/>
                  <a:gd name="T1" fmla="*/ 130 h 199"/>
                  <a:gd name="T2" fmla="*/ 181 w 221"/>
                  <a:gd name="T3" fmla="*/ 130 h 199"/>
                  <a:gd name="T4" fmla="*/ 167 w 221"/>
                  <a:gd name="T5" fmla="*/ 157 h 199"/>
                  <a:gd name="T6" fmla="*/ 166 w 221"/>
                  <a:gd name="T7" fmla="*/ 190 h 199"/>
                  <a:gd name="T8" fmla="*/ 169 w 221"/>
                  <a:gd name="T9" fmla="*/ 199 h 199"/>
                  <a:gd name="T10" fmla="*/ 128 w 221"/>
                  <a:gd name="T11" fmla="*/ 169 h 199"/>
                  <a:gd name="T12" fmla="*/ 114 w 221"/>
                  <a:gd name="T13" fmla="*/ 169 h 199"/>
                  <a:gd name="T14" fmla="*/ 97 w 221"/>
                  <a:gd name="T15" fmla="*/ 143 h 199"/>
                  <a:gd name="T16" fmla="*/ 85 w 221"/>
                  <a:gd name="T17" fmla="*/ 129 h 199"/>
                  <a:gd name="T18" fmla="*/ 35 w 221"/>
                  <a:gd name="T19" fmla="*/ 82 h 199"/>
                  <a:gd name="T20" fmla="*/ 30 w 221"/>
                  <a:gd name="T21" fmla="*/ 83 h 199"/>
                  <a:gd name="T22" fmla="*/ 29 w 221"/>
                  <a:gd name="T23" fmla="*/ 68 h 199"/>
                  <a:gd name="T24" fmla="*/ 7 w 221"/>
                  <a:gd name="T25" fmla="*/ 42 h 199"/>
                  <a:gd name="T26" fmla="*/ 33 w 221"/>
                  <a:gd name="T27" fmla="*/ 23 h 199"/>
                  <a:gd name="T28" fmla="*/ 33 w 221"/>
                  <a:gd name="T29" fmla="*/ 23 h 199"/>
                  <a:gd name="T30" fmla="*/ 52 w 221"/>
                  <a:gd name="T31" fmla="*/ 6 h 199"/>
                  <a:gd name="T32" fmla="*/ 64 w 221"/>
                  <a:gd name="T33" fmla="*/ 0 h 199"/>
                  <a:gd name="T34" fmla="*/ 81 w 221"/>
                  <a:gd name="T35" fmla="*/ 7 h 199"/>
                  <a:gd name="T36" fmla="*/ 99 w 221"/>
                  <a:gd name="T37" fmla="*/ 8 h 199"/>
                  <a:gd name="T38" fmla="*/ 118 w 221"/>
                  <a:gd name="T39" fmla="*/ 8 h 199"/>
                  <a:gd name="T40" fmla="*/ 131 w 221"/>
                  <a:gd name="T41" fmla="*/ 7 h 199"/>
                  <a:gd name="T42" fmla="*/ 144 w 221"/>
                  <a:gd name="T43" fmla="*/ 3 h 199"/>
                  <a:gd name="T44" fmla="*/ 151 w 221"/>
                  <a:gd name="T45" fmla="*/ 3 h 199"/>
                  <a:gd name="T46" fmla="*/ 181 w 221"/>
                  <a:gd name="T47" fmla="*/ 16 h 199"/>
                  <a:gd name="T48" fmla="*/ 185 w 221"/>
                  <a:gd name="T49" fmla="*/ 53 h 199"/>
                  <a:gd name="T50" fmla="*/ 199 w 221"/>
                  <a:gd name="T51" fmla="*/ 60 h 199"/>
                  <a:gd name="T52" fmla="*/ 216 w 221"/>
                  <a:gd name="T53" fmla="*/ 76 h 199"/>
                  <a:gd name="T54" fmla="*/ 196 w 221"/>
                  <a:gd name="T55" fmla="*/ 79 h 199"/>
                  <a:gd name="T56" fmla="*/ 210 w 221"/>
                  <a:gd name="T57" fmla="*/ 109 h 199"/>
                  <a:gd name="T58" fmla="*/ 200 w 221"/>
                  <a:gd name="T59" fmla="*/ 116 h 199"/>
                  <a:gd name="T60" fmla="*/ 185 w 221"/>
                  <a:gd name="T61" fmla="*/ 117 h 199"/>
                  <a:gd name="T62" fmla="*/ 190 w 221"/>
                  <a:gd name="T63" fmla="*/ 138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21" h="199">
                    <a:moveTo>
                      <a:pt x="193" y="138"/>
                    </a:moveTo>
                    <a:cubicBezTo>
                      <a:pt x="187" y="134"/>
                      <a:pt x="187" y="130"/>
                      <a:pt x="181" y="130"/>
                    </a:cubicBezTo>
                    <a:cubicBezTo>
                      <a:pt x="182" y="129"/>
                      <a:pt x="182" y="129"/>
                      <a:pt x="182" y="129"/>
                    </a:cubicBezTo>
                    <a:cubicBezTo>
                      <a:pt x="181" y="130"/>
                      <a:pt x="181" y="130"/>
                      <a:pt x="181" y="130"/>
                    </a:cubicBezTo>
                    <a:cubicBezTo>
                      <a:pt x="173" y="139"/>
                      <a:pt x="174" y="152"/>
                      <a:pt x="172" y="155"/>
                    </a:cubicBezTo>
                    <a:cubicBezTo>
                      <a:pt x="170" y="158"/>
                      <a:pt x="168" y="157"/>
                      <a:pt x="167" y="157"/>
                    </a:cubicBezTo>
                    <a:cubicBezTo>
                      <a:pt x="166" y="157"/>
                      <a:pt x="165" y="156"/>
                      <a:pt x="164" y="161"/>
                    </a:cubicBezTo>
                    <a:cubicBezTo>
                      <a:pt x="161" y="177"/>
                      <a:pt x="179" y="178"/>
                      <a:pt x="166" y="190"/>
                    </a:cubicBezTo>
                    <a:cubicBezTo>
                      <a:pt x="168" y="190"/>
                      <a:pt x="168" y="190"/>
                      <a:pt x="168" y="190"/>
                    </a:cubicBezTo>
                    <a:cubicBezTo>
                      <a:pt x="169" y="199"/>
                      <a:pt x="169" y="199"/>
                      <a:pt x="169" y="199"/>
                    </a:cubicBezTo>
                    <a:cubicBezTo>
                      <a:pt x="162" y="182"/>
                      <a:pt x="151" y="188"/>
                      <a:pt x="137" y="178"/>
                    </a:cubicBezTo>
                    <a:cubicBezTo>
                      <a:pt x="133" y="175"/>
                      <a:pt x="132" y="170"/>
                      <a:pt x="128" y="169"/>
                    </a:cubicBezTo>
                    <a:cubicBezTo>
                      <a:pt x="125" y="168"/>
                      <a:pt x="122" y="171"/>
                      <a:pt x="119" y="171"/>
                    </a:cubicBezTo>
                    <a:cubicBezTo>
                      <a:pt x="117" y="171"/>
                      <a:pt x="113" y="171"/>
                      <a:pt x="114" y="169"/>
                    </a:cubicBezTo>
                    <a:cubicBezTo>
                      <a:pt x="115" y="167"/>
                      <a:pt x="120" y="167"/>
                      <a:pt x="120" y="164"/>
                    </a:cubicBezTo>
                    <a:cubicBezTo>
                      <a:pt x="123" y="157"/>
                      <a:pt x="99" y="147"/>
                      <a:pt x="97" y="143"/>
                    </a:cubicBezTo>
                    <a:cubicBezTo>
                      <a:pt x="94" y="140"/>
                      <a:pt x="96" y="135"/>
                      <a:pt x="94" y="131"/>
                    </a:cubicBezTo>
                    <a:cubicBezTo>
                      <a:pt x="92" y="129"/>
                      <a:pt x="88" y="130"/>
                      <a:pt x="85" y="129"/>
                    </a:cubicBezTo>
                    <a:cubicBezTo>
                      <a:pt x="73" y="121"/>
                      <a:pt x="66" y="108"/>
                      <a:pt x="56" y="99"/>
                    </a:cubicBezTo>
                    <a:cubicBezTo>
                      <a:pt x="52" y="97"/>
                      <a:pt x="39" y="84"/>
                      <a:pt x="35" y="82"/>
                    </a:cubicBezTo>
                    <a:cubicBezTo>
                      <a:pt x="35" y="82"/>
                      <a:pt x="34" y="82"/>
                      <a:pt x="33" y="83"/>
                    </a:cubicBezTo>
                    <a:cubicBezTo>
                      <a:pt x="32" y="83"/>
                      <a:pt x="31" y="83"/>
                      <a:pt x="30" y="83"/>
                    </a:cubicBezTo>
                    <a:cubicBezTo>
                      <a:pt x="27" y="80"/>
                      <a:pt x="34" y="74"/>
                      <a:pt x="34" y="73"/>
                    </a:cubicBezTo>
                    <a:cubicBezTo>
                      <a:pt x="33" y="70"/>
                      <a:pt x="30" y="70"/>
                      <a:pt x="29" y="68"/>
                    </a:cubicBezTo>
                    <a:cubicBezTo>
                      <a:pt x="24" y="61"/>
                      <a:pt x="22" y="52"/>
                      <a:pt x="16" y="47"/>
                    </a:cubicBezTo>
                    <a:cubicBezTo>
                      <a:pt x="14" y="44"/>
                      <a:pt x="9" y="44"/>
                      <a:pt x="7" y="42"/>
                    </a:cubicBezTo>
                    <a:cubicBezTo>
                      <a:pt x="4" y="40"/>
                      <a:pt x="0" y="7"/>
                      <a:pt x="13" y="8"/>
                    </a:cubicBezTo>
                    <a:cubicBezTo>
                      <a:pt x="18" y="8"/>
                      <a:pt x="28" y="20"/>
                      <a:pt x="33" y="23"/>
                    </a:cubicBezTo>
                    <a:cubicBezTo>
                      <a:pt x="38" y="22"/>
                      <a:pt x="38" y="22"/>
                      <a:pt x="38" y="22"/>
                    </a:cubicBezTo>
                    <a:cubicBezTo>
                      <a:pt x="33" y="23"/>
                      <a:pt x="33" y="23"/>
                      <a:pt x="33" y="23"/>
                    </a:cubicBezTo>
                    <a:cubicBezTo>
                      <a:pt x="40" y="22"/>
                      <a:pt x="39" y="12"/>
                      <a:pt x="42" y="7"/>
                    </a:cubicBezTo>
                    <a:cubicBezTo>
                      <a:pt x="46" y="3"/>
                      <a:pt x="49" y="4"/>
                      <a:pt x="52" y="6"/>
                    </a:cubicBezTo>
                    <a:cubicBezTo>
                      <a:pt x="54" y="7"/>
                      <a:pt x="56" y="8"/>
                      <a:pt x="59" y="7"/>
                    </a:cubicBezTo>
                    <a:cubicBezTo>
                      <a:pt x="61" y="6"/>
                      <a:pt x="61" y="2"/>
                      <a:pt x="64" y="0"/>
                    </a:cubicBezTo>
                    <a:cubicBezTo>
                      <a:pt x="64" y="0"/>
                      <a:pt x="67" y="4"/>
                      <a:pt x="77" y="6"/>
                    </a:cubicBezTo>
                    <a:cubicBezTo>
                      <a:pt x="78" y="7"/>
                      <a:pt x="80" y="8"/>
                      <a:pt x="81" y="7"/>
                    </a:cubicBezTo>
                    <a:cubicBezTo>
                      <a:pt x="82" y="7"/>
                      <a:pt x="83" y="5"/>
                      <a:pt x="85" y="4"/>
                    </a:cubicBezTo>
                    <a:cubicBezTo>
                      <a:pt x="88" y="4"/>
                      <a:pt x="93" y="6"/>
                      <a:pt x="99" y="8"/>
                    </a:cubicBezTo>
                    <a:cubicBezTo>
                      <a:pt x="104" y="10"/>
                      <a:pt x="110" y="12"/>
                      <a:pt x="114" y="11"/>
                    </a:cubicBezTo>
                    <a:cubicBezTo>
                      <a:pt x="116" y="11"/>
                      <a:pt x="118" y="10"/>
                      <a:pt x="118" y="8"/>
                    </a:cubicBezTo>
                    <a:cubicBezTo>
                      <a:pt x="120" y="7"/>
                      <a:pt x="119" y="3"/>
                      <a:pt x="121" y="3"/>
                    </a:cubicBezTo>
                    <a:cubicBezTo>
                      <a:pt x="125" y="2"/>
                      <a:pt x="127" y="6"/>
                      <a:pt x="131" y="7"/>
                    </a:cubicBezTo>
                    <a:cubicBezTo>
                      <a:pt x="137" y="9"/>
                      <a:pt x="129" y="4"/>
                      <a:pt x="133" y="3"/>
                    </a:cubicBezTo>
                    <a:cubicBezTo>
                      <a:pt x="136" y="2"/>
                      <a:pt x="140" y="2"/>
                      <a:pt x="144" y="3"/>
                    </a:cubicBezTo>
                    <a:cubicBezTo>
                      <a:pt x="146" y="4"/>
                      <a:pt x="147" y="7"/>
                      <a:pt x="150" y="7"/>
                    </a:cubicBezTo>
                    <a:cubicBezTo>
                      <a:pt x="151" y="7"/>
                      <a:pt x="150" y="3"/>
                      <a:pt x="151" y="3"/>
                    </a:cubicBezTo>
                    <a:cubicBezTo>
                      <a:pt x="164" y="4"/>
                      <a:pt x="161" y="18"/>
                      <a:pt x="167" y="19"/>
                    </a:cubicBezTo>
                    <a:cubicBezTo>
                      <a:pt x="173" y="19"/>
                      <a:pt x="177" y="18"/>
                      <a:pt x="181" y="16"/>
                    </a:cubicBezTo>
                    <a:cubicBezTo>
                      <a:pt x="185" y="14"/>
                      <a:pt x="189" y="12"/>
                      <a:pt x="194" y="13"/>
                    </a:cubicBezTo>
                    <a:cubicBezTo>
                      <a:pt x="194" y="30"/>
                      <a:pt x="184" y="42"/>
                      <a:pt x="185" y="53"/>
                    </a:cubicBezTo>
                    <a:cubicBezTo>
                      <a:pt x="187" y="61"/>
                      <a:pt x="189" y="60"/>
                      <a:pt x="192" y="59"/>
                    </a:cubicBezTo>
                    <a:cubicBezTo>
                      <a:pt x="194" y="59"/>
                      <a:pt x="196" y="58"/>
                      <a:pt x="199" y="60"/>
                    </a:cubicBezTo>
                    <a:cubicBezTo>
                      <a:pt x="204" y="62"/>
                      <a:pt x="205" y="69"/>
                      <a:pt x="210" y="72"/>
                    </a:cubicBezTo>
                    <a:cubicBezTo>
                      <a:pt x="212" y="73"/>
                      <a:pt x="218" y="71"/>
                      <a:pt x="216" y="76"/>
                    </a:cubicBezTo>
                    <a:cubicBezTo>
                      <a:pt x="214" y="83"/>
                      <a:pt x="208" y="81"/>
                      <a:pt x="203" y="79"/>
                    </a:cubicBezTo>
                    <a:cubicBezTo>
                      <a:pt x="200" y="78"/>
                      <a:pt x="197" y="77"/>
                      <a:pt x="196" y="79"/>
                    </a:cubicBezTo>
                    <a:cubicBezTo>
                      <a:pt x="196" y="79"/>
                      <a:pt x="221" y="103"/>
                      <a:pt x="214" y="110"/>
                    </a:cubicBezTo>
                    <a:cubicBezTo>
                      <a:pt x="213" y="111"/>
                      <a:pt x="212" y="110"/>
                      <a:pt x="210" y="109"/>
                    </a:cubicBezTo>
                    <a:cubicBezTo>
                      <a:pt x="209" y="108"/>
                      <a:pt x="208" y="107"/>
                      <a:pt x="206" y="107"/>
                    </a:cubicBezTo>
                    <a:cubicBezTo>
                      <a:pt x="203" y="108"/>
                      <a:pt x="202" y="113"/>
                      <a:pt x="200" y="116"/>
                    </a:cubicBezTo>
                    <a:cubicBezTo>
                      <a:pt x="199" y="116"/>
                      <a:pt x="196" y="116"/>
                      <a:pt x="193" y="116"/>
                    </a:cubicBezTo>
                    <a:cubicBezTo>
                      <a:pt x="189" y="116"/>
                      <a:pt x="185" y="116"/>
                      <a:pt x="185" y="117"/>
                    </a:cubicBezTo>
                    <a:cubicBezTo>
                      <a:pt x="183" y="125"/>
                      <a:pt x="197" y="126"/>
                      <a:pt x="193" y="138"/>
                    </a:cubicBezTo>
                    <a:cubicBezTo>
                      <a:pt x="190" y="138"/>
                      <a:pt x="190" y="138"/>
                      <a:pt x="190" y="138"/>
                    </a:cubicBezTo>
                    <a:cubicBezTo>
                      <a:pt x="193" y="138"/>
                      <a:pt x="193" y="138"/>
                      <a:pt x="193" y="138"/>
                    </a:cubicBezTo>
                  </a:path>
                </a:pathLst>
              </a:custGeom>
              <a:solidFill>
                <a:srgbClr val="A3DAFE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133" name="Slovenia" descr="{&quot;Key&quot;:&quot;slovenia&quot;,&quot;Name&quot;:&quot;Slovenia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E5EAD109-A5F0-80C6-BFB7-87D6AA4A28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7093" y="5092538"/>
                <a:ext cx="275461" cy="207076"/>
              </a:xfrm>
              <a:custGeom>
                <a:avLst/>
                <a:gdLst>
                  <a:gd name="T0" fmla="*/ 165 w 165"/>
                  <a:gd name="T1" fmla="*/ 27 h 115"/>
                  <a:gd name="T2" fmla="*/ 150 w 165"/>
                  <a:gd name="T3" fmla="*/ 25 h 115"/>
                  <a:gd name="T4" fmla="*/ 148 w 165"/>
                  <a:gd name="T5" fmla="*/ 36 h 115"/>
                  <a:gd name="T6" fmla="*/ 139 w 165"/>
                  <a:gd name="T7" fmla="*/ 37 h 115"/>
                  <a:gd name="T8" fmla="*/ 139 w 165"/>
                  <a:gd name="T9" fmla="*/ 41 h 115"/>
                  <a:gd name="T10" fmla="*/ 118 w 165"/>
                  <a:gd name="T11" fmla="*/ 51 h 115"/>
                  <a:gd name="T12" fmla="*/ 122 w 165"/>
                  <a:gd name="T13" fmla="*/ 79 h 115"/>
                  <a:gd name="T14" fmla="*/ 102 w 165"/>
                  <a:gd name="T15" fmla="*/ 88 h 115"/>
                  <a:gd name="T16" fmla="*/ 108 w 165"/>
                  <a:gd name="T17" fmla="*/ 94 h 115"/>
                  <a:gd name="T18" fmla="*/ 103 w 165"/>
                  <a:gd name="T19" fmla="*/ 98 h 115"/>
                  <a:gd name="T20" fmla="*/ 106 w 165"/>
                  <a:gd name="T21" fmla="*/ 109 h 115"/>
                  <a:gd name="T22" fmla="*/ 85 w 165"/>
                  <a:gd name="T23" fmla="*/ 106 h 115"/>
                  <a:gd name="T24" fmla="*/ 79 w 165"/>
                  <a:gd name="T25" fmla="*/ 110 h 115"/>
                  <a:gd name="T26" fmla="*/ 68 w 165"/>
                  <a:gd name="T27" fmla="*/ 99 h 115"/>
                  <a:gd name="T28" fmla="*/ 65 w 165"/>
                  <a:gd name="T29" fmla="*/ 95 h 115"/>
                  <a:gd name="T30" fmla="*/ 61 w 165"/>
                  <a:gd name="T31" fmla="*/ 106 h 115"/>
                  <a:gd name="T32" fmla="*/ 35 w 165"/>
                  <a:gd name="T33" fmla="*/ 108 h 115"/>
                  <a:gd name="T34" fmla="*/ 35 w 165"/>
                  <a:gd name="T35" fmla="*/ 112 h 115"/>
                  <a:gd name="T36" fmla="*/ 15 w 165"/>
                  <a:gd name="T37" fmla="*/ 112 h 115"/>
                  <a:gd name="T38" fmla="*/ 15 w 165"/>
                  <a:gd name="T39" fmla="*/ 112 h 115"/>
                  <a:gd name="T40" fmla="*/ 23 w 165"/>
                  <a:gd name="T41" fmla="*/ 103 h 115"/>
                  <a:gd name="T42" fmla="*/ 14 w 165"/>
                  <a:gd name="T43" fmla="*/ 87 h 115"/>
                  <a:gd name="T44" fmla="*/ 15 w 165"/>
                  <a:gd name="T45" fmla="*/ 75 h 115"/>
                  <a:gd name="T46" fmla="*/ 8 w 165"/>
                  <a:gd name="T47" fmla="*/ 73 h 115"/>
                  <a:gd name="T48" fmla="*/ 16 w 165"/>
                  <a:gd name="T49" fmla="*/ 60 h 115"/>
                  <a:gd name="T50" fmla="*/ 1 w 165"/>
                  <a:gd name="T51" fmla="*/ 52 h 115"/>
                  <a:gd name="T52" fmla="*/ 18 w 165"/>
                  <a:gd name="T53" fmla="*/ 34 h 115"/>
                  <a:gd name="T54" fmla="*/ 17 w 165"/>
                  <a:gd name="T55" fmla="*/ 34 h 115"/>
                  <a:gd name="T56" fmla="*/ 27 w 165"/>
                  <a:gd name="T57" fmla="*/ 35 h 115"/>
                  <a:gd name="T58" fmla="*/ 41 w 165"/>
                  <a:gd name="T59" fmla="*/ 40 h 115"/>
                  <a:gd name="T60" fmla="*/ 55 w 165"/>
                  <a:gd name="T61" fmla="*/ 38 h 115"/>
                  <a:gd name="T62" fmla="*/ 62 w 165"/>
                  <a:gd name="T63" fmla="*/ 42 h 115"/>
                  <a:gd name="T64" fmla="*/ 64 w 165"/>
                  <a:gd name="T65" fmla="*/ 39 h 115"/>
                  <a:gd name="T66" fmla="*/ 74 w 165"/>
                  <a:gd name="T67" fmla="*/ 31 h 115"/>
                  <a:gd name="T68" fmla="*/ 76 w 165"/>
                  <a:gd name="T69" fmla="*/ 24 h 115"/>
                  <a:gd name="T70" fmla="*/ 108 w 165"/>
                  <a:gd name="T71" fmla="*/ 22 h 115"/>
                  <a:gd name="T72" fmla="*/ 116 w 165"/>
                  <a:gd name="T73" fmla="*/ 14 h 115"/>
                  <a:gd name="T74" fmla="*/ 135 w 165"/>
                  <a:gd name="T75" fmla="*/ 16 h 115"/>
                  <a:gd name="T76" fmla="*/ 133 w 165"/>
                  <a:gd name="T77" fmla="*/ 11 h 115"/>
                  <a:gd name="T78" fmla="*/ 147 w 165"/>
                  <a:gd name="T79" fmla="*/ 0 h 115"/>
                  <a:gd name="T80" fmla="*/ 165 w 165"/>
                  <a:gd name="T81" fmla="*/ 2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65" h="115">
                    <a:moveTo>
                      <a:pt x="165" y="27"/>
                    </a:moveTo>
                    <a:cubicBezTo>
                      <a:pt x="161" y="26"/>
                      <a:pt x="152" y="24"/>
                      <a:pt x="150" y="25"/>
                    </a:cubicBezTo>
                    <a:cubicBezTo>
                      <a:pt x="143" y="26"/>
                      <a:pt x="152" y="34"/>
                      <a:pt x="148" y="36"/>
                    </a:cubicBezTo>
                    <a:cubicBezTo>
                      <a:pt x="146" y="37"/>
                      <a:pt x="142" y="35"/>
                      <a:pt x="139" y="37"/>
                    </a:cubicBezTo>
                    <a:cubicBezTo>
                      <a:pt x="138" y="37"/>
                      <a:pt x="140" y="39"/>
                      <a:pt x="139" y="41"/>
                    </a:cubicBezTo>
                    <a:cubicBezTo>
                      <a:pt x="133" y="45"/>
                      <a:pt x="124" y="46"/>
                      <a:pt x="118" y="51"/>
                    </a:cubicBezTo>
                    <a:cubicBezTo>
                      <a:pt x="112" y="57"/>
                      <a:pt x="131" y="73"/>
                      <a:pt x="122" y="79"/>
                    </a:cubicBezTo>
                    <a:cubicBezTo>
                      <a:pt x="103" y="93"/>
                      <a:pt x="115" y="69"/>
                      <a:pt x="102" y="88"/>
                    </a:cubicBezTo>
                    <a:cubicBezTo>
                      <a:pt x="100" y="90"/>
                      <a:pt x="107" y="91"/>
                      <a:pt x="108" y="94"/>
                    </a:cubicBezTo>
                    <a:cubicBezTo>
                      <a:pt x="109" y="96"/>
                      <a:pt x="103" y="95"/>
                      <a:pt x="103" y="98"/>
                    </a:cubicBezTo>
                    <a:cubicBezTo>
                      <a:pt x="103" y="99"/>
                      <a:pt x="108" y="106"/>
                      <a:pt x="106" y="109"/>
                    </a:cubicBezTo>
                    <a:cubicBezTo>
                      <a:pt x="100" y="115"/>
                      <a:pt x="91" y="106"/>
                      <a:pt x="85" y="106"/>
                    </a:cubicBezTo>
                    <a:cubicBezTo>
                      <a:pt x="77" y="106"/>
                      <a:pt x="93" y="114"/>
                      <a:pt x="79" y="110"/>
                    </a:cubicBezTo>
                    <a:cubicBezTo>
                      <a:pt x="75" y="108"/>
                      <a:pt x="70" y="102"/>
                      <a:pt x="68" y="99"/>
                    </a:cubicBezTo>
                    <a:cubicBezTo>
                      <a:pt x="67" y="98"/>
                      <a:pt x="66" y="94"/>
                      <a:pt x="65" y="95"/>
                    </a:cubicBezTo>
                    <a:cubicBezTo>
                      <a:pt x="63" y="99"/>
                      <a:pt x="64" y="103"/>
                      <a:pt x="61" y="106"/>
                    </a:cubicBezTo>
                    <a:cubicBezTo>
                      <a:pt x="54" y="115"/>
                      <a:pt x="44" y="106"/>
                      <a:pt x="35" y="108"/>
                    </a:cubicBezTo>
                    <a:cubicBezTo>
                      <a:pt x="34" y="109"/>
                      <a:pt x="36" y="111"/>
                      <a:pt x="35" y="112"/>
                    </a:cubicBezTo>
                    <a:cubicBezTo>
                      <a:pt x="30" y="115"/>
                      <a:pt x="20" y="115"/>
                      <a:pt x="15" y="112"/>
                    </a:cubicBezTo>
                    <a:cubicBezTo>
                      <a:pt x="15" y="112"/>
                      <a:pt x="15" y="112"/>
                      <a:pt x="15" y="112"/>
                    </a:cubicBezTo>
                    <a:cubicBezTo>
                      <a:pt x="18" y="109"/>
                      <a:pt x="22" y="106"/>
                      <a:pt x="23" y="103"/>
                    </a:cubicBezTo>
                    <a:cubicBezTo>
                      <a:pt x="43" y="104"/>
                      <a:pt x="20" y="91"/>
                      <a:pt x="14" y="87"/>
                    </a:cubicBezTo>
                    <a:cubicBezTo>
                      <a:pt x="10" y="85"/>
                      <a:pt x="17" y="78"/>
                      <a:pt x="15" y="75"/>
                    </a:cubicBezTo>
                    <a:cubicBezTo>
                      <a:pt x="14" y="72"/>
                      <a:pt x="5" y="80"/>
                      <a:pt x="8" y="73"/>
                    </a:cubicBezTo>
                    <a:cubicBezTo>
                      <a:pt x="9" y="68"/>
                      <a:pt x="20" y="63"/>
                      <a:pt x="16" y="60"/>
                    </a:cubicBezTo>
                    <a:cubicBezTo>
                      <a:pt x="13" y="57"/>
                      <a:pt x="0" y="59"/>
                      <a:pt x="1" y="52"/>
                    </a:cubicBezTo>
                    <a:cubicBezTo>
                      <a:pt x="2" y="43"/>
                      <a:pt x="17" y="45"/>
                      <a:pt x="18" y="34"/>
                    </a:cubicBezTo>
                    <a:cubicBezTo>
                      <a:pt x="17" y="34"/>
                      <a:pt x="17" y="34"/>
                      <a:pt x="17" y="34"/>
                    </a:cubicBezTo>
                    <a:cubicBezTo>
                      <a:pt x="20" y="34"/>
                      <a:pt x="23" y="35"/>
                      <a:pt x="27" y="35"/>
                    </a:cubicBezTo>
                    <a:cubicBezTo>
                      <a:pt x="32" y="36"/>
                      <a:pt x="36" y="39"/>
                      <a:pt x="41" y="40"/>
                    </a:cubicBezTo>
                    <a:cubicBezTo>
                      <a:pt x="45" y="41"/>
                      <a:pt x="50" y="37"/>
                      <a:pt x="55" y="38"/>
                    </a:cubicBezTo>
                    <a:cubicBezTo>
                      <a:pt x="57" y="38"/>
                      <a:pt x="59" y="42"/>
                      <a:pt x="62" y="42"/>
                    </a:cubicBezTo>
                    <a:cubicBezTo>
                      <a:pt x="63" y="43"/>
                      <a:pt x="62" y="39"/>
                      <a:pt x="64" y="39"/>
                    </a:cubicBezTo>
                    <a:cubicBezTo>
                      <a:pt x="66" y="36"/>
                      <a:pt x="71" y="35"/>
                      <a:pt x="74" y="31"/>
                    </a:cubicBezTo>
                    <a:cubicBezTo>
                      <a:pt x="76" y="30"/>
                      <a:pt x="74" y="26"/>
                      <a:pt x="76" y="24"/>
                    </a:cubicBezTo>
                    <a:cubicBezTo>
                      <a:pt x="87" y="16"/>
                      <a:pt x="98" y="26"/>
                      <a:pt x="108" y="22"/>
                    </a:cubicBezTo>
                    <a:cubicBezTo>
                      <a:pt x="112" y="20"/>
                      <a:pt x="112" y="15"/>
                      <a:pt x="116" y="14"/>
                    </a:cubicBezTo>
                    <a:cubicBezTo>
                      <a:pt x="116" y="13"/>
                      <a:pt x="135" y="16"/>
                      <a:pt x="135" y="16"/>
                    </a:cubicBezTo>
                    <a:cubicBezTo>
                      <a:pt x="137" y="15"/>
                      <a:pt x="134" y="13"/>
                      <a:pt x="133" y="11"/>
                    </a:cubicBezTo>
                    <a:cubicBezTo>
                      <a:pt x="131" y="2"/>
                      <a:pt x="138" y="0"/>
                      <a:pt x="147" y="0"/>
                    </a:cubicBezTo>
                    <a:cubicBezTo>
                      <a:pt x="149" y="0"/>
                      <a:pt x="154" y="17"/>
                      <a:pt x="165" y="27"/>
                    </a:cubicBezTo>
                    <a:close/>
                  </a:path>
                </a:pathLst>
              </a:custGeom>
              <a:solidFill>
                <a:srgbClr val="6785C1">
                  <a:lumMod val="40000"/>
                  <a:lumOff val="60000"/>
                </a:srgbClr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134" name="Macedonia" descr="{&quot;Key&quot;:&quot;macedonia&quot;,&quot;Name&quot;:&quot;Macedonia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94684A00-B826-0B1C-1E50-AA35CC8272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4263" y="5607041"/>
                <a:ext cx="233993" cy="230969"/>
              </a:xfrm>
              <a:custGeom>
                <a:avLst/>
                <a:gdLst>
                  <a:gd name="T0" fmla="*/ 2 w 140"/>
                  <a:gd name="T1" fmla="*/ 54 h 128"/>
                  <a:gd name="T2" fmla="*/ 2 w 140"/>
                  <a:gd name="T3" fmla="*/ 66 h 128"/>
                  <a:gd name="T4" fmla="*/ 5 w 140"/>
                  <a:gd name="T5" fmla="*/ 76 h 128"/>
                  <a:gd name="T6" fmla="*/ 1 w 140"/>
                  <a:gd name="T7" fmla="*/ 80 h 128"/>
                  <a:gd name="T8" fmla="*/ 7 w 140"/>
                  <a:gd name="T9" fmla="*/ 90 h 128"/>
                  <a:gd name="T10" fmla="*/ 5 w 140"/>
                  <a:gd name="T11" fmla="*/ 95 h 128"/>
                  <a:gd name="T12" fmla="*/ 21 w 140"/>
                  <a:gd name="T13" fmla="*/ 124 h 128"/>
                  <a:gd name="T14" fmla="*/ 29 w 140"/>
                  <a:gd name="T15" fmla="*/ 122 h 128"/>
                  <a:gd name="T16" fmla="*/ 36 w 140"/>
                  <a:gd name="T17" fmla="*/ 123 h 128"/>
                  <a:gd name="T18" fmla="*/ 36 w 140"/>
                  <a:gd name="T19" fmla="*/ 127 h 128"/>
                  <a:gd name="T20" fmla="*/ 80 w 140"/>
                  <a:gd name="T21" fmla="*/ 114 h 128"/>
                  <a:gd name="T22" fmla="*/ 93 w 140"/>
                  <a:gd name="T23" fmla="*/ 94 h 128"/>
                  <a:gd name="T24" fmla="*/ 107 w 140"/>
                  <a:gd name="T25" fmla="*/ 94 h 128"/>
                  <a:gd name="T26" fmla="*/ 123 w 140"/>
                  <a:gd name="T27" fmla="*/ 93 h 128"/>
                  <a:gd name="T28" fmla="*/ 126 w 140"/>
                  <a:gd name="T29" fmla="*/ 87 h 128"/>
                  <a:gd name="T30" fmla="*/ 127 w 140"/>
                  <a:gd name="T31" fmla="*/ 88 h 128"/>
                  <a:gd name="T32" fmla="*/ 130 w 140"/>
                  <a:gd name="T33" fmla="*/ 89 h 128"/>
                  <a:gd name="T34" fmla="*/ 139 w 140"/>
                  <a:gd name="T35" fmla="*/ 72 h 128"/>
                  <a:gd name="T36" fmla="*/ 140 w 140"/>
                  <a:gd name="T37" fmla="*/ 72 h 128"/>
                  <a:gd name="T38" fmla="*/ 139 w 140"/>
                  <a:gd name="T39" fmla="*/ 41 h 128"/>
                  <a:gd name="T40" fmla="*/ 123 w 140"/>
                  <a:gd name="T41" fmla="*/ 22 h 128"/>
                  <a:gd name="T42" fmla="*/ 113 w 140"/>
                  <a:gd name="T43" fmla="*/ 20 h 128"/>
                  <a:gd name="T44" fmla="*/ 97 w 140"/>
                  <a:gd name="T45" fmla="*/ 7 h 128"/>
                  <a:gd name="T46" fmla="*/ 62 w 140"/>
                  <a:gd name="T47" fmla="*/ 19 h 128"/>
                  <a:gd name="T48" fmla="*/ 54 w 140"/>
                  <a:gd name="T49" fmla="*/ 19 h 128"/>
                  <a:gd name="T50" fmla="*/ 42 w 140"/>
                  <a:gd name="T51" fmla="*/ 26 h 128"/>
                  <a:gd name="T52" fmla="*/ 43 w 140"/>
                  <a:gd name="T53" fmla="*/ 32 h 128"/>
                  <a:gd name="T54" fmla="*/ 34 w 140"/>
                  <a:gd name="T55" fmla="*/ 28 h 128"/>
                  <a:gd name="T56" fmla="*/ 14 w 140"/>
                  <a:gd name="T57" fmla="*/ 38 h 128"/>
                  <a:gd name="T58" fmla="*/ 4 w 140"/>
                  <a:gd name="T59" fmla="*/ 54 h 128"/>
                  <a:gd name="T60" fmla="*/ 2 w 140"/>
                  <a:gd name="T61" fmla="*/ 54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40" h="128">
                    <a:moveTo>
                      <a:pt x="2" y="54"/>
                    </a:moveTo>
                    <a:cubicBezTo>
                      <a:pt x="2" y="58"/>
                      <a:pt x="1" y="62"/>
                      <a:pt x="2" y="66"/>
                    </a:cubicBezTo>
                    <a:cubicBezTo>
                      <a:pt x="2" y="70"/>
                      <a:pt x="5" y="73"/>
                      <a:pt x="5" y="76"/>
                    </a:cubicBezTo>
                    <a:cubicBezTo>
                      <a:pt x="5" y="78"/>
                      <a:pt x="0" y="78"/>
                      <a:pt x="1" y="80"/>
                    </a:cubicBezTo>
                    <a:cubicBezTo>
                      <a:pt x="1" y="84"/>
                      <a:pt x="7" y="86"/>
                      <a:pt x="7" y="90"/>
                    </a:cubicBezTo>
                    <a:cubicBezTo>
                      <a:pt x="8" y="92"/>
                      <a:pt x="5" y="93"/>
                      <a:pt x="5" y="95"/>
                    </a:cubicBezTo>
                    <a:cubicBezTo>
                      <a:pt x="5" y="100"/>
                      <a:pt x="19" y="121"/>
                      <a:pt x="21" y="124"/>
                    </a:cubicBezTo>
                    <a:cubicBezTo>
                      <a:pt x="25" y="128"/>
                      <a:pt x="27" y="122"/>
                      <a:pt x="29" y="122"/>
                    </a:cubicBezTo>
                    <a:cubicBezTo>
                      <a:pt x="31" y="121"/>
                      <a:pt x="34" y="122"/>
                      <a:pt x="36" y="123"/>
                    </a:cubicBezTo>
                    <a:cubicBezTo>
                      <a:pt x="37" y="124"/>
                      <a:pt x="35" y="127"/>
                      <a:pt x="36" y="127"/>
                    </a:cubicBezTo>
                    <a:cubicBezTo>
                      <a:pt x="40" y="127"/>
                      <a:pt x="78" y="116"/>
                      <a:pt x="80" y="114"/>
                    </a:cubicBezTo>
                    <a:cubicBezTo>
                      <a:pt x="87" y="107"/>
                      <a:pt x="82" y="98"/>
                      <a:pt x="93" y="94"/>
                    </a:cubicBezTo>
                    <a:cubicBezTo>
                      <a:pt x="95" y="93"/>
                      <a:pt x="101" y="93"/>
                      <a:pt x="107" y="94"/>
                    </a:cubicBezTo>
                    <a:cubicBezTo>
                      <a:pt x="114" y="94"/>
                      <a:pt x="121" y="94"/>
                      <a:pt x="123" y="93"/>
                    </a:cubicBezTo>
                    <a:cubicBezTo>
                      <a:pt x="124" y="92"/>
                      <a:pt x="124" y="88"/>
                      <a:pt x="126" y="87"/>
                    </a:cubicBezTo>
                    <a:cubicBezTo>
                      <a:pt x="126" y="87"/>
                      <a:pt x="127" y="88"/>
                      <a:pt x="127" y="88"/>
                    </a:cubicBezTo>
                    <a:cubicBezTo>
                      <a:pt x="128" y="89"/>
                      <a:pt x="129" y="90"/>
                      <a:pt x="130" y="89"/>
                    </a:cubicBezTo>
                    <a:cubicBezTo>
                      <a:pt x="136" y="84"/>
                      <a:pt x="121" y="75"/>
                      <a:pt x="139" y="72"/>
                    </a:cubicBezTo>
                    <a:cubicBezTo>
                      <a:pt x="140" y="72"/>
                      <a:pt x="140" y="72"/>
                      <a:pt x="140" y="72"/>
                    </a:cubicBezTo>
                    <a:cubicBezTo>
                      <a:pt x="140" y="65"/>
                      <a:pt x="139" y="41"/>
                      <a:pt x="139" y="41"/>
                    </a:cubicBezTo>
                    <a:cubicBezTo>
                      <a:pt x="135" y="37"/>
                      <a:pt x="128" y="26"/>
                      <a:pt x="123" y="22"/>
                    </a:cubicBezTo>
                    <a:cubicBezTo>
                      <a:pt x="121" y="20"/>
                      <a:pt x="117" y="22"/>
                      <a:pt x="113" y="20"/>
                    </a:cubicBezTo>
                    <a:cubicBezTo>
                      <a:pt x="112" y="20"/>
                      <a:pt x="97" y="8"/>
                      <a:pt x="97" y="7"/>
                    </a:cubicBezTo>
                    <a:cubicBezTo>
                      <a:pt x="89" y="0"/>
                      <a:pt x="71" y="18"/>
                      <a:pt x="62" y="19"/>
                    </a:cubicBezTo>
                    <a:cubicBezTo>
                      <a:pt x="59" y="20"/>
                      <a:pt x="56" y="19"/>
                      <a:pt x="54" y="19"/>
                    </a:cubicBezTo>
                    <a:cubicBezTo>
                      <a:pt x="49" y="18"/>
                      <a:pt x="45" y="18"/>
                      <a:pt x="42" y="26"/>
                    </a:cubicBezTo>
                    <a:cubicBezTo>
                      <a:pt x="41" y="28"/>
                      <a:pt x="44" y="30"/>
                      <a:pt x="43" y="32"/>
                    </a:cubicBezTo>
                    <a:cubicBezTo>
                      <a:pt x="42" y="35"/>
                      <a:pt x="37" y="28"/>
                      <a:pt x="34" y="28"/>
                    </a:cubicBezTo>
                    <a:cubicBezTo>
                      <a:pt x="27" y="29"/>
                      <a:pt x="20" y="34"/>
                      <a:pt x="14" y="38"/>
                    </a:cubicBezTo>
                    <a:cubicBezTo>
                      <a:pt x="10" y="40"/>
                      <a:pt x="18" y="64"/>
                      <a:pt x="4" y="54"/>
                    </a:cubicBezTo>
                    <a:cubicBezTo>
                      <a:pt x="2" y="54"/>
                      <a:pt x="2" y="54"/>
                      <a:pt x="2" y="54"/>
                    </a:cubicBezTo>
                  </a:path>
                </a:pathLst>
              </a:custGeom>
              <a:solidFill>
                <a:srgbClr val="405F9E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135" name="Croatia" descr="{&quot;Key&quot;:&quot;croatia&quot;,&quot;Name&quot;:&quot;Croatia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6CC13A93-4FBF-CE44-5448-DA0D3173BB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93383" y="5135546"/>
                <a:ext cx="519821" cy="522467"/>
              </a:xfrm>
              <a:custGeom>
                <a:avLst/>
                <a:gdLst>
                  <a:gd name="T0" fmla="*/ 253 w 311"/>
                  <a:gd name="T1" fmla="*/ 269 h 290"/>
                  <a:gd name="T2" fmla="*/ 239 w 311"/>
                  <a:gd name="T3" fmla="*/ 263 h 290"/>
                  <a:gd name="T4" fmla="*/ 209 w 311"/>
                  <a:gd name="T5" fmla="*/ 256 h 290"/>
                  <a:gd name="T6" fmla="*/ 200 w 311"/>
                  <a:gd name="T7" fmla="*/ 258 h 290"/>
                  <a:gd name="T8" fmla="*/ 223 w 311"/>
                  <a:gd name="T9" fmla="*/ 262 h 290"/>
                  <a:gd name="T10" fmla="*/ 270 w 311"/>
                  <a:gd name="T11" fmla="*/ 283 h 290"/>
                  <a:gd name="T12" fmla="*/ 299 w 311"/>
                  <a:gd name="T13" fmla="*/ 101 h 290"/>
                  <a:gd name="T14" fmla="*/ 302 w 311"/>
                  <a:gd name="T15" fmla="*/ 83 h 290"/>
                  <a:gd name="T16" fmla="*/ 289 w 311"/>
                  <a:gd name="T17" fmla="*/ 68 h 290"/>
                  <a:gd name="T18" fmla="*/ 292 w 311"/>
                  <a:gd name="T19" fmla="*/ 61 h 290"/>
                  <a:gd name="T20" fmla="*/ 274 w 311"/>
                  <a:gd name="T21" fmla="*/ 33 h 290"/>
                  <a:gd name="T22" fmla="*/ 262 w 311"/>
                  <a:gd name="T23" fmla="*/ 43 h 290"/>
                  <a:gd name="T24" fmla="*/ 205 w 311"/>
                  <a:gd name="T25" fmla="*/ 39 h 290"/>
                  <a:gd name="T26" fmla="*/ 140 w 311"/>
                  <a:gd name="T27" fmla="*/ 1 h 290"/>
                  <a:gd name="T28" fmla="*/ 129 w 311"/>
                  <a:gd name="T29" fmla="*/ 13 h 290"/>
                  <a:gd name="T30" fmla="*/ 112 w 311"/>
                  <a:gd name="T31" fmla="*/ 55 h 290"/>
                  <a:gd name="T32" fmla="*/ 98 w 311"/>
                  <a:gd name="T33" fmla="*/ 70 h 290"/>
                  <a:gd name="T34" fmla="*/ 75 w 311"/>
                  <a:gd name="T35" fmla="*/ 82 h 290"/>
                  <a:gd name="T36" fmla="*/ 55 w 311"/>
                  <a:gd name="T37" fmla="*/ 71 h 290"/>
                  <a:gd name="T38" fmla="*/ 25 w 311"/>
                  <a:gd name="T39" fmla="*/ 84 h 290"/>
                  <a:gd name="T40" fmla="*/ 0 w 311"/>
                  <a:gd name="T41" fmla="*/ 88 h 290"/>
                  <a:gd name="T42" fmla="*/ 7 w 311"/>
                  <a:gd name="T43" fmla="*/ 114 h 290"/>
                  <a:gd name="T44" fmla="*/ 24 w 311"/>
                  <a:gd name="T45" fmla="*/ 140 h 290"/>
                  <a:gd name="T46" fmla="*/ 30 w 311"/>
                  <a:gd name="T47" fmla="*/ 122 h 290"/>
                  <a:gd name="T48" fmla="*/ 38 w 311"/>
                  <a:gd name="T49" fmla="*/ 114 h 290"/>
                  <a:gd name="T50" fmla="*/ 38 w 311"/>
                  <a:gd name="T51" fmla="*/ 113 h 290"/>
                  <a:gd name="T52" fmla="*/ 72 w 311"/>
                  <a:gd name="T53" fmla="*/ 111 h 290"/>
                  <a:gd name="T54" fmla="*/ 113 w 311"/>
                  <a:gd name="T55" fmla="*/ 172 h 290"/>
                  <a:gd name="T56" fmla="*/ 123 w 311"/>
                  <a:gd name="T57" fmla="*/ 205 h 290"/>
                  <a:gd name="T58" fmla="*/ 138 w 311"/>
                  <a:gd name="T59" fmla="*/ 213 h 290"/>
                  <a:gd name="T60" fmla="*/ 176 w 311"/>
                  <a:gd name="T61" fmla="*/ 228 h 290"/>
                  <a:gd name="T62" fmla="*/ 207 w 311"/>
                  <a:gd name="T63" fmla="*/ 245 h 290"/>
                  <a:gd name="T64" fmla="*/ 226 w 311"/>
                  <a:gd name="T65" fmla="*/ 253 h 290"/>
                  <a:gd name="T66" fmla="*/ 213 w 311"/>
                  <a:gd name="T67" fmla="*/ 234 h 290"/>
                  <a:gd name="T68" fmla="*/ 172 w 311"/>
                  <a:gd name="T69" fmla="*/ 190 h 290"/>
                  <a:gd name="T70" fmla="*/ 146 w 311"/>
                  <a:gd name="T71" fmla="*/ 174 h 290"/>
                  <a:gd name="T72" fmla="*/ 132 w 311"/>
                  <a:gd name="T73" fmla="*/ 138 h 290"/>
                  <a:gd name="T74" fmla="*/ 149 w 311"/>
                  <a:gd name="T75" fmla="*/ 114 h 290"/>
                  <a:gd name="T76" fmla="*/ 158 w 311"/>
                  <a:gd name="T77" fmla="*/ 98 h 290"/>
                  <a:gd name="T78" fmla="*/ 180 w 311"/>
                  <a:gd name="T79" fmla="*/ 91 h 290"/>
                  <a:gd name="T80" fmla="*/ 201 w 311"/>
                  <a:gd name="T81" fmla="*/ 95 h 290"/>
                  <a:gd name="T82" fmla="*/ 234 w 311"/>
                  <a:gd name="T83" fmla="*/ 99 h 290"/>
                  <a:gd name="T84" fmla="*/ 249 w 311"/>
                  <a:gd name="T85" fmla="*/ 94 h 290"/>
                  <a:gd name="T86" fmla="*/ 267 w 311"/>
                  <a:gd name="T87" fmla="*/ 94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11" h="290">
                    <a:moveTo>
                      <a:pt x="284" y="290"/>
                    </a:moveTo>
                    <a:cubicBezTo>
                      <a:pt x="283" y="286"/>
                      <a:pt x="283" y="286"/>
                      <a:pt x="283" y="286"/>
                    </a:cubicBezTo>
                    <a:cubicBezTo>
                      <a:pt x="276" y="275"/>
                      <a:pt x="265" y="278"/>
                      <a:pt x="253" y="269"/>
                    </a:cubicBezTo>
                    <a:cubicBezTo>
                      <a:pt x="249" y="266"/>
                      <a:pt x="248" y="261"/>
                      <a:pt x="244" y="260"/>
                    </a:cubicBezTo>
                    <a:cubicBezTo>
                      <a:pt x="242" y="259"/>
                      <a:pt x="239" y="261"/>
                      <a:pt x="236" y="262"/>
                    </a:cubicBezTo>
                    <a:cubicBezTo>
                      <a:pt x="237" y="262"/>
                      <a:pt x="238" y="262"/>
                      <a:pt x="239" y="263"/>
                    </a:cubicBezTo>
                    <a:cubicBezTo>
                      <a:pt x="240" y="263"/>
                      <a:pt x="241" y="267"/>
                      <a:pt x="240" y="267"/>
                    </a:cubicBezTo>
                    <a:cubicBezTo>
                      <a:pt x="231" y="266"/>
                      <a:pt x="224" y="258"/>
                      <a:pt x="215" y="256"/>
                    </a:cubicBezTo>
                    <a:cubicBezTo>
                      <a:pt x="213" y="256"/>
                      <a:pt x="211" y="256"/>
                      <a:pt x="209" y="256"/>
                    </a:cubicBezTo>
                    <a:cubicBezTo>
                      <a:pt x="207" y="257"/>
                      <a:pt x="205" y="257"/>
                      <a:pt x="203" y="256"/>
                    </a:cubicBezTo>
                    <a:cubicBezTo>
                      <a:pt x="202" y="256"/>
                      <a:pt x="201" y="254"/>
                      <a:pt x="200" y="254"/>
                    </a:cubicBezTo>
                    <a:cubicBezTo>
                      <a:pt x="199" y="255"/>
                      <a:pt x="199" y="258"/>
                      <a:pt x="200" y="258"/>
                    </a:cubicBezTo>
                    <a:cubicBezTo>
                      <a:pt x="202" y="259"/>
                      <a:pt x="204" y="259"/>
                      <a:pt x="206" y="258"/>
                    </a:cubicBezTo>
                    <a:cubicBezTo>
                      <a:pt x="208" y="258"/>
                      <a:pt x="210" y="258"/>
                      <a:pt x="211" y="258"/>
                    </a:cubicBezTo>
                    <a:cubicBezTo>
                      <a:pt x="215" y="259"/>
                      <a:pt x="219" y="260"/>
                      <a:pt x="223" y="262"/>
                    </a:cubicBezTo>
                    <a:cubicBezTo>
                      <a:pt x="224" y="263"/>
                      <a:pt x="223" y="265"/>
                      <a:pt x="224" y="265"/>
                    </a:cubicBezTo>
                    <a:cubicBezTo>
                      <a:pt x="232" y="270"/>
                      <a:pt x="236" y="269"/>
                      <a:pt x="240" y="269"/>
                    </a:cubicBezTo>
                    <a:cubicBezTo>
                      <a:pt x="246" y="269"/>
                      <a:pt x="252" y="269"/>
                      <a:pt x="270" y="283"/>
                    </a:cubicBezTo>
                    <a:cubicBezTo>
                      <a:pt x="274" y="286"/>
                      <a:pt x="279" y="289"/>
                      <a:pt x="284" y="290"/>
                    </a:cubicBezTo>
                    <a:moveTo>
                      <a:pt x="293" y="108"/>
                    </a:moveTo>
                    <a:cubicBezTo>
                      <a:pt x="288" y="103"/>
                      <a:pt x="297" y="105"/>
                      <a:pt x="299" y="101"/>
                    </a:cubicBezTo>
                    <a:cubicBezTo>
                      <a:pt x="300" y="101"/>
                      <a:pt x="300" y="100"/>
                      <a:pt x="299" y="99"/>
                    </a:cubicBezTo>
                    <a:cubicBezTo>
                      <a:pt x="292" y="92"/>
                      <a:pt x="297" y="89"/>
                      <a:pt x="297" y="82"/>
                    </a:cubicBezTo>
                    <a:cubicBezTo>
                      <a:pt x="298" y="81"/>
                      <a:pt x="300" y="82"/>
                      <a:pt x="302" y="83"/>
                    </a:cubicBezTo>
                    <a:cubicBezTo>
                      <a:pt x="307" y="84"/>
                      <a:pt x="311" y="86"/>
                      <a:pt x="310" y="79"/>
                    </a:cubicBezTo>
                    <a:cubicBezTo>
                      <a:pt x="303" y="79"/>
                      <a:pt x="293" y="76"/>
                      <a:pt x="287" y="72"/>
                    </a:cubicBezTo>
                    <a:cubicBezTo>
                      <a:pt x="284" y="70"/>
                      <a:pt x="289" y="69"/>
                      <a:pt x="289" y="68"/>
                    </a:cubicBezTo>
                    <a:cubicBezTo>
                      <a:pt x="289" y="66"/>
                      <a:pt x="283" y="65"/>
                      <a:pt x="287" y="62"/>
                    </a:cubicBezTo>
                    <a:cubicBezTo>
                      <a:pt x="287" y="62"/>
                      <a:pt x="288" y="62"/>
                      <a:pt x="288" y="62"/>
                    </a:cubicBezTo>
                    <a:cubicBezTo>
                      <a:pt x="290" y="63"/>
                      <a:pt x="291" y="63"/>
                      <a:pt x="292" y="61"/>
                    </a:cubicBezTo>
                    <a:cubicBezTo>
                      <a:pt x="292" y="58"/>
                      <a:pt x="289" y="58"/>
                      <a:pt x="286" y="59"/>
                    </a:cubicBezTo>
                    <a:cubicBezTo>
                      <a:pt x="283" y="59"/>
                      <a:pt x="280" y="59"/>
                      <a:pt x="280" y="57"/>
                    </a:cubicBezTo>
                    <a:cubicBezTo>
                      <a:pt x="282" y="44"/>
                      <a:pt x="284" y="47"/>
                      <a:pt x="274" y="33"/>
                    </a:cubicBezTo>
                    <a:cubicBezTo>
                      <a:pt x="274" y="32"/>
                      <a:pt x="274" y="32"/>
                      <a:pt x="274" y="32"/>
                    </a:cubicBezTo>
                    <a:cubicBezTo>
                      <a:pt x="272" y="33"/>
                      <a:pt x="270" y="33"/>
                      <a:pt x="267" y="33"/>
                    </a:cubicBezTo>
                    <a:cubicBezTo>
                      <a:pt x="263" y="33"/>
                      <a:pt x="263" y="41"/>
                      <a:pt x="262" y="43"/>
                    </a:cubicBezTo>
                    <a:cubicBezTo>
                      <a:pt x="254" y="49"/>
                      <a:pt x="230" y="49"/>
                      <a:pt x="222" y="46"/>
                    </a:cubicBezTo>
                    <a:cubicBezTo>
                      <a:pt x="218" y="44"/>
                      <a:pt x="214" y="40"/>
                      <a:pt x="210" y="39"/>
                    </a:cubicBezTo>
                    <a:cubicBezTo>
                      <a:pt x="209" y="38"/>
                      <a:pt x="208" y="38"/>
                      <a:pt x="205" y="39"/>
                    </a:cubicBezTo>
                    <a:cubicBezTo>
                      <a:pt x="202" y="39"/>
                      <a:pt x="197" y="39"/>
                      <a:pt x="196" y="37"/>
                    </a:cubicBezTo>
                    <a:cubicBezTo>
                      <a:pt x="184" y="22"/>
                      <a:pt x="171" y="15"/>
                      <a:pt x="155" y="3"/>
                    </a:cubicBezTo>
                    <a:cubicBezTo>
                      <a:pt x="151" y="2"/>
                      <a:pt x="142" y="0"/>
                      <a:pt x="140" y="1"/>
                    </a:cubicBezTo>
                    <a:cubicBezTo>
                      <a:pt x="133" y="2"/>
                      <a:pt x="142" y="10"/>
                      <a:pt x="138" y="12"/>
                    </a:cubicBezTo>
                    <a:cubicBezTo>
                      <a:pt x="137" y="13"/>
                      <a:pt x="135" y="12"/>
                      <a:pt x="134" y="12"/>
                    </a:cubicBezTo>
                    <a:cubicBezTo>
                      <a:pt x="132" y="12"/>
                      <a:pt x="131" y="12"/>
                      <a:pt x="129" y="13"/>
                    </a:cubicBezTo>
                    <a:cubicBezTo>
                      <a:pt x="128" y="13"/>
                      <a:pt x="130" y="15"/>
                      <a:pt x="129" y="17"/>
                    </a:cubicBezTo>
                    <a:cubicBezTo>
                      <a:pt x="123" y="21"/>
                      <a:pt x="114" y="22"/>
                      <a:pt x="108" y="27"/>
                    </a:cubicBezTo>
                    <a:cubicBezTo>
                      <a:pt x="102" y="33"/>
                      <a:pt x="121" y="49"/>
                      <a:pt x="112" y="55"/>
                    </a:cubicBezTo>
                    <a:cubicBezTo>
                      <a:pt x="103" y="62"/>
                      <a:pt x="101" y="60"/>
                      <a:pt x="100" y="58"/>
                    </a:cubicBezTo>
                    <a:cubicBezTo>
                      <a:pt x="99" y="56"/>
                      <a:pt x="99" y="54"/>
                      <a:pt x="92" y="64"/>
                    </a:cubicBezTo>
                    <a:cubicBezTo>
                      <a:pt x="90" y="66"/>
                      <a:pt x="97" y="67"/>
                      <a:pt x="98" y="70"/>
                    </a:cubicBezTo>
                    <a:cubicBezTo>
                      <a:pt x="99" y="72"/>
                      <a:pt x="93" y="71"/>
                      <a:pt x="93" y="74"/>
                    </a:cubicBezTo>
                    <a:cubicBezTo>
                      <a:pt x="93" y="75"/>
                      <a:pt x="98" y="82"/>
                      <a:pt x="96" y="85"/>
                    </a:cubicBezTo>
                    <a:cubicBezTo>
                      <a:pt x="90" y="91"/>
                      <a:pt x="81" y="82"/>
                      <a:pt x="75" y="82"/>
                    </a:cubicBezTo>
                    <a:cubicBezTo>
                      <a:pt x="67" y="82"/>
                      <a:pt x="83" y="90"/>
                      <a:pt x="69" y="86"/>
                    </a:cubicBezTo>
                    <a:cubicBezTo>
                      <a:pt x="65" y="84"/>
                      <a:pt x="60" y="78"/>
                      <a:pt x="58" y="75"/>
                    </a:cubicBezTo>
                    <a:cubicBezTo>
                      <a:pt x="57" y="74"/>
                      <a:pt x="56" y="70"/>
                      <a:pt x="55" y="71"/>
                    </a:cubicBezTo>
                    <a:cubicBezTo>
                      <a:pt x="53" y="75"/>
                      <a:pt x="54" y="79"/>
                      <a:pt x="51" y="82"/>
                    </a:cubicBezTo>
                    <a:cubicBezTo>
                      <a:pt x="47" y="87"/>
                      <a:pt x="41" y="86"/>
                      <a:pt x="36" y="85"/>
                    </a:cubicBezTo>
                    <a:cubicBezTo>
                      <a:pt x="32" y="84"/>
                      <a:pt x="29" y="83"/>
                      <a:pt x="25" y="84"/>
                    </a:cubicBezTo>
                    <a:cubicBezTo>
                      <a:pt x="24" y="85"/>
                      <a:pt x="26" y="87"/>
                      <a:pt x="25" y="88"/>
                    </a:cubicBezTo>
                    <a:cubicBezTo>
                      <a:pt x="20" y="91"/>
                      <a:pt x="10" y="91"/>
                      <a:pt x="5" y="88"/>
                    </a:cubicBezTo>
                    <a:cubicBezTo>
                      <a:pt x="3" y="88"/>
                      <a:pt x="0" y="87"/>
                      <a:pt x="0" y="88"/>
                    </a:cubicBezTo>
                    <a:cubicBezTo>
                      <a:pt x="0" y="93"/>
                      <a:pt x="4" y="96"/>
                      <a:pt x="6" y="100"/>
                    </a:cubicBezTo>
                    <a:cubicBezTo>
                      <a:pt x="6" y="101"/>
                      <a:pt x="5" y="101"/>
                      <a:pt x="5" y="101"/>
                    </a:cubicBezTo>
                    <a:cubicBezTo>
                      <a:pt x="5" y="106"/>
                      <a:pt x="4" y="110"/>
                      <a:pt x="7" y="114"/>
                    </a:cubicBezTo>
                    <a:cubicBezTo>
                      <a:pt x="7" y="114"/>
                      <a:pt x="7" y="114"/>
                      <a:pt x="7" y="114"/>
                    </a:cubicBezTo>
                    <a:cubicBezTo>
                      <a:pt x="5" y="118"/>
                      <a:pt x="14" y="122"/>
                      <a:pt x="17" y="126"/>
                    </a:cubicBezTo>
                    <a:cubicBezTo>
                      <a:pt x="19" y="129"/>
                      <a:pt x="21" y="144"/>
                      <a:pt x="24" y="140"/>
                    </a:cubicBezTo>
                    <a:cubicBezTo>
                      <a:pt x="26" y="137"/>
                      <a:pt x="28" y="133"/>
                      <a:pt x="30" y="129"/>
                    </a:cubicBezTo>
                    <a:cubicBezTo>
                      <a:pt x="31" y="127"/>
                      <a:pt x="32" y="125"/>
                      <a:pt x="32" y="123"/>
                    </a:cubicBezTo>
                    <a:cubicBezTo>
                      <a:pt x="32" y="123"/>
                      <a:pt x="30" y="123"/>
                      <a:pt x="30" y="122"/>
                    </a:cubicBezTo>
                    <a:cubicBezTo>
                      <a:pt x="30" y="122"/>
                      <a:pt x="30" y="119"/>
                      <a:pt x="30" y="120"/>
                    </a:cubicBezTo>
                    <a:cubicBezTo>
                      <a:pt x="33" y="121"/>
                      <a:pt x="31" y="134"/>
                      <a:pt x="37" y="123"/>
                    </a:cubicBezTo>
                    <a:cubicBezTo>
                      <a:pt x="38" y="121"/>
                      <a:pt x="38" y="118"/>
                      <a:pt x="38" y="114"/>
                    </a:cubicBezTo>
                    <a:cubicBezTo>
                      <a:pt x="38" y="114"/>
                      <a:pt x="37" y="113"/>
                      <a:pt x="37" y="112"/>
                    </a:cubicBezTo>
                    <a:cubicBezTo>
                      <a:pt x="37" y="112"/>
                      <a:pt x="37" y="112"/>
                      <a:pt x="38" y="113"/>
                    </a:cubicBezTo>
                    <a:cubicBezTo>
                      <a:pt x="38" y="113"/>
                      <a:pt x="38" y="114"/>
                      <a:pt x="38" y="113"/>
                    </a:cubicBezTo>
                    <a:cubicBezTo>
                      <a:pt x="43" y="111"/>
                      <a:pt x="39" y="96"/>
                      <a:pt x="44" y="96"/>
                    </a:cubicBezTo>
                    <a:cubicBezTo>
                      <a:pt x="60" y="95"/>
                      <a:pt x="55" y="101"/>
                      <a:pt x="65" y="109"/>
                    </a:cubicBezTo>
                    <a:cubicBezTo>
                      <a:pt x="67" y="111"/>
                      <a:pt x="71" y="109"/>
                      <a:pt x="72" y="111"/>
                    </a:cubicBezTo>
                    <a:cubicBezTo>
                      <a:pt x="82" y="123"/>
                      <a:pt x="71" y="138"/>
                      <a:pt x="82" y="150"/>
                    </a:cubicBezTo>
                    <a:cubicBezTo>
                      <a:pt x="85" y="154"/>
                      <a:pt x="95" y="162"/>
                      <a:pt x="99" y="165"/>
                    </a:cubicBezTo>
                    <a:cubicBezTo>
                      <a:pt x="103" y="168"/>
                      <a:pt x="118" y="170"/>
                      <a:pt x="113" y="172"/>
                    </a:cubicBezTo>
                    <a:cubicBezTo>
                      <a:pt x="110" y="172"/>
                      <a:pt x="107" y="171"/>
                      <a:pt x="104" y="170"/>
                    </a:cubicBezTo>
                    <a:cubicBezTo>
                      <a:pt x="97" y="167"/>
                      <a:pt x="91" y="164"/>
                      <a:pt x="93" y="179"/>
                    </a:cubicBezTo>
                    <a:cubicBezTo>
                      <a:pt x="93" y="186"/>
                      <a:pt x="119" y="200"/>
                      <a:pt x="123" y="205"/>
                    </a:cubicBezTo>
                    <a:cubicBezTo>
                      <a:pt x="124" y="206"/>
                      <a:pt x="123" y="205"/>
                      <a:pt x="121" y="205"/>
                    </a:cubicBezTo>
                    <a:cubicBezTo>
                      <a:pt x="120" y="205"/>
                      <a:pt x="119" y="204"/>
                      <a:pt x="120" y="204"/>
                    </a:cubicBezTo>
                    <a:cubicBezTo>
                      <a:pt x="123" y="207"/>
                      <a:pt x="138" y="211"/>
                      <a:pt x="138" y="213"/>
                    </a:cubicBezTo>
                    <a:cubicBezTo>
                      <a:pt x="140" y="217"/>
                      <a:pt x="136" y="223"/>
                      <a:pt x="139" y="226"/>
                    </a:cubicBezTo>
                    <a:cubicBezTo>
                      <a:pt x="141" y="228"/>
                      <a:pt x="158" y="221"/>
                      <a:pt x="159" y="221"/>
                    </a:cubicBezTo>
                    <a:cubicBezTo>
                      <a:pt x="170" y="219"/>
                      <a:pt x="162" y="223"/>
                      <a:pt x="176" y="228"/>
                    </a:cubicBezTo>
                    <a:cubicBezTo>
                      <a:pt x="178" y="229"/>
                      <a:pt x="181" y="229"/>
                      <a:pt x="183" y="229"/>
                    </a:cubicBezTo>
                    <a:cubicBezTo>
                      <a:pt x="185" y="228"/>
                      <a:pt x="188" y="228"/>
                      <a:pt x="191" y="229"/>
                    </a:cubicBezTo>
                    <a:cubicBezTo>
                      <a:pt x="197" y="232"/>
                      <a:pt x="201" y="242"/>
                      <a:pt x="207" y="245"/>
                    </a:cubicBezTo>
                    <a:cubicBezTo>
                      <a:pt x="215" y="248"/>
                      <a:pt x="220" y="251"/>
                      <a:pt x="223" y="253"/>
                    </a:cubicBezTo>
                    <a:cubicBezTo>
                      <a:pt x="223" y="254"/>
                      <a:pt x="223" y="253"/>
                      <a:pt x="223" y="253"/>
                    </a:cubicBezTo>
                    <a:cubicBezTo>
                      <a:pt x="224" y="253"/>
                      <a:pt x="226" y="252"/>
                      <a:pt x="226" y="253"/>
                    </a:cubicBezTo>
                    <a:cubicBezTo>
                      <a:pt x="228" y="257"/>
                      <a:pt x="225" y="257"/>
                      <a:pt x="230" y="259"/>
                    </a:cubicBezTo>
                    <a:cubicBezTo>
                      <a:pt x="232" y="258"/>
                      <a:pt x="236" y="258"/>
                      <a:pt x="236" y="255"/>
                    </a:cubicBezTo>
                    <a:cubicBezTo>
                      <a:pt x="239" y="248"/>
                      <a:pt x="215" y="238"/>
                      <a:pt x="213" y="234"/>
                    </a:cubicBezTo>
                    <a:cubicBezTo>
                      <a:pt x="210" y="231"/>
                      <a:pt x="212" y="226"/>
                      <a:pt x="210" y="222"/>
                    </a:cubicBezTo>
                    <a:cubicBezTo>
                      <a:pt x="208" y="220"/>
                      <a:pt x="204" y="221"/>
                      <a:pt x="201" y="220"/>
                    </a:cubicBezTo>
                    <a:cubicBezTo>
                      <a:pt x="189" y="212"/>
                      <a:pt x="182" y="199"/>
                      <a:pt x="172" y="190"/>
                    </a:cubicBezTo>
                    <a:cubicBezTo>
                      <a:pt x="168" y="188"/>
                      <a:pt x="155" y="175"/>
                      <a:pt x="151" y="173"/>
                    </a:cubicBezTo>
                    <a:cubicBezTo>
                      <a:pt x="151" y="173"/>
                      <a:pt x="150" y="173"/>
                      <a:pt x="149" y="174"/>
                    </a:cubicBezTo>
                    <a:cubicBezTo>
                      <a:pt x="148" y="174"/>
                      <a:pt x="147" y="174"/>
                      <a:pt x="146" y="174"/>
                    </a:cubicBezTo>
                    <a:cubicBezTo>
                      <a:pt x="143" y="171"/>
                      <a:pt x="150" y="165"/>
                      <a:pt x="150" y="164"/>
                    </a:cubicBezTo>
                    <a:cubicBezTo>
                      <a:pt x="149" y="161"/>
                      <a:pt x="146" y="161"/>
                      <a:pt x="145" y="159"/>
                    </a:cubicBezTo>
                    <a:cubicBezTo>
                      <a:pt x="140" y="152"/>
                      <a:pt x="138" y="143"/>
                      <a:pt x="132" y="138"/>
                    </a:cubicBezTo>
                    <a:cubicBezTo>
                      <a:pt x="130" y="135"/>
                      <a:pt x="125" y="135"/>
                      <a:pt x="123" y="133"/>
                    </a:cubicBezTo>
                    <a:cubicBezTo>
                      <a:pt x="120" y="131"/>
                      <a:pt x="116" y="98"/>
                      <a:pt x="129" y="99"/>
                    </a:cubicBezTo>
                    <a:cubicBezTo>
                      <a:pt x="134" y="99"/>
                      <a:pt x="144" y="111"/>
                      <a:pt x="149" y="114"/>
                    </a:cubicBezTo>
                    <a:cubicBezTo>
                      <a:pt x="154" y="113"/>
                      <a:pt x="154" y="113"/>
                      <a:pt x="154" y="113"/>
                    </a:cubicBezTo>
                    <a:cubicBezTo>
                      <a:pt x="149" y="114"/>
                      <a:pt x="149" y="114"/>
                      <a:pt x="149" y="114"/>
                    </a:cubicBezTo>
                    <a:cubicBezTo>
                      <a:pt x="156" y="113"/>
                      <a:pt x="155" y="103"/>
                      <a:pt x="158" y="98"/>
                    </a:cubicBezTo>
                    <a:cubicBezTo>
                      <a:pt x="162" y="94"/>
                      <a:pt x="165" y="95"/>
                      <a:pt x="168" y="97"/>
                    </a:cubicBezTo>
                    <a:cubicBezTo>
                      <a:pt x="170" y="98"/>
                      <a:pt x="172" y="99"/>
                      <a:pt x="175" y="98"/>
                    </a:cubicBezTo>
                    <a:cubicBezTo>
                      <a:pt x="177" y="97"/>
                      <a:pt x="177" y="93"/>
                      <a:pt x="180" y="91"/>
                    </a:cubicBezTo>
                    <a:cubicBezTo>
                      <a:pt x="180" y="91"/>
                      <a:pt x="183" y="95"/>
                      <a:pt x="193" y="97"/>
                    </a:cubicBezTo>
                    <a:cubicBezTo>
                      <a:pt x="194" y="98"/>
                      <a:pt x="196" y="99"/>
                      <a:pt x="197" y="98"/>
                    </a:cubicBezTo>
                    <a:cubicBezTo>
                      <a:pt x="198" y="98"/>
                      <a:pt x="199" y="96"/>
                      <a:pt x="201" y="95"/>
                    </a:cubicBezTo>
                    <a:cubicBezTo>
                      <a:pt x="204" y="95"/>
                      <a:pt x="209" y="97"/>
                      <a:pt x="215" y="99"/>
                    </a:cubicBezTo>
                    <a:cubicBezTo>
                      <a:pt x="220" y="101"/>
                      <a:pt x="226" y="103"/>
                      <a:pt x="230" y="102"/>
                    </a:cubicBezTo>
                    <a:cubicBezTo>
                      <a:pt x="232" y="102"/>
                      <a:pt x="234" y="101"/>
                      <a:pt x="234" y="99"/>
                    </a:cubicBezTo>
                    <a:cubicBezTo>
                      <a:pt x="236" y="98"/>
                      <a:pt x="235" y="94"/>
                      <a:pt x="237" y="94"/>
                    </a:cubicBezTo>
                    <a:cubicBezTo>
                      <a:pt x="241" y="93"/>
                      <a:pt x="243" y="97"/>
                      <a:pt x="247" y="98"/>
                    </a:cubicBezTo>
                    <a:cubicBezTo>
                      <a:pt x="253" y="100"/>
                      <a:pt x="245" y="95"/>
                      <a:pt x="249" y="94"/>
                    </a:cubicBezTo>
                    <a:cubicBezTo>
                      <a:pt x="252" y="93"/>
                      <a:pt x="256" y="93"/>
                      <a:pt x="260" y="94"/>
                    </a:cubicBezTo>
                    <a:cubicBezTo>
                      <a:pt x="262" y="95"/>
                      <a:pt x="263" y="98"/>
                      <a:pt x="266" y="98"/>
                    </a:cubicBezTo>
                    <a:cubicBezTo>
                      <a:pt x="267" y="98"/>
                      <a:pt x="266" y="94"/>
                      <a:pt x="267" y="94"/>
                    </a:cubicBezTo>
                    <a:cubicBezTo>
                      <a:pt x="280" y="95"/>
                      <a:pt x="277" y="109"/>
                      <a:pt x="283" y="110"/>
                    </a:cubicBezTo>
                    <a:cubicBezTo>
                      <a:pt x="287" y="110"/>
                      <a:pt x="291" y="109"/>
                      <a:pt x="293" y="108"/>
                    </a:cubicBezTo>
                  </a:path>
                </a:pathLst>
              </a:custGeom>
              <a:solidFill>
                <a:srgbClr val="C2CEE6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136" name="Denmark" descr="{&quot;Key&quot;:&quot;denmark&quot;,&quot;Name&quot;:&quot;Denmark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F2525CF1-FF96-516D-CE9D-417839988D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93090" y="2915063"/>
                <a:ext cx="1184778" cy="1162807"/>
              </a:xfrm>
              <a:custGeom>
                <a:avLst/>
                <a:gdLst>
                  <a:gd name="T0" fmla="*/ 536 w 709"/>
                  <a:gd name="T1" fmla="*/ 626 h 646"/>
                  <a:gd name="T2" fmla="*/ 538 w 709"/>
                  <a:gd name="T3" fmla="*/ 598 h 646"/>
                  <a:gd name="T4" fmla="*/ 518 w 709"/>
                  <a:gd name="T5" fmla="*/ 557 h 646"/>
                  <a:gd name="T6" fmla="*/ 522 w 709"/>
                  <a:gd name="T7" fmla="*/ 538 h 646"/>
                  <a:gd name="T8" fmla="*/ 518 w 709"/>
                  <a:gd name="T9" fmla="*/ 528 h 646"/>
                  <a:gd name="T10" fmla="*/ 523 w 709"/>
                  <a:gd name="T11" fmla="*/ 493 h 646"/>
                  <a:gd name="T12" fmla="*/ 557 w 709"/>
                  <a:gd name="T13" fmla="*/ 504 h 646"/>
                  <a:gd name="T14" fmla="*/ 566 w 709"/>
                  <a:gd name="T15" fmla="*/ 494 h 646"/>
                  <a:gd name="T16" fmla="*/ 567 w 709"/>
                  <a:gd name="T17" fmla="*/ 472 h 646"/>
                  <a:gd name="T18" fmla="*/ 583 w 709"/>
                  <a:gd name="T19" fmla="*/ 468 h 646"/>
                  <a:gd name="T20" fmla="*/ 605 w 709"/>
                  <a:gd name="T21" fmla="*/ 484 h 646"/>
                  <a:gd name="T22" fmla="*/ 609 w 709"/>
                  <a:gd name="T23" fmla="*/ 499 h 646"/>
                  <a:gd name="T24" fmla="*/ 634 w 709"/>
                  <a:gd name="T25" fmla="*/ 513 h 646"/>
                  <a:gd name="T26" fmla="*/ 602 w 709"/>
                  <a:gd name="T27" fmla="*/ 557 h 646"/>
                  <a:gd name="T28" fmla="*/ 589 w 709"/>
                  <a:gd name="T29" fmla="*/ 574 h 646"/>
                  <a:gd name="T30" fmla="*/ 595 w 709"/>
                  <a:gd name="T31" fmla="*/ 579 h 646"/>
                  <a:gd name="T32" fmla="*/ 625 w 709"/>
                  <a:gd name="T33" fmla="*/ 573 h 646"/>
                  <a:gd name="T34" fmla="*/ 607 w 709"/>
                  <a:gd name="T35" fmla="*/ 609 h 646"/>
                  <a:gd name="T36" fmla="*/ 598 w 709"/>
                  <a:gd name="T37" fmla="*/ 608 h 646"/>
                  <a:gd name="T38" fmla="*/ 585 w 709"/>
                  <a:gd name="T39" fmla="*/ 579 h 646"/>
                  <a:gd name="T40" fmla="*/ 578 w 709"/>
                  <a:gd name="T41" fmla="*/ 589 h 646"/>
                  <a:gd name="T42" fmla="*/ 571 w 709"/>
                  <a:gd name="T43" fmla="*/ 617 h 646"/>
                  <a:gd name="T44" fmla="*/ 579 w 709"/>
                  <a:gd name="T45" fmla="*/ 624 h 646"/>
                  <a:gd name="T46" fmla="*/ 7 w 709"/>
                  <a:gd name="T47" fmla="*/ 73 h 646"/>
                  <a:gd name="T48" fmla="*/ 21 w 709"/>
                  <a:gd name="T49" fmla="*/ 9 h 646"/>
                  <a:gd name="T50" fmla="*/ 19 w 709"/>
                  <a:gd name="T51" fmla="*/ 25 h 646"/>
                  <a:gd name="T52" fmla="*/ 678 w 709"/>
                  <a:gd name="T53" fmla="*/ 539 h 646"/>
                  <a:gd name="T54" fmla="*/ 703 w 709"/>
                  <a:gd name="T55" fmla="*/ 542 h 646"/>
                  <a:gd name="T56" fmla="*/ 691 w 709"/>
                  <a:gd name="T57" fmla="*/ 577 h 646"/>
                  <a:gd name="T58" fmla="*/ 683 w 709"/>
                  <a:gd name="T59" fmla="*/ 603 h 646"/>
                  <a:gd name="T60" fmla="*/ 675 w 709"/>
                  <a:gd name="T61" fmla="*/ 613 h 646"/>
                  <a:gd name="T62" fmla="*/ 659 w 709"/>
                  <a:gd name="T63" fmla="*/ 600 h 646"/>
                  <a:gd name="T64" fmla="*/ 644 w 709"/>
                  <a:gd name="T65" fmla="*/ 590 h 646"/>
                  <a:gd name="T66" fmla="*/ 634 w 709"/>
                  <a:gd name="T67" fmla="*/ 562 h 646"/>
                  <a:gd name="T68" fmla="*/ 656 w 709"/>
                  <a:gd name="T69" fmla="*/ 544 h 646"/>
                  <a:gd name="T70" fmla="*/ 678 w 709"/>
                  <a:gd name="T71" fmla="*/ 567 h 646"/>
                  <a:gd name="T72" fmla="*/ 678 w 709"/>
                  <a:gd name="T73" fmla="*/ 539 h 646"/>
                  <a:gd name="T74" fmla="*/ 686 w 709"/>
                  <a:gd name="T75" fmla="*/ 630 h 646"/>
                  <a:gd name="T76" fmla="*/ 678 w 709"/>
                  <a:gd name="T77" fmla="*/ 641 h 646"/>
                  <a:gd name="T78" fmla="*/ 678 w 709"/>
                  <a:gd name="T79" fmla="*/ 641 h 646"/>
                  <a:gd name="T80" fmla="*/ 649 w 709"/>
                  <a:gd name="T81" fmla="*/ 637 h 646"/>
                  <a:gd name="T82" fmla="*/ 677 w 709"/>
                  <a:gd name="T83" fmla="*/ 634 h 646"/>
                  <a:gd name="T84" fmla="*/ 676 w 709"/>
                  <a:gd name="T85" fmla="*/ 619 h 646"/>
                  <a:gd name="T86" fmla="*/ 518 w 709"/>
                  <a:gd name="T87" fmla="*/ 547 h 646"/>
                  <a:gd name="T88" fmla="*/ 617 w 709"/>
                  <a:gd name="T89" fmla="*/ 439 h 646"/>
                  <a:gd name="T90" fmla="*/ 575 w 709"/>
                  <a:gd name="T91" fmla="*/ 467 h 646"/>
                  <a:gd name="T92" fmla="*/ 546 w 709"/>
                  <a:gd name="T93" fmla="*/ 470 h 646"/>
                  <a:gd name="T94" fmla="*/ 536 w 709"/>
                  <a:gd name="T95" fmla="*/ 503 h 646"/>
                  <a:gd name="T96" fmla="*/ 593 w 709"/>
                  <a:gd name="T97" fmla="*/ 428 h 646"/>
                  <a:gd name="T98" fmla="*/ 611 w 709"/>
                  <a:gd name="T99" fmla="*/ 427 h 646"/>
                  <a:gd name="T100" fmla="*/ 664 w 709"/>
                  <a:gd name="T101" fmla="*/ 632 h 646"/>
                  <a:gd name="T102" fmla="*/ 669 w 709"/>
                  <a:gd name="T103" fmla="*/ 631 h 6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709" h="646">
                    <a:moveTo>
                      <a:pt x="571" y="633"/>
                    </a:moveTo>
                    <a:cubicBezTo>
                      <a:pt x="563" y="632"/>
                      <a:pt x="556" y="628"/>
                      <a:pt x="549" y="626"/>
                    </a:cubicBezTo>
                    <a:cubicBezTo>
                      <a:pt x="547" y="626"/>
                      <a:pt x="540" y="627"/>
                      <a:pt x="536" y="626"/>
                    </a:cubicBezTo>
                    <a:cubicBezTo>
                      <a:pt x="536" y="624"/>
                      <a:pt x="536" y="621"/>
                      <a:pt x="537" y="617"/>
                    </a:cubicBezTo>
                    <a:cubicBezTo>
                      <a:pt x="537" y="615"/>
                      <a:pt x="541" y="611"/>
                      <a:pt x="539" y="609"/>
                    </a:cubicBezTo>
                    <a:cubicBezTo>
                      <a:pt x="541" y="606"/>
                      <a:pt x="538" y="602"/>
                      <a:pt x="538" y="598"/>
                    </a:cubicBezTo>
                    <a:cubicBezTo>
                      <a:pt x="537" y="594"/>
                      <a:pt x="539" y="589"/>
                      <a:pt x="537" y="587"/>
                    </a:cubicBezTo>
                    <a:cubicBezTo>
                      <a:pt x="532" y="582"/>
                      <a:pt x="517" y="587"/>
                      <a:pt x="514" y="577"/>
                    </a:cubicBezTo>
                    <a:cubicBezTo>
                      <a:pt x="512" y="571"/>
                      <a:pt x="518" y="564"/>
                      <a:pt x="518" y="557"/>
                    </a:cubicBezTo>
                    <a:cubicBezTo>
                      <a:pt x="519" y="557"/>
                      <a:pt x="519" y="557"/>
                      <a:pt x="519" y="558"/>
                    </a:cubicBezTo>
                    <a:cubicBezTo>
                      <a:pt x="537" y="566"/>
                      <a:pt x="525" y="544"/>
                      <a:pt x="524" y="542"/>
                    </a:cubicBezTo>
                    <a:cubicBezTo>
                      <a:pt x="524" y="540"/>
                      <a:pt x="523" y="537"/>
                      <a:pt x="522" y="538"/>
                    </a:cubicBezTo>
                    <a:cubicBezTo>
                      <a:pt x="519" y="539"/>
                      <a:pt x="519" y="544"/>
                      <a:pt x="516" y="545"/>
                    </a:cubicBezTo>
                    <a:cubicBezTo>
                      <a:pt x="515" y="546"/>
                      <a:pt x="516" y="541"/>
                      <a:pt x="516" y="539"/>
                    </a:cubicBezTo>
                    <a:cubicBezTo>
                      <a:pt x="516" y="535"/>
                      <a:pt x="518" y="531"/>
                      <a:pt x="518" y="528"/>
                    </a:cubicBezTo>
                    <a:cubicBezTo>
                      <a:pt x="518" y="525"/>
                      <a:pt x="515" y="520"/>
                      <a:pt x="518" y="518"/>
                    </a:cubicBezTo>
                    <a:cubicBezTo>
                      <a:pt x="518" y="517"/>
                      <a:pt x="519" y="517"/>
                      <a:pt x="520" y="517"/>
                    </a:cubicBezTo>
                    <a:cubicBezTo>
                      <a:pt x="519" y="516"/>
                      <a:pt x="517" y="491"/>
                      <a:pt x="523" y="493"/>
                    </a:cubicBezTo>
                    <a:cubicBezTo>
                      <a:pt x="526" y="495"/>
                      <a:pt x="524" y="500"/>
                      <a:pt x="525" y="503"/>
                    </a:cubicBezTo>
                    <a:cubicBezTo>
                      <a:pt x="531" y="515"/>
                      <a:pt x="555" y="486"/>
                      <a:pt x="556" y="486"/>
                    </a:cubicBezTo>
                    <a:cubicBezTo>
                      <a:pt x="568" y="482"/>
                      <a:pt x="554" y="501"/>
                      <a:pt x="557" y="504"/>
                    </a:cubicBezTo>
                    <a:cubicBezTo>
                      <a:pt x="559" y="506"/>
                      <a:pt x="563" y="504"/>
                      <a:pt x="567" y="503"/>
                    </a:cubicBezTo>
                    <a:cubicBezTo>
                      <a:pt x="566" y="503"/>
                      <a:pt x="566" y="503"/>
                      <a:pt x="566" y="503"/>
                    </a:cubicBezTo>
                    <a:cubicBezTo>
                      <a:pt x="565" y="500"/>
                      <a:pt x="568" y="496"/>
                      <a:pt x="566" y="494"/>
                    </a:cubicBezTo>
                    <a:cubicBezTo>
                      <a:pt x="565" y="492"/>
                      <a:pt x="562" y="497"/>
                      <a:pt x="561" y="495"/>
                    </a:cubicBezTo>
                    <a:cubicBezTo>
                      <a:pt x="560" y="493"/>
                      <a:pt x="565" y="491"/>
                      <a:pt x="565" y="489"/>
                    </a:cubicBezTo>
                    <a:cubicBezTo>
                      <a:pt x="565" y="476"/>
                      <a:pt x="557" y="480"/>
                      <a:pt x="567" y="472"/>
                    </a:cubicBezTo>
                    <a:cubicBezTo>
                      <a:pt x="570" y="470"/>
                      <a:pt x="576" y="470"/>
                      <a:pt x="578" y="472"/>
                    </a:cubicBezTo>
                    <a:cubicBezTo>
                      <a:pt x="579" y="473"/>
                      <a:pt x="576" y="478"/>
                      <a:pt x="578" y="477"/>
                    </a:cubicBezTo>
                    <a:cubicBezTo>
                      <a:pt x="580" y="475"/>
                      <a:pt x="580" y="470"/>
                      <a:pt x="583" y="468"/>
                    </a:cubicBezTo>
                    <a:cubicBezTo>
                      <a:pt x="585" y="467"/>
                      <a:pt x="588" y="468"/>
                      <a:pt x="590" y="468"/>
                    </a:cubicBezTo>
                    <a:cubicBezTo>
                      <a:pt x="593" y="470"/>
                      <a:pt x="606" y="473"/>
                      <a:pt x="606" y="473"/>
                    </a:cubicBezTo>
                    <a:cubicBezTo>
                      <a:pt x="608" y="476"/>
                      <a:pt x="605" y="480"/>
                      <a:pt x="605" y="484"/>
                    </a:cubicBezTo>
                    <a:cubicBezTo>
                      <a:pt x="605" y="487"/>
                      <a:pt x="610" y="490"/>
                      <a:pt x="609" y="493"/>
                    </a:cubicBezTo>
                    <a:cubicBezTo>
                      <a:pt x="608" y="495"/>
                      <a:pt x="604" y="492"/>
                      <a:pt x="601" y="493"/>
                    </a:cubicBezTo>
                    <a:cubicBezTo>
                      <a:pt x="598" y="493"/>
                      <a:pt x="610" y="496"/>
                      <a:pt x="609" y="499"/>
                    </a:cubicBezTo>
                    <a:cubicBezTo>
                      <a:pt x="609" y="500"/>
                      <a:pt x="609" y="501"/>
                      <a:pt x="609" y="501"/>
                    </a:cubicBezTo>
                    <a:cubicBezTo>
                      <a:pt x="611" y="502"/>
                      <a:pt x="611" y="507"/>
                      <a:pt x="614" y="508"/>
                    </a:cubicBezTo>
                    <a:cubicBezTo>
                      <a:pt x="621" y="509"/>
                      <a:pt x="631" y="500"/>
                      <a:pt x="634" y="513"/>
                    </a:cubicBezTo>
                    <a:cubicBezTo>
                      <a:pt x="635" y="517"/>
                      <a:pt x="622" y="540"/>
                      <a:pt x="617" y="538"/>
                    </a:cubicBezTo>
                    <a:cubicBezTo>
                      <a:pt x="613" y="535"/>
                      <a:pt x="613" y="528"/>
                      <a:pt x="609" y="526"/>
                    </a:cubicBezTo>
                    <a:cubicBezTo>
                      <a:pt x="604" y="525"/>
                      <a:pt x="604" y="554"/>
                      <a:pt x="602" y="557"/>
                    </a:cubicBezTo>
                    <a:cubicBezTo>
                      <a:pt x="600" y="565"/>
                      <a:pt x="595" y="570"/>
                      <a:pt x="587" y="570"/>
                    </a:cubicBezTo>
                    <a:cubicBezTo>
                      <a:pt x="583" y="570"/>
                      <a:pt x="575" y="564"/>
                      <a:pt x="576" y="568"/>
                    </a:cubicBezTo>
                    <a:cubicBezTo>
                      <a:pt x="578" y="572"/>
                      <a:pt x="587" y="569"/>
                      <a:pt x="589" y="574"/>
                    </a:cubicBezTo>
                    <a:cubicBezTo>
                      <a:pt x="589" y="574"/>
                      <a:pt x="589" y="575"/>
                      <a:pt x="589" y="576"/>
                    </a:cubicBezTo>
                    <a:cubicBezTo>
                      <a:pt x="589" y="576"/>
                      <a:pt x="590" y="576"/>
                      <a:pt x="590" y="576"/>
                    </a:cubicBezTo>
                    <a:cubicBezTo>
                      <a:pt x="592" y="576"/>
                      <a:pt x="593" y="579"/>
                      <a:pt x="595" y="579"/>
                    </a:cubicBezTo>
                    <a:cubicBezTo>
                      <a:pt x="601" y="578"/>
                      <a:pt x="605" y="568"/>
                      <a:pt x="611" y="570"/>
                    </a:cubicBezTo>
                    <a:cubicBezTo>
                      <a:pt x="615" y="572"/>
                      <a:pt x="617" y="577"/>
                      <a:pt x="621" y="578"/>
                    </a:cubicBezTo>
                    <a:cubicBezTo>
                      <a:pt x="623" y="578"/>
                      <a:pt x="623" y="574"/>
                      <a:pt x="625" y="573"/>
                    </a:cubicBezTo>
                    <a:cubicBezTo>
                      <a:pt x="635" y="594"/>
                      <a:pt x="623" y="576"/>
                      <a:pt x="627" y="584"/>
                    </a:cubicBezTo>
                    <a:cubicBezTo>
                      <a:pt x="630" y="590"/>
                      <a:pt x="641" y="616"/>
                      <a:pt x="620" y="614"/>
                    </a:cubicBezTo>
                    <a:cubicBezTo>
                      <a:pt x="615" y="613"/>
                      <a:pt x="611" y="610"/>
                      <a:pt x="607" y="609"/>
                    </a:cubicBezTo>
                    <a:cubicBezTo>
                      <a:pt x="605" y="609"/>
                      <a:pt x="602" y="612"/>
                      <a:pt x="601" y="610"/>
                    </a:cubicBezTo>
                    <a:cubicBezTo>
                      <a:pt x="596" y="607"/>
                      <a:pt x="612" y="608"/>
                      <a:pt x="603" y="603"/>
                    </a:cubicBezTo>
                    <a:cubicBezTo>
                      <a:pt x="589" y="595"/>
                      <a:pt x="603" y="608"/>
                      <a:pt x="598" y="608"/>
                    </a:cubicBezTo>
                    <a:cubicBezTo>
                      <a:pt x="597" y="608"/>
                      <a:pt x="593" y="591"/>
                      <a:pt x="593" y="590"/>
                    </a:cubicBezTo>
                    <a:cubicBezTo>
                      <a:pt x="591" y="586"/>
                      <a:pt x="585" y="584"/>
                      <a:pt x="584" y="579"/>
                    </a:cubicBezTo>
                    <a:cubicBezTo>
                      <a:pt x="584" y="579"/>
                      <a:pt x="585" y="579"/>
                      <a:pt x="585" y="579"/>
                    </a:cubicBezTo>
                    <a:cubicBezTo>
                      <a:pt x="580" y="581"/>
                      <a:pt x="574" y="582"/>
                      <a:pt x="574" y="582"/>
                    </a:cubicBezTo>
                    <a:cubicBezTo>
                      <a:pt x="573" y="585"/>
                      <a:pt x="580" y="582"/>
                      <a:pt x="581" y="585"/>
                    </a:cubicBezTo>
                    <a:cubicBezTo>
                      <a:pt x="581" y="586"/>
                      <a:pt x="578" y="587"/>
                      <a:pt x="578" y="589"/>
                    </a:cubicBezTo>
                    <a:cubicBezTo>
                      <a:pt x="577" y="592"/>
                      <a:pt x="578" y="595"/>
                      <a:pt x="579" y="598"/>
                    </a:cubicBezTo>
                    <a:cubicBezTo>
                      <a:pt x="579" y="600"/>
                      <a:pt x="582" y="600"/>
                      <a:pt x="582" y="602"/>
                    </a:cubicBezTo>
                    <a:cubicBezTo>
                      <a:pt x="582" y="608"/>
                      <a:pt x="572" y="611"/>
                      <a:pt x="571" y="617"/>
                    </a:cubicBezTo>
                    <a:cubicBezTo>
                      <a:pt x="571" y="619"/>
                      <a:pt x="575" y="616"/>
                      <a:pt x="577" y="617"/>
                    </a:cubicBezTo>
                    <a:cubicBezTo>
                      <a:pt x="581" y="620"/>
                      <a:pt x="584" y="624"/>
                      <a:pt x="585" y="628"/>
                    </a:cubicBezTo>
                    <a:cubicBezTo>
                      <a:pt x="585" y="630"/>
                      <a:pt x="581" y="624"/>
                      <a:pt x="579" y="624"/>
                    </a:cubicBezTo>
                    <a:cubicBezTo>
                      <a:pt x="576" y="625"/>
                      <a:pt x="572" y="630"/>
                      <a:pt x="571" y="633"/>
                    </a:cubicBezTo>
                    <a:close/>
                    <a:moveTo>
                      <a:pt x="8" y="59"/>
                    </a:moveTo>
                    <a:cubicBezTo>
                      <a:pt x="8" y="64"/>
                      <a:pt x="7" y="73"/>
                      <a:pt x="7" y="73"/>
                    </a:cubicBezTo>
                    <a:cubicBezTo>
                      <a:pt x="7" y="73"/>
                      <a:pt x="8" y="64"/>
                      <a:pt x="8" y="59"/>
                    </a:cubicBezTo>
                    <a:close/>
                    <a:moveTo>
                      <a:pt x="17" y="3"/>
                    </a:moveTo>
                    <a:cubicBezTo>
                      <a:pt x="10" y="18"/>
                      <a:pt x="20" y="0"/>
                      <a:pt x="21" y="9"/>
                    </a:cubicBezTo>
                    <a:cubicBezTo>
                      <a:pt x="21" y="10"/>
                      <a:pt x="19" y="10"/>
                      <a:pt x="19" y="10"/>
                    </a:cubicBezTo>
                    <a:cubicBezTo>
                      <a:pt x="20" y="13"/>
                      <a:pt x="24" y="12"/>
                      <a:pt x="24" y="14"/>
                    </a:cubicBezTo>
                    <a:cubicBezTo>
                      <a:pt x="24" y="18"/>
                      <a:pt x="23" y="25"/>
                      <a:pt x="19" y="25"/>
                    </a:cubicBezTo>
                    <a:cubicBezTo>
                      <a:pt x="16" y="24"/>
                      <a:pt x="20" y="18"/>
                      <a:pt x="19" y="14"/>
                    </a:cubicBezTo>
                    <a:cubicBezTo>
                      <a:pt x="17" y="9"/>
                      <a:pt x="0" y="2"/>
                      <a:pt x="17" y="3"/>
                    </a:cubicBezTo>
                    <a:close/>
                    <a:moveTo>
                      <a:pt x="678" y="539"/>
                    </a:moveTo>
                    <a:cubicBezTo>
                      <a:pt x="678" y="539"/>
                      <a:pt x="678" y="539"/>
                      <a:pt x="678" y="539"/>
                    </a:cubicBezTo>
                    <a:cubicBezTo>
                      <a:pt x="684" y="535"/>
                      <a:pt x="694" y="537"/>
                      <a:pt x="700" y="538"/>
                    </a:cubicBezTo>
                    <a:cubicBezTo>
                      <a:pt x="701" y="539"/>
                      <a:pt x="703" y="540"/>
                      <a:pt x="703" y="542"/>
                    </a:cubicBezTo>
                    <a:cubicBezTo>
                      <a:pt x="703" y="545"/>
                      <a:pt x="699" y="547"/>
                      <a:pt x="699" y="551"/>
                    </a:cubicBezTo>
                    <a:cubicBezTo>
                      <a:pt x="700" y="562"/>
                      <a:pt x="709" y="561"/>
                      <a:pt x="701" y="570"/>
                    </a:cubicBezTo>
                    <a:cubicBezTo>
                      <a:pt x="698" y="573"/>
                      <a:pt x="694" y="574"/>
                      <a:pt x="691" y="577"/>
                    </a:cubicBezTo>
                    <a:cubicBezTo>
                      <a:pt x="686" y="582"/>
                      <a:pt x="692" y="584"/>
                      <a:pt x="697" y="587"/>
                    </a:cubicBezTo>
                    <a:cubicBezTo>
                      <a:pt x="700" y="595"/>
                      <a:pt x="700" y="595"/>
                      <a:pt x="700" y="595"/>
                    </a:cubicBezTo>
                    <a:cubicBezTo>
                      <a:pt x="696" y="599"/>
                      <a:pt x="683" y="598"/>
                      <a:pt x="683" y="603"/>
                    </a:cubicBezTo>
                    <a:cubicBezTo>
                      <a:pt x="684" y="609"/>
                      <a:pt x="697" y="617"/>
                      <a:pt x="683" y="618"/>
                    </a:cubicBezTo>
                    <a:cubicBezTo>
                      <a:pt x="678" y="618"/>
                      <a:pt x="674" y="615"/>
                      <a:pt x="670" y="612"/>
                    </a:cubicBezTo>
                    <a:cubicBezTo>
                      <a:pt x="672" y="613"/>
                      <a:pt x="675" y="615"/>
                      <a:pt x="675" y="613"/>
                    </a:cubicBezTo>
                    <a:cubicBezTo>
                      <a:pt x="677" y="609"/>
                      <a:pt x="673" y="604"/>
                      <a:pt x="670" y="601"/>
                    </a:cubicBezTo>
                    <a:cubicBezTo>
                      <a:pt x="669" y="600"/>
                      <a:pt x="669" y="603"/>
                      <a:pt x="667" y="603"/>
                    </a:cubicBezTo>
                    <a:cubicBezTo>
                      <a:pt x="664" y="603"/>
                      <a:pt x="662" y="600"/>
                      <a:pt x="659" y="600"/>
                    </a:cubicBezTo>
                    <a:cubicBezTo>
                      <a:pt x="656" y="599"/>
                      <a:pt x="653" y="602"/>
                      <a:pt x="651" y="601"/>
                    </a:cubicBezTo>
                    <a:cubicBezTo>
                      <a:pt x="650" y="601"/>
                      <a:pt x="650" y="599"/>
                      <a:pt x="650" y="599"/>
                    </a:cubicBezTo>
                    <a:cubicBezTo>
                      <a:pt x="653" y="590"/>
                      <a:pt x="643" y="592"/>
                      <a:pt x="644" y="590"/>
                    </a:cubicBezTo>
                    <a:cubicBezTo>
                      <a:pt x="644" y="588"/>
                      <a:pt x="648" y="589"/>
                      <a:pt x="649" y="586"/>
                    </a:cubicBezTo>
                    <a:cubicBezTo>
                      <a:pt x="651" y="570"/>
                      <a:pt x="646" y="574"/>
                      <a:pt x="637" y="566"/>
                    </a:cubicBezTo>
                    <a:cubicBezTo>
                      <a:pt x="636" y="565"/>
                      <a:pt x="632" y="562"/>
                      <a:pt x="634" y="562"/>
                    </a:cubicBezTo>
                    <a:cubicBezTo>
                      <a:pt x="639" y="559"/>
                      <a:pt x="666" y="565"/>
                      <a:pt x="661" y="548"/>
                    </a:cubicBezTo>
                    <a:cubicBezTo>
                      <a:pt x="660" y="544"/>
                      <a:pt x="654" y="545"/>
                      <a:pt x="651" y="543"/>
                    </a:cubicBezTo>
                    <a:cubicBezTo>
                      <a:pt x="649" y="542"/>
                      <a:pt x="654" y="544"/>
                      <a:pt x="656" y="544"/>
                    </a:cubicBezTo>
                    <a:cubicBezTo>
                      <a:pt x="659" y="545"/>
                      <a:pt x="662" y="546"/>
                      <a:pt x="665" y="546"/>
                    </a:cubicBezTo>
                    <a:cubicBezTo>
                      <a:pt x="673" y="546"/>
                      <a:pt x="687" y="542"/>
                      <a:pt x="684" y="560"/>
                    </a:cubicBezTo>
                    <a:cubicBezTo>
                      <a:pt x="683" y="562"/>
                      <a:pt x="676" y="565"/>
                      <a:pt x="678" y="567"/>
                    </a:cubicBezTo>
                    <a:cubicBezTo>
                      <a:pt x="688" y="576"/>
                      <a:pt x="685" y="555"/>
                      <a:pt x="683" y="547"/>
                    </a:cubicBezTo>
                    <a:cubicBezTo>
                      <a:pt x="683" y="544"/>
                      <a:pt x="674" y="547"/>
                      <a:pt x="675" y="544"/>
                    </a:cubicBezTo>
                    <a:cubicBezTo>
                      <a:pt x="675" y="542"/>
                      <a:pt x="677" y="540"/>
                      <a:pt x="678" y="539"/>
                    </a:cubicBezTo>
                    <a:close/>
                    <a:moveTo>
                      <a:pt x="689" y="629"/>
                    </a:moveTo>
                    <a:cubicBezTo>
                      <a:pt x="686" y="629"/>
                      <a:pt x="686" y="629"/>
                      <a:pt x="686" y="629"/>
                    </a:cubicBezTo>
                    <a:cubicBezTo>
                      <a:pt x="686" y="630"/>
                      <a:pt x="686" y="630"/>
                      <a:pt x="686" y="630"/>
                    </a:cubicBezTo>
                    <a:cubicBezTo>
                      <a:pt x="687" y="632"/>
                      <a:pt x="686" y="632"/>
                      <a:pt x="686" y="633"/>
                    </a:cubicBezTo>
                    <a:cubicBezTo>
                      <a:pt x="684" y="634"/>
                      <a:pt x="682" y="635"/>
                      <a:pt x="682" y="637"/>
                    </a:cubicBezTo>
                    <a:cubicBezTo>
                      <a:pt x="680" y="638"/>
                      <a:pt x="679" y="639"/>
                      <a:pt x="678" y="641"/>
                    </a:cubicBezTo>
                    <a:cubicBezTo>
                      <a:pt x="678" y="641"/>
                      <a:pt x="678" y="641"/>
                      <a:pt x="678" y="641"/>
                    </a:cubicBezTo>
                    <a:cubicBezTo>
                      <a:pt x="678" y="642"/>
                      <a:pt x="678" y="642"/>
                      <a:pt x="678" y="642"/>
                    </a:cubicBezTo>
                    <a:cubicBezTo>
                      <a:pt x="678" y="642"/>
                      <a:pt x="678" y="641"/>
                      <a:pt x="678" y="641"/>
                    </a:cubicBezTo>
                    <a:cubicBezTo>
                      <a:pt x="674" y="641"/>
                      <a:pt x="670" y="640"/>
                      <a:pt x="669" y="641"/>
                    </a:cubicBezTo>
                    <a:cubicBezTo>
                      <a:pt x="666" y="641"/>
                      <a:pt x="664" y="646"/>
                      <a:pt x="660" y="646"/>
                    </a:cubicBezTo>
                    <a:cubicBezTo>
                      <a:pt x="656" y="645"/>
                      <a:pt x="653" y="639"/>
                      <a:pt x="649" y="637"/>
                    </a:cubicBezTo>
                    <a:cubicBezTo>
                      <a:pt x="647" y="635"/>
                      <a:pt x="643" y="634"/>
                      <a:pt x="640" y="632"/>
                    </a:cubicBezTo>
                    <a:cubicBezTo>
                      <a:pt x="639" y="631"/>
                      <a:pt x="645" y="630"/>
                      <a:pt x="651" y="620"/>
                    </a:cubicBezTo>
                    <a:cubicBezTo>
                      <a:pt x="658" y="626"/>
                      <a:pt x="670" y="628"/>
                      <a:pt x="677" y="634"/>
                    </a:cubicBezTo>
                    <a:cubicBezTo>
                      <a:pt x="678" y="634"/>
                      <a:pt x="678" y="634"/>
                      <a:pt x="678" y="634"/>
                    </a:cubicBezTo>
                    <a:cubicBezTo>
                      <a:pt x="674" y="629"/>
                      <a:pt x="667" y="625"/>
                      <a:pt x="670" y="621"/>
                    </a:cubicBezTo>
                    <a:cubicBezTo>
                      <a:pt x="671" y="619"/>
                      <a:pt x="674" y="620"/>
                      <a:pt x="676" y="619"/>
                    </a:cubicBezTo>
                    <a:cubicBezTo>
                      <a:pt x="680" y="623"/>
                      <a:pt x="688" y="622"/>
                      <a:pt x="690" y="628"/>
                    </a:cubicBezTo>
                    <a:cubicBezTo>
                      <a:pt x="690" y="628"/>
                      <a:pt x="690" y="629"/>
                      <a:pt x="689" y="629"/>
                    </a:cubicBezTo>
                    <a:close/>
                    <a:moveTo>
                      <a:pt x="518" y="547"/>
                    </a:moveTo>
                    <a:cubicBezTo>
                      <a:pt x="518" y="548"/>
                      <a:pt x="518" y="549"/>
                      <a:pt x="518" y="551"/>
                    </a:cubicBezTo>
                    <a:cubicBezTo>
                      <a:pt x="518" y="548"/>
                      <a:pt x="518" y="544"/>
                      <a:pt x="518" y="547"/>
                    </a:cubicBezTo>
                    <a:close/>
                    <a:moveTo>
                      <a:pt x="617" y="439"/>
                    </a:moveTo>
                    <a:cubicBezTo>
                      <a:pt x="619" y="445"/>
                      <a:pt x="613" y="475"/>
                      <a:pt x="603" y="472"/>
                    </a:cubicBezTo>
                    <a:cubicBezTo>
                      <a:pt x="600" y="471"/>
                      <a:pt x="597" y="467"/>
                      <a:pt x="593" y="467"/>
                    </a:cubicBezTo>
                    <a:cubicBezTo>
                      <a:pt x="597" y="462"/>
                      <a:pt x="580" y="466"/>
                      <a:pt x="575" y="467"/>
                    </a:cubicBezTo>
                    <a:cubicBezTo>
                      <a:pt x="571" y="468"/>
                      <a:pt x="568" y="471"/>
                      <a:pt x="564" y="472"/>
                    </a:cubicBezTo>
                    <a:cubicBezTo>
                      <a:pt x="562" y="472"/>
                      <a:pt x="561" y="469"/>
                      <a:pt x="559" y="469"/>
                    </a:cubicBezTo>
                    <a:cubicBezTo>
                      <a:pt x="555" y="469"/>
                      <a:pt x="550" y="469"/>
                      <a:pt x="546" y="470"/>
                    </a:cubicBezTo>
                    <a:cubicBezTo>
                      <a:pt x="545" y="471"/>
                      <a:pt x="546" y="474"/>
                      <a:pt x="544" y="475"/>
                    </a:cubicBezTo>
                    <a:cubicBezTo>
                      <a:pt x="536" y="479"/>
                      <a:pt x="545" y="456"/>
                      <a:pt x="533" y="486"/>
                    </a:cubicBezTo>
                    <a:cubicBezTo>
                      <a:pt x="533" y="487"/>
                      <a:pt x="536" y="503"/>
                      <a:pt x="536" y="503"/>
                    </a:cubicBezTo>
                    <a:cubicBezTo>
                      <a:pt x="517" y="502"/>
                      <a:pt x="527" y="467"/>
                      <a:pt x="538" y="463"/>
                    </a:cubicBezTo>
                    <a:cubicBezTo>
                      <a:pt x="548" y="458"/>
                      <a:pt x="561" y="463"/>
                      <a:pt x="571" y="460"/>
                    </a:cubicBezTo>
                    <a:cubicBezTo>
                      <a:pt x="584" y="453"/>
                      <a:pt x="581" y="435"/>
                      <a:pt x="593" y="428"/>
                    </a:cubicBezTo>
                    <a:cubicBezTo>
                      <a:pt x="597" y="427"/>
                      <a:pt x="602" y="428"/>
                      <a:pt x="606" y="426"/>
                    </a:cubicBezTo>
                    <a:cubicBezTo>
                      <a:pt x="610" y="424"/>
                      <a:pt x="612" y="416"/>
                      <a:pt x="617" y="416"/>
                    </a:cubicBezTo>
                    <a:cubicBezTo>
                      <a:pt x="625" y="416"/>
                      <a:pt x="612" y="422"/>
                      <a:pt x="611" y="427"/>
                    </a:cubicBezTo>
                    <a:cubicBezTo>
                      <a:pt x="610" y="435"/>
                      <a:pt x="614" y="430"/>
                      <a:pt x="617" y="439"/>
                    </a:cubicBezTo>
                    <a:close/>
                    <a:moveTo>
                      <a:pt x="669" y="631"/>
                    </a:moveTo>
                    <a:cubicBezTo>
                      <a:pt x="664" y="632"/>
                      <a:pt x="664" y="632"/>
                      <a:pt x="664" y="632"/>
                    </a:cubicBezTo>
                    <a:cubicBezTo>
                      <a:pt x="668" y="633"/>
                      <a:pt x="671" y="634"/>
                      <a:pt x="674" y="637"/>
                    </a:cubicBezTo>
                    <a:cubicBezTo>
                      <a:pt x="675" y="637"/>
                      <a:pt x="675" y="637"/>
                      <a:pt x="675" y="637"/>
                    </a:cubicBezTo>
                    <a:cubicBezTo>
                      <a:pt x="673" y="635"/>
                      <a:pt x="671" y="633"/>
                      <a:pt x="669" y="631"/>
                    </a:cubicBezTo>
                    <a:close/>
                  </a:path>
                </a:pathLst>
              </a:custGeom>
              <a:solidFill>
                <a:srgbClr val="6785C1">
                  <a:lumMod val="40000"/>
                  <a:lumOff val="60000"/>
                </a:srgbClr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grpSp>
            <p:nvGrpSpPr>
              <p:cNvPr id="137" name="Russia">
                <a:extLst>
                  <a:ext uri="{FF2B5EF4-FFF2-40B4-BE49-F238E27FC236}">
                    <a16:creationId xmlns:a16="http://schemas.microsoft.com/office/drawing/2014/main" id="{7B9BF0EF-C643-9553-830E-268002BA2858}"/>
                  </a:ext>
                </a:extLst>
              </p:cNvPr>
              <p:cNvGrpSpPr/>
              <p:nvPr/>
            </p:nvGrpSpPr>
            <p:grpSpPr>
              <a:xfrm>
                <a:off x="5781397" y="1024305"/>
                <a:ext cx="3171155" cy="3956731"/>
                <a:chOff x="5781397" y="1024305"/>
                <a:chExt cx="3171155" cy="3956731"/>
              </a:xfrm>
              <a:grpFill/>
            </p:grpSpPr>
            <p:sp>
              <p:nvSpPr>
                <p:cNvPr id="141" name="Russia" descr="{&quot;Key&quot;:&quot;russia&quot;,&quot;Name&quot;:&quot;Russia&quot;,&quot;Value&quot;:1.0,&quot;Formula&quot;:&quot;&quot;,&quot;Text&quot;:&quot;&quot;,&quot;OfficeApplication&quot;:1,&quot;HasValue&quot;:true}">
                  <a:extLst>
                    <a:ext uri="{FF2B5EF4-FFF2-40B4-BE49-F238E27FC236}">
                      <a16:creationId xmlns:a16="http://schemas.microsoft.com/office/drawing/2014/main" id="{053DBA54-AEF6-612A-B51E-B16C5568EC8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900270" y="1024305"/>
                  <a:ext cx="3052282" cy="3956731"/>
                </a:xfrm>
                <a:custGeom>
                  <a:avLst/>
                  <a:gdLst>
                    <a:gd name="T0" fmla="*/ 1299 w 1825"/>
                    <a:gd name="T1" fmla="*/ 2163 h 2198"/>
                    <a:gd name="T2" fmla="*/ 1073 w 1825"/>
                    <a:gd name="T3" fmla="*/ 2192 h 2198"/>
                    <a:gd name="T4" fmla="*/ 910 w 1825"/>
                    <a:gd name="T5" fmla="*/ 2118 h 2198"/>
                    <a:gd name="T6" fmla="*/ 931 w 1825"/>
                    <a:gd name="T7" fmla="*/ 2038 h 2198"/>
                    <a:gd name="T8" fmla="*/ 935 w 1825"/>
                    <a:gd name="T9" fmla="*/ 1958 h 2198"/>
                    <a:gd name="T10" fmla="*/ 952 w 1825"/>
                    <a:gd name="T11" fmla="*/ 1863 h 2198"/>
                    <a:gd name="T12" fmla="*/ 870 w 1825"/>
                    <a:gd name="T13" fmla="*/ 1767 h 2198"/>
                    <a:gd name="T14" fmla="*/ 682 w 1825"/>
                    <a:gd name="T15" fmla="*/ 1781 h 2198"/>
                    <a:gd name="T16" fmla="*/ 601 w 1825"/>
                    <a:gd name="T17" fmla="*/ 1728 h 2198"/>
                    <a:gd name="T18" fmla="*/ 477 w 1825"/>
                    <a:gd name="T19" fmla="*/ 1720 h 2198"/>
                    <a:gd name="T20" fmla="*/ 451 w 1825"/>
                    <a:gd name="T21" fmla="*/ 1612 h 2198"/>
                    <a:gd name="T22" fmla="*/ 284 w 1825"/>
                    <a:gd name="T23" fmla="*/ 1495 h 2198"/>
                    <a:gd name="T24" fmla="*/ 199 w 1825"/>
                    <a:gd name="T25" fmla="*/ 1377 h 2198"/>
                    <a:gd name="T26" fmla="*/ 208 w 1825"/>
                    <a:gd name="T27" fmla="*/ 1219 h 2198"/>
                    <a:gd name="T28" fmla="*/ 230 w 1825"/>
                    <a:gd name="T29" fmla="*/ 979 h 2198"/>
                    <a:gd name="T30" fmla="*/ 45 w 1825"/>
                    <a:gd name="T31" fmla="*/ 622 h 2198"/>
                    <a:gd name="T32" fmla="*/ 82 w 1825"/>
                    <a:gd name="T33" fmla="*/ 475 h 2198"/>
                    <a:gd name="T34" fmla="*/ 185 w 1825"/>
                    <a:gd name="T35" fmla="*/ 486 h 2198"/>
                    <a:gd name="T36" fmla="*/ 365 w 1825"/>
                    <a:gd name="T37" fmla="*/ 544 h 2198"/>
                    <a:gd name="T38" fmla="*/ 192 w 1825"/>
                    <a:gd name="T39" fmla="*/ 680 h 2198"/>
                    <a:gd name="T40" fmla="*/ 253 w 1825"/>
                    <a:gd name="T41" fmla="*/ 729 h 2198"/>
                    <a:gd name="T42" fmla="*/ 390 w 1825"/>
                    <a:gd name="T43" fmla="*/ 834 h 2198"/>
                    <a:gd name="T44" fmla="*/ 425 w 1825"/>
                    <a:gd name="T45" fmla="*/ 756 h 2198"/>
                    <a:gd name="T46" fmla="*/ 506 w 1825"/>
                    <a:gd name="T47" fmla="*/ 605 h 2198"/>
                    <a:gd name="T48" fmla="*/ 400 w 1825"/>
                    <a:gd name="T49" fmla="*/ 434 h 2198"/>
                    <a:gd name="T50" fmla="*/ 545 w 1825"/>
                    <a:gd name="T51" fmla="*/ 489 h 2198"/>
                    <a:gd name="T52" fmla="*/ 554 w 1825"/>
                    <a:gd name="T53" fmla="*/ 382 h 2198"/>
                    <a:gd name="T54" fmla="*/ 581 w 1825"/>
                    <a:gd name="T55" fmla="*/ 308 h 2198"/>
                    <a:gd name="T56" fmla="*/ 646 w 1825"/>
                    <a:gd name="T57" fmla="*/ 276 h 2198"/>
                    <a:gd name="T58" fmla="*/ 735 w 1825"/>
                    <a:gd name="T59" fmla="*/ 198 h 2198"/>
                    <a:gd name="T60" fmla="*/ 834 w 1825"/>
                    <a:gd name="T61" fmla="*/ 31 h 2198"/>
                    <a:gd name="T62" fmla="*/ 1034 w 1825"/>
                    <a:gd name="T63" fmla="*/ 17 h 2198"/>
                    <a:gd name="T64" fmla="*/ 1012 w 1825"/>
                    <a:gd name="T65" fmla="*/ 55 h 2198"/>
                    <a:gd name="T66" fmla="*/ 1801 w 1825"/>
                    <a:gd name="T67" fmla="*/ 619 h 2198"/>
                    <a:gd name="T68" fmla="*/ 1680 w 1825"/>
                    <a:gd name="T69" fmla="*/ 644 h 2198"/>
                    <a:gd name="T70" fmla="*/ 1626 w 1825"/>
                    <a:gd name="T71" fmla="*/ 793 h 2198"/>
                    <a:gd name="T72" fmla="*/ 1565 w 1825"/>
                    <a:gd name="T73" fmla="*/ 916 h 2198"/>
                    <a:gd name="T74" fmla="*/ 1563 w 1825"/>
                    <a:gd name="T75" fmla="*/ 981 h 2198"/>
                    <a:gd name="T76" fmla="*/ 1608 w 1825"/>
                    <a:gd name="T77" fmla="*/ 1056 h 2198"/>
                    <a:gd name="T78" fmla="*/ 1637 w 1825"/>
                    <a:gd name="T79" fmla="*/ 1204 h 2198"/>
                    <a:gd name="T80" fmla="*/ 1559 w 1825"/>
                    <a:gd name="T81" fmla="*/ 1225 h 2198"/>
                    <a:gd name="T82" fmla="*/ 1525 w 1825"/>
                    <a:gd name="T83" fmla="*/ 1266 h 2198"/>
                    <a:gd name="T84" fmla="*/ 1493 w 1825"/>
                    <a:gd name="T85" fmla="*/ 1323 h 2198"/>
                    <a:gd name="T86" fmla="*/ 1404 w 1825"/>
                    <a:gd name="T87" fmla="*/ 1337 h 2198"/>
                    <a:gd name="T88" fmla="*/ 1273 w 1825"/>
                    <a:gd name="T89" fmla="*/ 1426 h 2198"/>
                    <a:gd name="T90" fmla="*/ 1199 w 1825"/>
                    <a:gd name="T91" fmla="*/ 1569 h 2198"/>
                    <a:gd name="T92" fmla="*/ 1294 w 1825"/>
                    <a:gd name="T93" fmla="*/ 1732 h 2198"/>
                    <a:gd name="T94" fmla="*/ 1423 w 1825"/>
                    <a:gd name="T95" fmla="*/ 1786 h 2198"/>
                    <a:gd name="T96" fmla="*/ 1373 w 1825"/>
                    <a:gd name="T97" fmla="*/ 1853 h 2198"/>
                    <a:gd name="T98" fmla="*/ 1378 w 1825"/>
                    <a:gd name="T99" fmla="*/ 1873 h 2198"/>
                    <a:gd name="T100" fmla="*/ 1378 w 1825"/>
                    <a:gd name="T101" fmla="*/ 1936 h 2198"/>
                    <a:gd name="T102" fmla="*/ 1472 w 1825"/>
                    <a:gd name="T103" fmla="*/ 2042 h 2198"/>
                    <a:gd name="T104" fmla="*/ 1491 w 1825"/>
                    <a:gd name="T105" fmla="*/ 2147 h 2198"/>
                    <a:gd name="T106" fmla="*/ 300 w 1825"/>
                    <a:gd name="T107" fmla="*/ 1180 h 2198"/>
                    <a:gd name="T108" fmla="*/ 446 w 1825"/>
                    <a:gd name="T109" fmla="*/ 0 h 2198"/>
                    <a:gd name="T110" fmla="*/ 415 w 1825"/>
                    <a:gd name="T111" fmla="*/ 77 h 2198"/>
                    <a:gd name="T112" fmla="*/ 479 w 1825"/>
                    <a:gd name="T113" fmla="*/ 132 h 2198"/>
                    <a:gd name="T114" fmla="*/ 581 w 1825"/>
                    <a:gd name="T115" fmla="*/ 97 h 2198"/>
                    <a:gd name="T116" fmla="*/ 643 w 1825"/>
                    <a:gd name="T117" fmla="*/ 93 h 2198"/>
                    <a:gd name="T118" fmla="*/ 499 w 1825"/>
                    <a:gd name="T119" fmla="*/ 352 h 2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1825" h="2198">
                      <a:moveTo>
                        <a:pt x="1462" y="2136"/>
                      </a:moveTo>
                      <a:cubicBezTo>
                        <a:pt x="1460" y="2137"/>
                        <a:pt x="1458" y="2139"/>
                        <a:pt x="1457" y="2139"/>
                      </a:cubicBezTo>
                      <a:cubicBezTo>
                        <a:pt x="1454" y="2139"/>
                        <a:pt x="1447" y="2143"/>
                        <a:pt x="1444" y="2142"/>
                      </a:cubicBezTo>
                      <a:cubicBezTo>
                        <a:pt x="1442" y="2142"/>
                        <a:pt x="1440" y="2140"/>
                        <a:pt x="1438" y="2140"/>
                      </a:cubicBezTo>
                      <a:cubicBezTo>
                        <a:pt x="1438" y="2140"/>
                        <a:pt x="1424" y="2146"/>
                        <a:pt x="1423" y="2146"/>
                      </a:cubicBezTo>
                      <a:cubicBezTo>
                        <a:pt x="1422" y="2146"/>
                        <a:pt x="1421" y="2143"/>
                        <a:pt x="1418" y="2142"/>
                      </a:cubicBezTo>
                      <a:cubicBezTo>
                        <a:pt x="1416" y="2141"/>
                        <a:pt x="1413" y="2142"/>
                        <a:pt x="1411" y="2142"/>
                      </a:cubicBezTo>
                      <a:cubicBezTo>
                        <a:pt x="1408" y="2142"/>
                        <a:pt x="1406" y="2142"/>
                        <a:pt x="1403" y="2142"/>
                      </a:cubicBezTo>
                      <a:cubicBezTo>
                        <a:pt x="1402" y="2142"/>
                        <a:pt x="1401" y="2143"/>
                        <a:pt x="1401" y="2142"/>
                      </a:cubicBezTo>
                      <a:cubicBezTo>
                        <a:pt x="1400" y="2139"/>
                        <a:pt x="1403" y="2120"/>
                        <a:pt x="1397" y="2120"/>
                      </a:cubicBezTo>
                      <a:cubicBezTo>
                        <a:pt x="1393" y="2120"/>
                        <a:pt x="1389" y="2120"/>
                        <a:pt x="1386" y="2122"/>
                      </a:cubicBezTo>
                      <a:cubicBezTo>
                        <a:pt x="1383" y="2123"/>
                        <a:pt x="1382" y="2128"/>
                        <a:pt x="1378" y="2128"/>
                      </a:cubicBezTo>
                      <a:cubicBezTo>
                        <a:pt x="1366" y="2128"/>
                        <a:pt x="1367" y="2120"/>
                        <a:pt x="1350" y="2123"/>
                      </a:cubicBezTo>
                      <a:cubicBezTo>
                        <a:pt x="1345" y="2124"/>
                        <a:pt x="1352" y="2134"/>
                        <a:pt x="1348" y="2137"/>
                      </a:cubicBezTo>
                      <a:cubicBezTo>
                        <a:pt x="1344" y="2140"/>
                        <a:pt x="1339" y="2130"/>
                        <a:pt x="1333" y="2132"/>
                      </a:cubicBezTo>
                      <a:cubicBezTo>
                        <a:pt x="1316" y="2140"/>
                        <a:pt x="1322" y="2163"/>
                        <a:pt x="1299" y="2163"/>
                      </a:cubicBezTo>
                      <a:cubicBezTo>
                        <a:pt x="1291" y="2163"/>
                        <a:pt x="1301" y="2152"/>
                        <a:pt x="1297" y="2152"/>
                      </a:cubicBezTo>
                      <a:cubicBezTo>
                        <a:pt x="1284" y="2152"/>
                        <a:pt x="1269" y="2156"/>
                        <a:pt x="1256" y="2155"/>
                      </a:cubicBezTo>
                      <a:cubicBezTo>
                        <a:pt x="1254" y="2154"/>
                        <a:pt x="1251" y="2153"/>
                        <a:pt x="1249" y="2152"/>
                      </a:cubicBezTo>
                      <a:cubicBezTo>
                        <a:pt x="1247" y="2151"/>
                        <a:pt x="1248" y="2149"/>
                        <a:pt x="1247" y="2148"/>
                      </a:cubicBezTo>
                      <a:cubicBezTo>
                        <a:pt x="1238" y="2146"/>
                        <a:pt x="1228" y="2154"/>
                        <a:pt x="1228" y="2154"/>
                      </a:cubicBezTo>
                      <a:cubicBezTo>
                        <a:pt x="1224" y="2155"/>
                        <a:pt x="1219" y="2153"/>
                        <a:pt x="1215" y="2153"/>
                      </a:cubicBezTo>
                      <a:cubicBezTo>
                        <a:pt x="1182" y="2161"/>
                        <a:pt x="1214" y="2156"/>
                        <a:pt x="1199" y="2165"/>
                      </a:cubicBezTo>
                      <a:cubicBezTo>
                        <a:pt x="1199" y="2165"/>
                        <a:pt x="1174" y="2175"/>
                        <a:pt x="1174" y="2175"/>
                      </a:cubicBezTo>
                      <a:cubicBezTo>
                        <a:pt x="1169" y="2175"/>
                        <a:pt x="1165" y="2170"/>
                        <a:pt x="1161" y="2170"/>
                      </a:cubicBezTo>
                      <a:cubicBezTo>
                        <a:pt x="1159" y="2170"/>
                        <a:pt x="1144" y="2176"/>
                        <a:pt x="1143" y="2176"/>
                      </a:cubicBezTo>
                      <a:cubicBezTo>
                        <a:pt x="1136" y="2178"/>
                        <a:pt x="1129" y="2170"/>
                        <a:pt x="1121" y="2172"/>
                      </a:cubicBezTo>
                      <a:cubicBezTo>
                        <a:pt x="1118" y="2173"/>
                        <a:pt x="1117" y="2176"/>
                        <a:pt x="1114" y="2178"/>
                      </a:cubicBezTo>
                      <a:cubicBezTo>
                        <a:pt x="1097" y="2186"/>
                        <a:pt x="1091" y="2171"/>
                        <a:pt x="1091" y="2198"/>
                      </a:cubicBezTo>
                      <a:cubicBezTo>
                        <a:pt x="1084" y="2197"/>
                        <a:pt x="1084" y="2197"/>
                        <a:pt x="1084" y="2197"/>
                      </a:cubicBezTo>
                      <a:cubicBezTo>
                        <a:pt x="1073" y="2192"/>
                        <a:pt x="1073" y="2192"/>
                        <a:pt x="1073" y="2192"/>
                      </a:cubicBezTo>
                      <a:cubicBezTo>
                        <a:pt x="1073" y="2192"/>
                        <a:pt x="1073" y="2192"/>
                        <a:pt x="1073" y="2192"/>
                      </a:cubicBezTo>
                      <a:cubicBezTo>
                        <a:pt x="1062" y="2189"/>
                        <a:pt x="1052" y="2182"/>
                        <a:pt x="1042" y="2177"/>
                      </a:cubicBezTo>
                      <a:cubicBezTo>
                        <a:pt x="1032" y="2173"/>
                        <a:pt x="1007" y="2162"/>
                        <a:pt x="997" y="2163"/>
                      </a:cubicBezTo>
                      <a:cubicBezTo>
                        <a:pt x="990" y="2163"/>
                        <a:pt x="983" y="2170"/>
                        <a:pt x="976" y="2168"/>
                      </a:cubicBezTo>
                      <a:cubicBezTo>
                        <a:pt x="971" y="2166"/>
                        <a:pt x="949" y="2150"/>
                        <a:pt x="946" y="2152"/>
                      </a:cubicBezTo>
                      <a:cubicBezTo>
                        <a:pt x="944" y="2153"/>
                        <a:pt x="952" y="2156"/>
                        <a:pt x="950" y="2158"/>
                      </a:cubicBezTo>
                      <a:cubicBezTo>
                        <a:pt x="950" y="2159"/>
                        <a:pt x="934" y="2162"/>
                        <a:pt x="933" y="2162"/>
                      </a:cubicBezTo>
                      <a:cubicBezTo>
                        <a:pt x="924" y="2163"/>
                        <a:pt x="920" y="2149"/>
                        <a:pt x="911" y="2146"/>
                      </a:cubicBezTo>
                      <a:cubicBezTo>
                        <a:pt x="899" y="2141"/>
                        <a:pt x="887" y="2150"/>
                        <a:pt x="876" y="2144"/>
                      </a:cubicBezTo>
                      <a:cubicBezTo>
                        <a:pt x="867" y="2139"/>
                        <a:pt x="901" y="2135"/>
                        <a:pt x="892" y="2127"/>
                      </a:cubicBezTo>
                      <a:cubicBezTo>
                        <a:pt x="889" y="2125"/>
                        <a:pt x="886" y="2133"/>
                        <a:pt x="883" y="2132"/>
                      </a:cubicBezTo>
                      <a:cubicBezTo>
                        <a:pt x="880" y="2130"/>
                        <a:pt x="880" y="2124"/>
                        <a:pt x="882" y="2122"/>
                      </a:cubicBezTo>
                      <a:cubicBezTo>
                        <a:pt x="884" y="2119"/>
                        <a:pt x="888" y="2122"/>
                        <a:pt x="890" y="2122"/>
                      </a:cubicBezTo>
                      <a:cubicBezTo>
                        <a:pt x="893" y="2122"/>
                        <a:pt x="897" y="2122"/>
                        <a:pt x="899" y="2123"/>
                      </a:cubicBezTo>
                      <a:cubicBezTo>
                        <a:pt x="900" y="2123"/>
                        <a:pt x="897" y="2126"/>
                        <a:pt x="898" y="2126"/>
                      </a:cubicBezTo>
                      <a:cubicBezTo>
                        <a:pt x="899" y="2125"/>
                        <a:pt x="899" y="2123"/>
                        <a:pt x="901" y="2122"/>
                      </a:cubicBezTo>
                      <a:cubicBezTo>
                        <a:pt x="903" y="2120"/>
                        <a:pt x="907" y="2119"/>
                        <a:pt x="910" y="2118"/>
                      </a:cubicBezTo>
                      <a:cubicBezTo>
                        <a:pt x="911" y="2118"/>
                        <a:pt x="911" y="2120"/>
                        <a:pt x="912" y="2120"/>
                      </a:cubicBezTo>
                      <a:cubicBezTo>
                        <a:pt x="914" y="2118"/>
                        <a:pt x="914" y="2114"/>
                        <a:pt x="916" y="2113"/>
                      </a:cubicBezTo>
                      <a:cubicBezTo>
                        <a:pt x="920" y="2111"/>
                        <a:pt x="925" y="2114"/>
                        <a:pt x="929" y="2113"/>
                      </a:cubicBezTo>
                      <a:cubicBezTo>
                        <a:pt x="930" y="2113"/>
                        <a:pt x="927" y="2113"/>
                        <a:pt x="927" y="2111"/>
                      </a:cubicBezTo>
                      <a:cubicBezTo>
                        <a:pt x="926" y="2110"/>
                        <a:pt x="928" y="2107"/>
                        <a:pt x="928" y="2106"/>
                      </a:cubicBezTo>
                      <a:cubicBezTo>
                        <a:pt x="927" y="2102"/>
                        <a:pt x="915" y="2097"/>
                        <a:pt x="913" y="2093"/>
                      </a:cubicBezTo>
                      <a:cubicBezTo>
                        <a:pt x="910" y="2088"/>
                        <a:pt x="918" y="2095"/>
                        <a:pt x="919" y="2092"/>
                      </a:cubicBezTo>
                      <a:cubicBezTo>
                        <a:pt x="919" y="2090"/>
                        <a:pt x="916" y="2090"/>
                        <a:pt x="916" y="2089"/>
                      </a:cubicBezTo>
                      <a:cubicBezTo>
                        <a:pt x="916" y="2085"/>
                        <a:pt x="920" y="2083"/>
                        <a:pt x="922" y="2079"/>
                      </a:cubicBezTo>
                      <a:cubicBezTo>
                        <a:pt x="924" y="2073"/>
                        <a:pt x="916" y="2062"/>
                        <a:pt x="919" y="2058"/>
                      </a:cubicBezTo>
                      <a:cubicBezTo>
                        <a:pt x="928" y="2048"/>
                        <a:pt x="924" y="2058"/>
                        <a:pt x="931" y="2071"/>
                      </a:cubicBezTo>
                      <a:cubicBezTo>
                        <a:pt x="931" y="2072"/>
                        <a:pt x="930" y="2067"/>
                        <a:pt x="930" y="2066"/>
                      </a:cubicBezTo>
                      <a:cubicBezTo>
                        <a:pt x="930" y="2065"/>
                        <a:pt x="926" y="2047"/>
                        <a:pt x="931" y="2045"/>
                      </a:cubicBezTo>
                      <a:cubicBezTo>
                        <a:pt x="935" y="2044"/>
                        <a:pt x="945" y="2053"/>
                        <a:pt x="949" y="2045"/>
                      </a:cubicBezTo>
                      <a:cubicBezTo>
                        <a:pt x="950" y="2044"/>
                        <a:pt x="949" y="2042"/>
                        <a:pt x="947" y="2041"/>
                      </a:cubicBezTo>
                      <a:cubicBezTo>
                        <a:pt x="942" y="2038"/>
                        <a:pt x="936" y="2040"/>
                        <a:pt x="931" y="2038"/>
                      </a:cubicBezTo>
                      <a:cubicBezTo>
                        <a:pt x="928" y="2036"/>
                        <a:pt x="925" y="2032"/>
                        <a:pt x="922" y="2032"/>
                      </a:cubicBezTo>
                      <a:cubicBezTo>
                        <a:pt x="906" y="2028"/>
                        <a:pt x="907" y="2037"/>
                        <a:pt x="897" y="2024"/>
                      </a:cubicBezTo>
                      <a:cubicBezTo>
                        <a:pt x="895" y="2021"/>
                        <a:pt x="892" y="2020"/>
                        <a:pt x="893" y="2018"/>
                      </a:cubicBezTo>
                      <a:cubicBezTo>
                        <a:pt x="894" y="2016"/>
                        <a:pt x="897" y="2019"/>
                        <a:pt x="899" y="2019"/>
                      </a:cubicBezTo>
                      <a:cubicBezTo>
                        <a:pt x="902" y="2019"/>
                        <a:pt x="905" y="2017"/>
                        <a:pt x="907" y="2016"/>
                      </a:cubicBezTo>
                      <a:cubicBezTo>
                        <a:pt x="911" y="2012"/>
                        <a:pt x="911" y="2005"/>
                        <a:pt x="916" y="2003"/>
                      </a:cubicBezTo>
                      <a:cubicBezTo>
                        <a:pt x="917" y="2002"/>
                        <a:pt x="918" y="2005"/>
                        <a:pt x="919" y="2006"/>
                      </a:cubicBezTo>
                      <a:cubicBezTo>
                        <a:pt x="921" y="2007"/>
                        <a:pt x="935" y="2007"/>
                        <a:pt x="933" y="2002"/>
                      </a:cubicBezTo>
                      <a:cubicBezTo>
                        <a:pt x="932" y="1999"/>
                        <a:pt x="925" y="2004"/>
                        <a:pt x="922" y="2002"/>
                      </a:cubicBezTo>
                      <a:cubicBezTo>
                        <a:pt x="910" y="1993"/>
                        <a:pt x="925" y="1990"/>
                        <a:pt x="926" y="1990"/>
                      </a:cubicBezTo>
                      <a:cubicBezTo>
                        <a:pt x="935" y="1986"/>
                        <a:pt x="942" y="1967"/>
                        <a:pt x="945" y="1965"/>
                      </a:cubicBezTo>
                      <a:cubicBezTo>
                        <a:pt x="946" y="1965"/>
                        <a:pt x="946" y="1968"/>
                        <a:pt x="947" y="1968"/>
                      </a:cubicBezTo>
                      <a:cubicBezTo>
                        <a:pt x="950" y="1967"/>
                        <a:pt x="953" y="1967"/>
                        <a:pt x="955" y="1964"/>
                      </a:cubicBezTo>
                      <a:cubicBezTo>
                        <a:pt x="961" y="1956"/>
                        <a:pt x="957" y="1950"/>
                        <a:pt x="948" y="1947"/>
                      </a:cubicBezTo>
                      <a:cubicBezTo>
                        <a:pt x="945" y="1946"/>
                        <a:pt x="941" y="1947"/>
                        <a:pt x="938" y="1948"/>
                      </a:cubicBezTo>
                      <a:cubicBezTo>
                        <a:pt x="928" y="1953"/>
                        <a:pt x="936" y="1952"/>
                        <a:pt x="935" y="1958"/>
                      </a:cubicBezTo>
                      <a:cubicBezTo>
                        <a:pt x="933" y="1967"/>
                        <a:pt x="910" y="1971"/>
                        <a:pt x="905" y="1976"/>
                      </a:cubicBezTo>
                      <a:cubicBezTo>
                        <a:pt x="905" y="1977"/>
                        <a:pt x="904" y="1977"/>
                        <a:pt x="904" y="1977"/>
                      </a:cubicBezTo>
                      <a:cubicBezTo>
                        <a:pt x="904" y="1977"/>
                        <a:pt x="904" y="1977"/>
                        <a:pt x="904" y="1977"/>
                      </a:cubicBezTo>
                      <a:cubicBezTo>
                        <a:pt x="899" y="1972"/>
                        <a:pt x="902" y="1970"/>
                        <a:pt x="903" y="1965"/>
                      </a:cubicBezTo>
                      <a:cubicBezTo>
                        <a:pt x="905" y="1959"/>
                        <a:pt x="897" y="1967"/>
                        <a:pt x="897" y="1963"/>
                      </a:cubicBezTo>
                      <a:cubicBezTo>
                        <a:pt x="897" y="1959"/>
                        <a:pt x="894" y="1946"/>
                        <a:pt x="895" y="1942"/>
                      </a:cubicBezTo>
                      <a:cubicBezTo>
                        <a:pt x="896" y="1942"/>
                        <a:pt x="912" y="1927"/>
                        <a:pt x="912" y="1927"/>
                      </a:cubicBezTo>
                      <a:cubicBezTo>
                        <a:pt x="914" y="1925"/>
                        <a:pt x="911" y="1922"/>
                        <a:pt x="911" y="1920"/>
                      </a:cubicBezTo>
                      <a:cubicBezTo>
                        <a:pt x="910" y="1917"/>
                        <a:pt x="910" y="1915"/>
                        <a:pt x="911" y="1912"/>
                      </a:cubicBezTo>
                      <a:cubicBezTo>
                        <a:pt x="920" y="1902"/>
                        <a:pt x="946" y="1907"/>
                        <a:pt x="954" y="1895"/>
                      </a:cubicBezTo>
                      <a:cubicBezTo>
                        <a:pt x="956" y="1892"/>
                        <a:pt x="953" y="1889"/>
                        <a:pt x="952" y="1886"/>
                      </a:cubicBezTo>
                      <a:cubicBezTo>
                        <a:pt x="951" y="1885"/>
                        <a:pt x="949" y="1885"/>
                        <a:pt x="949" y="1883"/>
                      </a:cubicBezTo>
                      <a:cubicBezTo>
                        <a:pt x="949" y="1882"/>
                        <a:pt x="953" y="1882"/>
                        <a:pt x="953" y="1881"/>
                      </a:cubicBezTo>
                      <a:cubicBezTo>
                        <a:pt x="953" y="1879"/>
                        <a:pt x="950" y="1878"/>
                        <a:pt x="950" y="1876"/>
                      </a:cubicBezTo>
                      <a:cubicBezTo>
                        <a:pt x="949" y="1873"/>
                        <a:pt x="950" y="1870"/>
                        <a:pt x="950" y="1866"/>
                      </a:cubicBezTo>
                      <a:cubicBezTo>
                        <a:pt x="950" y="1865"/>
                        <a:pt x="952" y="1864"/>
                        <a:pt x="952" y="1863"/>
                      </a:cubicBezTo>
                      <a:cubicBezTo>
                        <a:pt x="954" y="1856"/>
                        <a:pt x="944" y="1862"/>
                        <a:pt x="944" y="1862"/>
                      </a:cubicBezTo>
                      <a:cubicBezTo>
                        <a:pt x="942" y="1861"/>
                        <a:pt x="946" y="1859"/>
                        <a:pt x="945" y="1856"/>
                      </a:cubicBezTo>
                      <a:cubicBezTo>
                        <a:pt x="943" y="1852"/>
                        <a:pt x="940" y="1848"/>
                        <a:pt x="937" y="1845"/>
                      </a:cubicBezTo>
                      <a:cubicBezTo>
                        <a:pt x="933" y="1841"/>
                        <a:pt x="927" y="1851"/>
                        <a:pt x="926" y="1844"/>
                      </a:cubicBezTo>
                      <a:cubicBezTo>
                        <a:pt x="923" y="1826"/>
                        <a:pt x="925" y="1831"/>
                        <a:pt x="935" y="1827"/>
                      </a:cubicBezTo>
                      <a:cubicBezTo>
                        <a:pt x="936" y="1826"/>
                        <a:pt x="940" y="1817"/>
                        <a:pt x="937" y="1818"/>
                      </a:cubicBezTo>
                      <a:cubicBezTo>
                        <a:pt x="929" y="1819"/>
                        <a:pt x="925" y="1825"/>
                        <a:pt x="918" y="1819"/>
                      </a:cubicBezTo>
                      <a:cubicBezTo>
                        <a:pt x="911" y="1813"/>
                        <a:pt x="924" y="1812"/>
                        <a:pt x="925" y="1809"/>
                      </a:cubicBezTo>
                      <a:cubicBezTo>
                        <a:pt x="927" y="1807"/>
                        <a:pt x="925" y="1804"/>
                        <a:pt x="925" y="1802"/>
                      </a:cubicBezTo>
                      <a:cubicBezTo>
                        <a:pt x="927" y="1795"/>
                        <a:pt x="934" y="1791"/>
                        <a:pt x="927" y="1784"/>
                      </a:cubicBezTo>
                      <a:cubicBezTo>
                        <a:pt x="925" y="1781"/>
                        <a:pt x="921" y="1780"/>
                        <a:pt x="919" y="1778"/>
                      </a:cubicBezTo>
                      <a:cubicBezTo>
                        <a:pt x="916" y="1775"/>
                        <a:pt x="923" y="1767"/>
                        <a:pt x="918" y="1767"/>
                      </a:cubicBezTo>
                      <a:cubicBezTo>
                        <a:pt x="907" y="1766"/>
                        <a:pt x="914" y="1775"/>
                        <a:pt x="906" y="1777"/>
                      </a:cubicBezTo>
                      <a:cubicBezTo>
                        <a:pt x="877" y="1782"/>
                        <a:pt x="913" y="1773"/>
                        <a:pt x="890" y="1769"/>
                      </a:cubicBezTo>
                      <a:cubicBezTo>
                        <a:pt x="882" y="1768"/>
                        <a:pt x="882" y="1776"/>
                        <a:pt x="876" y="1772"/>
                      </a:cubicBezTo>
                      <a:cubicBezTo>
                        <a:pt x="873" y="1771"/>
                        <a:pt x="872" y="1769"/>
                        <a:pt x="870" y="1767"/>
                      </a:cubicBezTo>
                      <a:cubicBezTo>
                        <a:pt x="865" y="1763"/>
                        <a:pt x="867" y="1776"/>
                        <a:pt x="861" y="1776"/>
                      </a:cubicBezTo>
                      <a:cubicBezTo>
                        <a:pt x="857" y="1776"/>
                        <a:pt x="853" y="1775"/>
                        <a:pt x="849" y="1774"/>
                      </a:cubicBezTo>
                      <a:cubicBezTo>
                        <a:pt x="847" y="1772"/>
                        <a:pt x="846" y="1769"/>
                        <a:pt x="844" y="1769"/>
                      </a:cubicBezTo>
                      <a:cubicBezTo>
                        <a:pt x="841" y="1769"/>
                        <a:pt x="840" y="1775"/>
                        <a:pt x="837" y="1775"/>
                      </a:cubicBezTo>
                      <a:cubicBezTo>
                        <a:pt x="833" y="1775"/>
                        <a:pt x="830" y="1771"/>
                        <a:pt x="825" y="1770"/>
                      </a:cubicBezTo>
                      <a:cubicBezTo>
                        <a:pt x="811" y="1768"/>
                        <a:pt x="833" y="1790"/>
                        <a:pt x="817" y="1787"/>
                      </a:cubicBezTo>
                      <a:cubicBezTo>
                        <a:pt x="813" y="1787"/>
                        <a:pt x="812" y="1782"/>
                        <a:pt x="809" y="1780"/>
                      </a:cubicBezTo>
                      <a:cubicBezTo>
                        <a:pt x="807" y="1779"/>
                        <a:pt x="803" y="1780"/>
                        <a:pt x="800" y="1779"/>
                      </a:cubicBezTo>
                      <a:cubicBezTo>
                        <a:pt x="792" y="1776"/>
                        <a:pt x="786" y="1766"/>
                        <a:pt x="778" y="1760"/>
                      </a:cubicBezTo>
                      <a:cubicBezTo>
                        <a:pt x="776" y="1758"/>
                        <a:pt x="755" y="1780"/>
                        <a:pt x="748" y="1790"/>
                      </a:cubicBezTo>
                      <a:cubicBezTo>
                        <a:pt x="746" y="1793"/>
                        <a:pt x="740" y="1787"/>
                        <a:pt x="736" y="1787"/>
                      </a:cubicBezTo>
                      <a:cubicBezTo>
                        <a:pt x="734" y="1787"/>
                        <a:pt x="734" y="1790"/>
                        <a:pt x="732" y="1791"/>
                      </a:cubicBezTo>
                      <a:cubicBezTo>
                        <a:pt x="729" y="1793"/>
                        <a:pt x="727" y="1786"/>
                        <a:pt x="723" y="1785"/>
                      </a:cubicBezTo>
                      <a:cubicBezTo>
                        <a:pt x="710" y="1782"/>
                        <a:pt x="707" y="1801"/>
                        <a:pt x="697" y="1796"/>
                      </a:cubicBezTo>
                      <a:cubicBezTo>
                        <a:pt x="693" y="1795"/>
                        <a:pt x="690" y="1792"/>
                        <a:pt x="687" y="1789"/>
                      </a:cubicBezTo>
                      <a:cubicBezTo>
                        <a:pt x="685" y="1787"/>
                        <a:pt x="683" y="1784"/>
                        <a:pt x="682" y="1781"/>
                      </a:cubicBezTo>
                      <a:cubicBezTo>
                        <a:pt x="682" y="1779"/>
                        <a:pt x="686" y="1779"/>
                        <a:pt x="685" y="1777"/>
                      </a:cubicBezTo>
                      <a:cubicBezTo>
                        <a:pt x="685" y="1775"/>
                        <a:pt x="670" y="1762"/>
                        <a:pt x="670" y="1760"/>
                      </a:cubicBezTo>
                      <a:cubicBezTo>
                        <a:pt x="669" y="1758"/>
                        <a:pt x="673" y="1756"/>
                        <a:pt x="671" y="1754"/>
                      </a:cubicBezTo>
                      <a:cubicBezTo>
                        <a:pt x="671" y="1754"/>
                        <a:pt x="670" y="1754"/>
                        <a:pt x="669" y="1754"/>
                      </a:cubicBezTo>
                      <a:cubicBezTo>
                        <a:pt x="667" y="1754"/>
                        <a:pt x="665" y="1756"/>
                        <a:pt x="663" y="1756"/>
                      </a:cubicBezTo>
                      <a:cubicBezTo>
                        <a:pt x="659" y="1757"/>
                        <a:pt x="658" y="1750"/>
                        <a:pt x="656" y="1747"/>
                      </a:cubicBezTo>
                      <a:cubicBezTo>
                        <a:pt x="656" y="1746"/>
                        <a:pt x="654" y="1746"/>
                        <a:pt x="653" y="1746"/>
                      </a:cubicBezTo>
                      <a:cubicBezTo>
                        <a:pt x="651" y="1748"/>
                        <a:pt x="639" y="1755"/>
                        <a:pt x="637" y="1755"/>
                      </a:cubicBezTo>
                      <a:cubicBezTo>
                        <a:pt x="636" y="1756"/>
                        <a:pt x="636" y="1752"/>
                        <a:pt x="634" y="1752"/>
                      </a:cubicBezTo>
                      <a:cubicBezTo>
                        <a:pt x="630" y="1752"/>
                        <a:pt x="626" y="1753"/>
                        <a:pt x="623" y="1754"/>
                      </a:cubicBezTo>
                      <a:cubicBezTo>
                        <a:pt x="622" y="1754"/>
                        <a:pt x="618" y="1762"/>
                        <a:pt x="615" y="1757"/>
                      </a:cubicBezTo>
                      <a:cubicBezTo>
                        <a:pt x="615" y="1756"/>
                        <a:pt x="617" y="1754"/>
                        <a:pt x="617" y="1753"/>
                      </a:cubicBezTo>
                      <a:cubicBezTo>
                        <a:pt x="618" y="1752"/>
                        <a:pt x="618" y="1749"/>
                        <a:pt x="617" y="1748"/>
                      </a:cubicBezTo>
                      <a:cubicBezTo>
                        <a:pt x="615" y="1746"/>
                        <a:pt x="613" y="1748"/>
                        <a:pt x="611" y="1746"/>
                      </a:cubicBezTo>
                      <a:cubicBezTo>
                        <a:pt x="608" y="1744"/>
                        <a:pt x="611" y="1739"/>
                        <a:pt x="609" y="1736"/>
                      </a:cubicBezTo>
                      <a:cubicBezTo>
                        <a:pt x="607" y="1733"/>
                        <a:pt x="599" y="1732"/>
                        <a:pt x="601" y="1728"/>
                      </a:cubicBezTo>
                      <a:cubicBezTo>
                        <a:pt x="603" y="1726"/>
                        <a:pt x="616" y="1723"/>
                        <a:pt x="613" y="1718"/>
                      </a:cubicBezTo>
                      <a:cubicBezTo>
                        <a:pt x="608" y="1711"/>
                        <a:pt x="597" y="1711"/>
                        <a:pt x="594" y="1709"/>
                      </a:cubicBezTo>
                      <a:cubicBezTo>
                        <a:pt x="592" y="1707"/>
                        <a:pt x="590" y="1705"/>
                        <a:pt x="589" y="1702"/>
                      </a:cubicBezTo>
                      <a:cubicBezTo>
                        <a:pt x="588" y="1700"/>
                        <a:pt x="590" y="1697"/>
                        <a:pt x="589" y="1696"/>
                      </a:cubicBezTo>
                      <a:cubicBezTo>
                        <a:pt x="587" y="1694"/>
                        <a:pt x="583" y="1694"/>
                        <a:pt x="581" y="1692"/>
                      </a:cubicBezTo>
                      <a:cubicBezTo>
                        <a:pt x="577" y="1690"/>
                        <a:pt x="576" y="1685"/>
                        <a:pt x="572" y="1685"/>
                      </a:cubicBezTo>
                      <a:cubicBezTo>
                        <a:pt x="567" y="1684"/>
                        <a:pt x="566" y="1694"/>
                        <a:pt x="561" y="1694"/>
                      </a:cubicBezTo>
                      <a:cubicBezTo>
                        <a:pt x="559" y="1694"/>
                        <a:pt x="559" y="1690"/>
                        <a:pt x="558" y="1690"/>
                      </a:cubicBezTo>
                      <a:cubicBezTo>
                        <a:pt x="536" y="1688"/>
                        <a:pt x="549" y="1701"/>
                        <a:pt x="536" y="1706"/>
                      </a:cubicBezTo>
                      <a:cubicBezTo>
                        <a:pt x="536" y="1706"/>
                        <a:pt x="512" y="1708"/>
                        <a:pt x="511" y="1708"/>
                      </a:cubicBezTo>
                      <a:cubicBezTo>
                        <a:pt x="510" y="1708"/>
                        <a:pt x="514" y="1725"/>
                        <a:pt x="509" y="1730"/>
                      </a:cubicBezTo>
                      <a:cubicBezTo>
                        <a:pt x="506" y="1733"/>
                        <a:pt x="502" y="1736"/>
                        <a:pt x="497" y="1736"/>
                      </a:cubicBezTo>
                      <a:cubicBezTo>
                        <a:pt x="495" y="1736"/>
                        <a:pt x="496" y="1733"/>
                        <a:pt x="494" y="1732"/>
                      </a:cubicBezTo>
                      <a:cubicBezTo>
                        <a:pt x="493" y="1731"/>
                        <a:pt x="491" y="1734"/>
                        <a:pt x="490" y="1733"/>
                      </a:cubicBezTo>
                      <a:cubicBezTo>
                        <a:pt x="489" y="1732"/>
                        <a:pt x="490" y="1730"/>
                        <a:pt x="489" y="1728"/>
                      </a:cubicBezTo>
                      <a:cubicBezTo>
                        <a:pt x="489" y="1728"/>
                        <a:pt x="477" y="1721"/>
                        <a:pt x="477" y="1720"/>
                      </a:cubicBezTo>
                      <a:cubicBezTo>
                        <a:pt x="476" y="1719"/>
                        <a:pt x="478" y="1718"/>
                        <a:pt x="478" y="1716"/>
                      </a:cubicBezTo>
                      <a:cubicBezTo>
                        <a:pt x="476" y="1713"/>
                        <a:pt x="472" y="1710"/>
                        <a:pt x="472" y="1707"/>
                      </a:cubicBezTo>
                      <a:cubicBezTo>
                        <a:pt x="471" y="1705"/>
                        <a:pt x="475" y="1705"/>
                        <a:pt x="475" y="1703"/>
                      </a:cubicBezTo>
                      <a:cubicBezTo>
                        <a:pt x="473" y="1699"/>
                        <a:pt x="465" y="1699"/>
                        <a:pt x="465" y="1694"/>
                      </a:cubicBezTo>
                      <a:cubicBezTo>
                        <a:pt x="464" y="1693"/>
                        <a:pt x="468" y="1692"/>
                        <a:pt x="468" y="1690"/>
                      </a:cubicBezTo>
                      <a:cubicBezTo>
                        <a:pt x="470" y="1684"/>
                        <a:pt x="450" y="1680"/>
                        <a:pt x="448" y="1675"/>
                      </a:cubicBezTo>
                      <a:cubicBezTo>
                        <a:pt x="446" y="1671"/>
                        <a:pt x="450" y="1665"/>
                        <a:pt x="449" y="1660"/>
                      </a:cubicBezTo>
                      <a:cubicBezTo>
                        <a:pt x="449" y="1651"/>
                        <a:pt x="476" y="1663"/>
                        <a:pt x="484" y="1658"/>
                      </a:cubicBezTo>
                      <a:cubicBezTo>
                        <a:pt x="489" y="1655"/>
                        <a:pt x="494" y="1645"/>
                        <a:pt x="494" y="1639"/>
                      </a:cubicBezTo>
                      <a:cubicBezTo>
                        <a:pt x="494" y="1638"/>
                        <a:pt x="491" y="1639"/>
                        <a:pt x="492" y="1638"/>
                      </a:cubicBezTo>
                      <a:cubicBezTo>
                        <a:pt x="495" y="1636"/>
                        <a:pt x="500" y="1634"/>
                        <a:pt x="502" y="1631"/>
                      </a:cubicBezTo>
                      <a:cubicBezTo>
                        <a:pt x="503" y="1629"/>
                        <a:pt x="502" y="1624"/>
                        <a:pt x="499" y="1623"/>
                      </a:cubicBezTo>
                      <a:cubicBezTo>
                        <a:pt x="490" y="1619"/>
                        <a:pt x="489" y="1623"/>
                        <a:pt x="484" y="1617"/>
                      </a:cubicBezTo>
                      <a:cubicBezTo>
                        <a:pt x="482" y="1615"/>
                        <a:pt x="488" y="1607"/>
                        <a:pt x="481" y="1608"/>
                      </a:cubicBezTo>
                      <a:cubicBezTo>
                        <a:pt x="475" y="1608"/>
                        <a:pt x="471" y="1606"/>
                        <a:pt x="462" y="1609"/>
                      </a:cubicBezTo>
                      <a:cubicBezTo>
                        <a:pt x="458" y="1610"/>
                        <a:pt x="455" y="1614"/>
                        <a:pt x="451" y="1612"/>
                      </a:cubicBezTo>
                      <a:cubicBezTo>
                        <a:pt x="448" y="1611"/>
                        <a:pt x="454" y="1595"/>
                        <a:pt x="448" y="1592"/>
                      </a:cubicBezTo>
                      <a:cubicBezTo>
                        <a:pt x="447" y="1591"/>
                        <a:pt x="429" y="1591"/>
                        <a:pt x="424" y="1587"/>
                      </a:cubicBezTo>
                      <a:cubicBezTo>
                        <a:pt x="415" y="1581"/>
                        <a:pt x="420" y="1576"/>
                        <a:pt x="407" y="1572"/>
                      </a:cubicBezTo>
                      <a:cubicBezTo>
                        <a:pt x="405" y="1571"/>
                        <a:pt x="411" y="1561"/>
                        <a:pt x="408" y="1560"/>
                      </a:cubicBezTo>
                      <a:cubicBezTo>
                        <a:pt x="400" y="1560"/>
                        <a:pt x="398" y="1560"/>
                        <a:pt x="389" y="1554"/>
                      </a:cubicBezTo>
                      <a:cubicBezTo>
                        <a:pt x="385" y="1551"/>
                        <a:pt x="392" y="1539"/>
                        <a:pt x="391" y="1537"/>
                      </a:cubicBezTo>
                      <a:cubicBezTo>
                        <a:pt x="387" y="1532"/>
                        <a:pt x="395" y="1536"/>
                        <a:pt x="393" y="1533"/>
                      </a:cubicBezTo>
                      <a:cubicBezTo>
                        <a:pt x="391" y="1530"/>
                        <a:pt x="378" y="1519"/>
                        <a:pt x="378" y="1516"/>
                      </a:cubicBezTo>
                      <a:cubicBezTo>
                        <a:pt x="381" y="1508"/>
                        <a:pt x="382" y="1503"/>
                        <a:pt x="377" y="1495"/>
                      </a:cubicBezTo>
                      <a:cubicBezTo>
                        <a:pt x="376" y="1492"/>
                        <a:pt x="373" y="1497"/>
                        <a:pt x="370" y="1497"/>
                      </a:cubicBezTo>
                      <a:cubicBezTo>
                        <a:pt x="370" y="1497"/>
                        <a:pt x="352" y="1486"/>
                        <a:pt x="352" y="1486"/>
                      </a:cubicBezTo>
                      <a:cubicBezTo>
                        <a:pt x="338" y="1480"/>
                        <a:pt x="348" y="1485"/>
                        <a:pt x="340" y="1488"/>
                      </a:cubicBezTo>
                      <a:cubicBezTo>
                        <a:pt x="339" y="1488"/>
                        <a:pt x="332" y="1487"/>
                        <a:pt x="330" y="1489"/>
                      </a:cubicBezTo>
                      <a:cubicBezTo>
                        <a:pt x="327" y="1493"/>
                        <a:pt x="323" y="1504"/>
                        <a:pt x="318" y="1506"/>
                      </a:cubicBezTo>
                      <a:cubicBezTo>
                        <a:pt x="309" y="1511"/>
                        <a:pt x="310" y="1487"/>
                        <a:pt x="310" y="1487"/>
                      </a:cubicBezTo>
                      <a:cubicBezTo>
                        <a:pt x="292" y="1483"/>
                        <a:pt x="296" y="1486"/>
                        <a:pt x="284" y="1495"/>
                      </a:cubicBezTo>
                      <a:cubicBezTo>
                        <a:pt x="281" y="1497"/>
                        <a:pt x="279" y="1489"/>
                        <a:pt x="276" y="1487"/>
                      </a:cubicBezTo>
                      <a:cubicBezTo>
                        <a:pt x="266" y="1480"/>
                        <a:pt x="269" y="1499"/>
                        <a:pt x="255" y="1487"/>
                      </a:cubicBezTo>
                      <a:cubicBezTo>
                        <a:pt x="260" y="1471"/>
                        <a:pt x="243" y="1456"/>
                        <a:pt x="233" y="1448"/>
                      </a:cubicBezTo>
                      <a:cubicBezTo>
                        <a:pt x="230" y="1445"/>
                        <a:pt x="237" y="1440"/>
                        <a:pt x="230" y="1439"/>
                      </a:cubicBezTo>
                      <a:cubicBezTo>
                        <a:pt x="227" y="1438"/>
                        <a:pt x="224" y="1443"/>
                        <a:pt x="222" y="1442"/>
                      </a:cubicBezTo>
                      <a:cubicBezTo>
                        <a:pt x="220" y="1442"/>
                        <a:pt x="222" y="1440"/>
                        <a:pt x="222" y="1439"/>
                      </a:cubicBezTo>
                      <a:cubicBezTo>
                        <a:pt x="222" y="1439"/>
                        <a:pt x="222" y="1438"/>
                        <a:pt x="222" y="1437"/>
                      </a:cubicBezTo>
                      <a:cubicBezTo>
                        <a:pt x="222" y="1433"/>
                        <a:pt x="223" y="1429"/>
                        <a:pt x="223" y="1425"/>
                      </a:cubicBezTo>
                      <a:cubicBezTo>
                        <a:pt x="222" y="1423"/>
                        <a:pt x="218" y="1424"/>
                        <a:pt x="218" y="1422"/>
                      </a:cubicBezTo>
                      <a:cubicBezTo>
                        <a:pt x="218" y="1415"/>
                        <a:pt x="232" y="1410"/>
                        <a:pt x="213" y="1404"/>
                      </a:cubicBezTo>
                      <a:cubicBezTo>
                        <a:pt x="211" y="1403"/>
                        <a:pt x="207" y="1403"/>
                        <a:pt x="206" y="1401"/>
                      </a:cubicBezTo>
                      <a:cubicBezTo>
                        <a:pt x="204" y="1399"/>
                        <a:pt x="207" y="1395"/>
                        <a:pt x="205" y="1394"/>
                      </a:cubicBezTo>
                      <a:cubicBezTo>
                        <a:pt x="202" y="1392"/>
                        <a:pt x="200" y="1395"/>
                        <a:pt x="197" y="1396"/>
                      </a:cubicBezTo>
                      <a:cubicBezTo>
                        <a:pt x="198" y="1393"/>
                        <a:pt x="194" y="1385"/>
                        <a:pt x="196" y="1383"/>
                      </a:cubicBezTo>
                      <a:cubicBezTo>
                        <a:pt x="197" y="1382"/>
                        <a:pt x="200" y="1382"/>
                        <a:pt x="201" y="1380"/>
                      </a:cubicBezTo>
                      <a:cubicBezTo>
                        <a:pt x="201" y="1379"/>
                        <a:pt x="199" y="1379"/>
                        <a:pt x="199" y="1377"/>
                      </a:cubicBezTo>
                      <a:cubicBezTo>
                        <a:pt x="198" y="1376"/>
                        <a:pt x="198" y="1374"/>
                        <a:pt x="199" y="1373"/>
                      </a:cubicBezTo>
                      <a:cubicBezTo>
                        <a:pt x="206" y="1367"/>
                        <a:pt x="206" y="1374"/>
                        <a:pt x="209" y="1367"/>
                      </a:cubicBezTo>
                      <a:cubicBezTo>
                        <a:pt x="209" y="1365"/>
                        <a:pt x="204" y="1366"/>
                        <a:pt x="202" y="1365"/>
                      </a:cubicBezTo>
                      <a:cubicBezTo>
                        <a:pt x="198" y="1361"/>
                        <a:pt x="201" y="1358"/>
                        <a:pt x="200" y="1354"/>
                      </a:cubicBezTo>
                      <a:cubicBezTo>
                        <a:pt x="199" y="1352"/>
                        <a:pt x="190" y="1347"/>
                        <a:pt x="188" y="1345"/>
                      </a:cubicBezTo>
                      <a:cubicBezTo>
                        <a:pt x="184" y="1337"/>
                        <a:pt x="189" y="1341"/>
                        <a:pt x="189" y="1333"/>
                      </a:cubicBezTo>
                      <a:cubicBezTo>
                        <a:pt x="189" y="1323"/>
                        <a:pt x="177" y="1312"/>
                        <a:pt x="176" y="1302"/>
                      </a:cubicBezTo>
                      <a:cubicBezTo>
                        <a:pt x="175" y="1296"/>
                        <a:pt x="182" y="1292"/>
                        <a:pt x="184" y="1287"/>
                      </a:cubicBezTo>
                      <a:cubicBezTo>
                        <a:pt x="184" y="1273"/>
                        <a:pt x="184" y="1273"/>
                        <a:pt x="184" y="1273"/>
                      </a:cubicBezTo>
                      <a:cubicBezTo>
                        <a:pt x="184" y="1270"/>
                        <a:pt x="182" y="1267"/>
                        <a:pt x="184" y="1264"/>
                      </a:cubicBezTo>
                      <a:cubicBezTo>
                        <a:pt x="189" y="1253"/>
                        <a:pt x="199" y="1258"/>
                        <a:pt x="185" y="1249"/>
                      </a:cubicBezTo>
                      <a:cubicBezTo>
                        <a:pt x="187" y="1241"/>
                        <a:pt x="174" y="1232"/>
                        <a:pt x="180" y="1225"/>
                      </a:cubicBezTo>
                      <a:cubicBezTo>
                        <a:pt x="182" y="1224"/>
                        <a:pt x="184" y="1227"/>
                        <a:pt x="185" y="1228"/>
                      </a:cubicBezTo>
                      <a:cubicBezTo>
                        <a:pt x="188" y="1229"/>
                        <a:pt x="191" y="1234"/>
                        <a:pt x="193" y="1232"/>
                      </a:cubicBezTo>
                      <a:cubicBezTo>
                        <a:pt x="196" y="1229"/>
                        <a:pt x="192" y="1224"/>
                        <a:pt x="193" y="1220"/>
                      </a:cubicBezTo>
                      <a:cubicBezTo>
                        <a:pt x="193" y="1213"/>
                        <a:pt x="206" y="1219"/>
                        <a:pt x="208" y="1219"/>
                      </a:cubicBezTo>
                      <a:cubicBezTo>
                        <a:pt x="222" y="1216"/>
                        <a:pt x="197" y="1200"/>
                        <a:pt x="227" y="1199"/>
                      </a:cubicBezTo>
                      <a:cubicBezTo>
                        <a:pt x="237" y="1198"/>
                        <a:pt x="270" y="1204"/>
                        <a:pt x="254" y="1191"/>
                      </a:cubicBezTo>
                      <a:cubicBezTo>
                        <a:pt x="252" y="1189"/>
                        <a:pt x="246" y="1192"/>
                        <a:pt x="243" y="1190"/>
                      </a:cubicBezTo>
                      <a:cubicBezTo>
                        <a:pt x="234" y="1186"/>
                        <a:pt x="238" y="1176"/>
                        <a:pt x="224" y="1182"/>
                      </a:cubicBezTo>
                      <a:cubicBezTo>
                        <a:pt x="219" y="1183"/>
                        <a:pt x="213" y="1191"/>
                        <a:pt x="206" y="1188"/>
                      </a:cubicBezTo>
                      <a:cubicBezTo>
                        <a:pt x="205" y="1187"/>
                        <a:pt x="204" y="1185"/>
                        <a:pt x="203" y="1184"/>
                      </a:cubicBezTo>
                      <a:cubicBezTo>
                        <a:pt x="201" y="1181"/>
                        <a:pt x="198" y="1178"/>
                        <a:pt x="195" y="1177"/>
                      </a:cubicBezTo>
                      <a:cubicBezTo>
                        <a:pt x="193" y="1176"/>
                        <a:pt x="189" y="1180"/>
                        <a:pt x="187" y="1178"/>
                      </a:cubicBezTo>
                      <a:cubicBezTo>
                        <a:pt x="182" y="1171"/>
                        <a:pt x="187" y="1159"/>
                        <a:pt x="182" y="1152"/>
                      </a:cubicBezTo>
                      <a:cubicBezTo>
                        <a:pt x="181" y="1151"/>
                        <a:pt x="171" y="1168"/>
                        <a:pt x="171" y="1168"/>
                      </a:cubicBezTo>
                      <a:cubicBezTo>
                        <a:pt x="166" y="1170"/>
                        <a:pt x="161" y="1170"/>
                        <a:pt x="157" y="1172"/>
                      </a:cubicBezTo>
                      <a:cubicBezTo>
                        <a:pt x="156" y="1173"/>
                        <a:pt x="157" y="1174"/>
                        <a:pt x="157" y="1175"/>
                      </a:cubicBezTo>
                      <a:cubicBezTo>
                        <a:pt x="155" y="1174"/>
                        <a:pt x="155" y="1174"/>
                        <a:pt x="155" y="1174"/>
                      </a:cubicBezTo>
                      <a:cubicBezTo>
                        <a:pt x="159" y="1161"/>
                        <a:pt x="170" y="1147"/>
                        <a:pt x="176" y="1136"/>
                      </a:cubicBezTo>
                      <a:cubicBezTo>
                        <a:pt x="194" y="1105"/>
                        <a:pt x="205" y="1069"/>
                        <a:pt x="217" y="1036"/>
                      </a:cubicBezTo>
                      <a:cubicBezTo>
                        <a:pt x="226" y="1011"/>
                        <a:pt x="228" y="1005"/>
                        <a:pt x="230" y="979"/>
                      </a:cubicBezTo>
                      <a:cubicBezTo>
                        <a:pt x="230" y="975"/>
                        <a:pt x="232" y="971"/>
                        <a:pt x="231" y="967"/>
                      </a:cubicBezTo>
                      <a:cubicBezTo>
                        <a:pt x="226" y="954"/>
                        <a:pt x="176" y="935"/>
                        <a:pt x="163" y="926"/>
                      </a:cubicBezTo>
                      <a:cubicBezTo>
                        <a:pt x="161" y="925"/>
                        <a:pt x="181" y="894"/>
                        <a:pt x="167" y="883"/>
                      </a:cubicBezTo>
                      <a:cubicBezTo>
                        <a:pt x="162" y="879"/>
                        <a:pt x="151" y="883"/>
                        <a:pt x="148" y="877"/>
                      </a:cubicBezTo>
                      <a:cubicBezTo>
                        <a:pt x="133" y="852"/>
                        <a:pt x="151" y="864"/>
                        <a:pt x="147" y="856"/>
                      </a:cubicBezTo>
                      <a:cubicBezTo>
                        <a:pt x="140" y="846"/>
                        <a:pt x="133" y="854"/>
                        <a:pt x="124" y="844"/>
                      </a:cubicBezTo>
                      <a:cubicBezTo>
                        <a:pt x="117" y="836"/>
                        <a:pt x="122" y="835"/>
                        <a:pt x="126" y="827"/>
                      </a:cubicBezTo>
                      <a:cubicBezTo>
                        <a:pt x="128" y="822"/>
                        <a:pt x="115" y="822"/>
                        <a:pt x="115" y="820"/>
                      </a:cubicBezTo>
                      <a:cubicBezTo>
                        <a:pt x="115" y="816"/>
                        <a:pt x="115" y="795"/>
                        <a:pt x="115" y="795"/>
                      </a:cubicBezTo>
                      <a:cubicBezTo>
                        <a:pt x="103" y="785"/>
                        <a:pt x="117" y="791"/>
                        <a:pt x="121" y="787"/>
                      </a:cubicBezTo>
                      <a:cubicBezTo>
                        <a:pt x="123" y="783"/>
                        <a:pt x="109" y="763"/>
                        <a:pt x="107" y="761"/>
                      </a:cubicBezTo>
                      <a:cubicBezTo>
                        <a:pt x="98" y="748"/>
                        <a:pt x="87" y="733"/>
                        <a:pt x="76" y="721"/>
                      </a:cubicBezTo>
                      <a:cubicBezTo>
                        <a:pt x="74" y="720"/>
                        <a:pt x="65" y="713"/>
                        <a:pt x="63" y="709"/>
                      </a:cubicBezTo>
                      <a:cubicBezTo>
                        <a:pt x="55" y="694"/>
                        <a:pt x="82" y="653"/>
                        <a:pt x="71" y="644"/>
                      </a:cubicBezTo>
                      <a:cubicBezTo>
                        <a:pt x="68" y="640"/>
                        <a:pt x="63" y="640"/>
                        <a:pt x="60" y="638"/>
                      </a:cubicBezTo>
                      <a:cubicBezTo>
                        <a:pt x="54" y="634"/>
                        <a:pt x="51" y="626"/>
                        <a:pt x="45" y="622"/>
                      </a:cubicBezTo>
                      <a:cubicBezTo>
                        <a:pt x="44" y="622"/>
                        <a:pt x="25" y="619"/>
                        <a:pt x="24" y="619"/>
                      </a:cubicBezTo>
                      <a:cubicBezTo>
                        <a:pt x="21" y="616"/>
                        <a:pt x="20" y="611"/>
                        <a:pt x="17" y="608"/>
                      </a:cubicBezTo>
                      <a:cubicBezTo>
                        <a:pt x="5" y="587"/>
                        <a:pt x="20" y="589"/>
                        <a:pt x="13" y="574"/>
                      </a:cubicBezTo>
                      <a:cubicBezTo>
                        <a:pt x="11" y="567"/>
                        <a:pt x="0" y="574"/>
                        <a:pt x="2" y="570"/>
                      </a:cubicBezTo>
                      <a:cubicBezTo>
                        <a:pt x="14" y="557"/>
                        <a:pt x="14" y="557"/>
                        <a:pt x="14" y="557"/>
                      </a:cubicBezTo>
                      <a:cubicBezTo>
                        <a:pt x="21" y="559"/>
                        <a:pt x="17" y="544"/>
                        <a:pt x="16" y="537"/>
                      </a:cubicBezTo>
                      <a:cubicBezTo>
                        <a:pt x="16" y="538"/>
                        <a:pt x="16" y="540"/>
                        <a:pt x="17" y="541"/>
                      </a:cubicBezTo>
                      <a:cubicBezTo>
                        <a:pt x="20" y="529"/>
                        <a:pt x="20" y="529"/>
                        <a:pt x="20" y="529"/>
                      </a:cubicBezTo>
                      <a:cubicBezTo>
                        <a:pt x="18" y="531"/>
                        <a:pt x="17" y="532"/>
                        <a:pt x="17" y="533"/>
                      </a:cubicBezTo>
                      <a:cubicBezTo>
                        <a:pt x="22" y="525"/>
                        <a:pt x="38" y="514"/>
                        <a:pt x="29" y="506"/>
                      </a:cubicBezTo>
                      <a:cubicBezTo>
                        <a:pt x="23" y="501"/>
                        <a:pt x="41" y="510"/>
                        <a:pt x="47" y="508"/>
                      </a:cubicBezTo>
                      <a:cubicBezTo>
                        <a:pt x="54" y="506"/>
                        <a:pt x="46" y="495"/>
                        <a:pt x="43" y="490"/>
                      </a:cubicBezTo>
                      <a:cubicBezTo>
                        <a:pt x="51" y="490"/>
                        <a:pt x="68" y="490"/>
                        <a:pt x="68" y="489"/>
                      </a:cubicBezTo>
                      <a:cubicBezTo>
                        <a:pt x="70" y="487"/>
                        <a:pt x="64" y="485"/>
                        <a:pt x="63" y="482"/>
                      </a:cubicBezTo>
                      <a:cubicBezTo>
                        <a:pt x="62" y="477"/>
                        <a:pt x="63" y="473"/>
                        <a:pt x="64" y="468"/>
                      </a:cubicBezTo>
                      <a:cubicBezTo>
                        <a:pt x="65" y="466"/>
                        <a:pt x="80" y="473"/>
                        <a:pt x="82" y="475"/>
                      </a:cubicBezTo>
                      <a:cubicBezTo>
                        <a:pt x="86" y="479"/>
                        <a:pt x="94" y="470"/>
                        <a:pt x="98" y="473"/>
                      </a:cubicBezTo>
                      <a:cubicBezTo>
                        <a:pt x="101" y="477"/>
                        <a:pt x="100" y="484"/>
                        <a:pt x="97" y="487"/>
                      </a:cubicBezTo>
                      <a:cubicBezTo>
                        <a:pt x="91" y="493"/>
                        <a:pt x="79" y="476"/>
                        <a:pt x="74" y="482"/>
                      </a:cubicBezTo>
                      <a:cubicBezTo>
                        <a:pt x="71" y="486"/>
                        <a:pt x="73" y="493"/>
                        <a:pt x="76" y="495"/>
                      </a:cubicBezTo>
                      <a:cubicBezTo>
                        <a:pt x="79" y="498"/>
                        <a:pt x="84" y="490"/>
                        <a:pt x="87" y="492"/>
                      </a:cubicBezTo>
                      <a:cubicBezTo>
                        <a:pt x="89" y="494"/>
                        <a:pt x="88" y="497"/>
                        <a:pt x="87" y="501"/>
                      </a:cubicBezTo>
                      <a:cubicBezTo>
                        <a:pt x="95" y="494"/>
                        <a:pt x="116" y="488"/>
                        <a:pt x="117" y="493"/>
                      </a:cubicBezTo>
                      <a:cubicBezTo>
                        <a:pt x="120" y="506"/>
                        <a:pt x="110" y="486"/>
                        <a:pt x="115" y="506"/>
                      </a:cubicBezTo>
                      <a:cubicBezTo>
                        <a:pt x="115" y="509"/>
                        <a:pt x="121" y="509"/>
                        <a:pt x="121" y="512"/>
                      </a:cubicBezTo>
                      <a:cubicBezTo>
                        <a:pt x="122" y="518"/>
                        <a:pt x="107" y="523"/>
                        <a:pt x="117" y="530"/>
                      </a:cubicBezTo>
                      <a:cubicBezTo>
                        <a:pt x="120" y="531"/>
                        <a:pt x="115" y="525"/>
                        <a:pt x="116" y="523"/>
                      </a:cubicBezTo>
                      <a:cubicBezTo>
                        <a:pt x="117" y="518"/>
                        <a:pt x="122" y="515"/>
                        <a:pt x="124" y="511"/>
                      </a:cubicBezTo>
                      <a:cubicBezTo>
                        <a:pt x="125" y="510"/>
                        <a:pt x="124" y="509"/>
                        <a:pt x="124" y="507"/>
                      </a:cubicBezTo>
                      <a:cubicBezTo>
                        <a:pt x="126" y="503"/>
                        <a:pt x="127" y="498"/>
                        <a:pt x="130" y="495"/>
                      </a:cubicBezTo>
                      <a:cubicBezTo>
                        <a:pt x="138" y="487"/>
                        <a:pt x="142" y="497"/>
                        <a:pt x="150" y="494"/>
                      </a:cubicBezTo>
                      <a:cubicBezTo>
                        <a:pt x="163" y="489"/>
                        <a:pt x="170" y="483"/>
                        <a:pt x="185" y="486"/>
                      </a:cubicBezTo>
                      <a:cubicBezTo>
                        <a:pt x="202" y="490"/>
                        <a:pt x="228" y="495"/>
                        <a:pt x="246" y="502"/>
                      </a:cubicBezTo>
                      <a:cubicBezTo>
                        <a:pt x="250" y="504"/>
                        <a:pt x="253" y="508"/>
                        <a:pt x="257" y="510"/>
                      </a:cubicBezTo>
                      <a:cubicBezTo>
                        <a:pt x="260" y="511"/>
                        <a:pt x="263" y="510"/>
                        <a:pt x="266" y="511"/>
                      </a:cubicBezTo>
                      <a:cubicBezTo>
                        <a:pt x="268" y="512"/>
                        <a:pt x="268" y="516"/>
                        <a:pt x="270" y="517"/>
                      </a:cubicBezTo>
                      <a:cubicBezTo>
                        <a:pt x="274" y="518"/>
                        <a:pt x="280" y="520"/>
                        <a:pt x="281" y="516"/>
                      </a:cubicBezTo>
                      <a:cubicBezTo>
                        <a:pt x="283" y="513"/>
                        <a:pt x="275" y="515"/>
                        <a:pt x="272" y="514"/>
                      </a:cubicBezTo>
                      <a:cubicBezTo>
                        <a:pt x="271" y="514"/>
                        <a:pt x="274" y="514"/>
                        <a:pt x="275" y="514"/>
                      </a:cubicBezTo>
                      <a:cubicBezTo>
                        <a:pt x="275" y="513"/>
                        <a:pt x="274" y="511"/>
                        <a:pt x="274" y="511"/>
                      </a:cubicBezTo>
                      <a:cubicBezTo>
                        <a:pt x="280" y="511"/>
                        <a:pt x="314" y="528"/>
                        <a:pt x="317" y="520"/>
                      </a:cubicBezTo>
                      <a:cubicBezTo>
                        <a:pt x="318" y="517"/>
                        <a:pt x="310" y="515"/>
                        <a:pt x="310" y="512"/>
                      </a:cubicBezTo>
                      <a:cubicBezTo>
                        <a:pt x="310" y="510"/>
                        <a:pt x="314" y="514"/>
                        <a:pt x="316" y="515"/>
                      </a:cubicBezTo>
                      <a:cubicBezTo>
                        <a:pt x="320" y="517"/>
                        <a:pt x="323" y="520"/>
                        <a:pt x="326" y="522"/>
                      </a:cubicBezTo>
                      <a:cubicBezTo>
                        <a:pt x="329" y="523"/>
                        <a:pt x="332" y="522"/>
                        <a:pt x="334" y="523"/>
                      </a:cubicBezTo>
                      <a:cubicBezTo>
                        <a:pt x="338" y="525"/>
                        <a:pt x="339" y="529"/>
                        <a:pt x="342" y="531"/>
                      </a:cubicBezTo>
                      <a:cubicBezTo>
                        <a:pt x="346" y="535"/>
                        <a:pt x="351" y="527"/>
                        <a:pt x="356" y="527"/>
                      </a:cubicBezTo>
                      <a:cubicBezTo>
                        <a:pt x="362" y="528"/>
                        <a:pt x="361" y="540"/>
                        <a:pt x="365" y="544"/>
                      </a:cubicBezTo>
                      <a:cubicBezTo>
                        <a:pt x="366" y="544"/>
                        <a:pt x="366" y="542"/>
                        <a:pt x="367" y="542"/>
                      </a:cubicBezTo>
                      <a:cubicBezTo>
                        <a:pt x="373" y="544"/>
                        <a:pt x="373" y="554"/>
                        <a:pt x="376" y="557"/>
                      </a:cubicBezTo>
                      <a:cubicBezTo>
                        <a:pt x="378" y="558"/>
                        <a:pt x="382" y="555"/>
                        <a:pt x="384" y="557"/>
                      </a:cubicBezTo>
                      <a:cubicBezTo>
                        <a:pt x="391" y="562"/>
                        <a:pt x="392" y="587"/>
                        <a:pt x="391" y="596"/>
                      </a:cubicBezTo>
                      <a:cubicBezTo>
                        <a:pt x="390" y="605"/>
                        <a:pt x="391" y="609"/>
                        <a:pt x="390" y="617"/>
                      </a:cubicBezTo>
                      <a:cubicBezTo>
                        <a:pt x="385" y="643"/>
                        <a:pt x="357" y="670"/>
                        <a:pt x="332" y="674"/>
                      </a:cubicBezTo>
                      <a:cubicBezTo>
                        <a:pt x="321" y="676"/>
                        <a:pt x="314" y="673"/>
                        <a:pt x="304" y="673"/>
                      </a:cubicBezTo>
                      <a:cubicBezTo>
                        <a:pt x="293" y="673"/>
                        <a:pt x="282" y="678"/>
                        <a:pt x="271" y="679"/>
                      </a:cubicBezTo>
                      <a:cubicBezTo>
                        <a:pt x="266" y="680"/>
                        <a:pt x="261" y="683"/>
                        <a:pt x="256" y="682"/>
                      </a:cubicBezTo>
                      <a:cubicBezTo>
                        <a:pt x="249" y="682"/>
                        <a:pt x="236" y="673"/>
                        <a:pt x="229" y="675"/>
                      </a:cubicBezTo>
                      <a:cubicBezTo>
                        <a:pt x="226" y="677"/>
                        <a:pt x="226" y="682"/>
                        <a:pt x="222" y="683"/>
                      </a:cubicBezTo>
                      <a:cubicBezTo>
                        <a:pt x="220" y="684"/>
                        <a:pt x="219" y="679"/>
                        <a:pt x="217" y="679"/>
                      </a:cubicBezTo>
                      <a:cubicBezTo>
                        <a:pt x="214" y="678"/>
                        <a:pt x="210" y="680"/>
                        <a:pt x="208" y="678"/>
                      </a:cubicBezTo>
                      <a:cubicBezTo>
                        <a:pt x="206" y="677"/>
                        <a:pt x="210" y="670"/>
                        <a:pt x="207" y="670"/>
                      </a:cubicBezTo>
                      <a:cubicBezTo>
                        <a:pt x="204" y="671"/>
                        <a:pt x="206" y="677"/>
                        <a:pt x="203" y="678"/>
                      </a:cubicBezTo>
                      <a:cubicBezTo>
                        <a:pt x="200" y="680"/>
                        <a:pt x="196" y="680"/>
                        <a:pt x="192" y="680"/>
                      </a:cubicBezTo>
                      <a:cubicBezTo>
                        <a:pt x="188" y="680"/>
                        <a:pt x="167" y="674"/>
                        <a:pt x="164" y="669"/>
                      </a:cubicBezTo>
                      <a:cubicBezTo>
                        <a:pt x="163" y="666"/>
                        <a:pt x="168" y="663"/>
                        <a:pt x="166" y="660"/>
                      </a:cubicBezTo>
                      <a:cubicBezTo>
                        <a:pt x="165" y="659"/>
                        <a:pt x="138" y="664"/>
                        <a:pt x="134" y="665"/>
                      </a:cubicBezTo>
                      <a:cubicBezTo>
                        <a:pt x="133" y="665"/>
                        <a:pt x="136" y="668"/>
                        <a:pt x="137" y="668"/>
                      </a:cubicBezTo>
                      <a:cubicBezTo>
                        <a:pt x="145" y="667"/>
                        <a:pt x="153" y="662"/>
                        <a:pt x="158" y="673"/>
                      </a:cubicBezTo>
                      <a:cubicBezTo>
                        <a:pt x="159" y="674"/>
                        <a:pt x="154" y="674"/>
                        <a:pt x="154" y="675"/>
                      </a:cubicBezTo>
                      <a:cubicBezTo>
                        <a:pt x="153" y="677"/>
                        <a:pt x="157" y="674"/>
                        <a:pt x="157" y="675"/>
                      </a:cubicBezTo>
                      <a:cubicBezTo>
                        <a:pt x="158" y="677"/>
                        <a:pt x="155" y="678"/>
                        <a:pt x="157" y="679"/>
                      </a:cubicBezTo>
                      <a:cubicBezTo>
                        <a:pt x="157" y="680"/>
                        <a:pt x="159" y="678"/>
                        <a:pt x="160" y="678"/>
                      </a:cubicBezTo>
                      <a:cubicBezTo>
                        <a:pt x="164" y="680"/>
                        <a:pt x="167" y="687"/>
                        <a:pt x="171" y="687"/>
                      </a:cubicBezTo>
                      <a:cubicBezTo>
                        <a:pt x="189" y="691"/>
                        <a:pt x="180" y="683"/>
                        <a:pt x="197" y="693"/>
                      </a:cubicBezTo>
                      <a:cubicBezTo>
                        <a:pt x="199" y="695"/>
                        <a:pt x="203" y="695"/>
                        <a:pt x="205" y="698"/>
                      </a:cubicBezTo>
                      <a:cubicBezTo>
                        <a:pt x="205" y="700"/>
                        <a:pt x="190" y="706"/>
                        <a:pt x="196" y="710"/>
                      </a:cubicBezTo>
                      <a:cubicBezTo>
                        <a:pt x="198" y="712"/>
                        <a:pt x="201" y="707"/>
                        <a:pt x="204" y="706"/>
                      </a:cubicBezTo>
                      <a:cubicBezTo>
                        <a:pt x="207" y="705"/>
                        <a:pt x="241" y="714"/>
                        <a:pt x="245" y="718"/>
                      </a:cubicBezTo>
                      <a:cubicBezTo>
                        <a:pt x="249" y="725"/>
                        <a:pt x="248" y="722"/>
                        <a:pt x="253" y="729"/>
                      </a:cubicBezTo>
                      <a:cubicBezTo>
                        <a:pt x="254" y="731"/>
                        <a:pt x="262" y="733"/>
                        <a:pt x="260" y="734"/>
                      </a:cubicBezTo>
                      <a:cubicBezTo>
                        <a:pt x="257" y="737"/>
                        <a:pt x="252" y="730"/>
                        <a:pt x="249" y="732"/>
                      </a:cubicBezTo>
                      <a:cubicBezTo>
                        <a:pt x="248" y="732"/>
                        <a:pt x="257" y="744"/>
                        <a:pt x="257" y="744"/>
                      </a:cubicBezTo>
                      <a:cubicBezTo>
                        <a:pt x="265" y="764"/>
                        <a:pt x="256" y="749"/>
                        <a:pt x="249" y="765"/>
                      </a:cubicBezTo>
                      <a:cubicBezTo>
                        <a:pt x="249" y="766"/>
                        <a:pt x="254" y="764"/>
                        <a:pt x="256" y="765"/>
                      </a:cubicBezTo>
                      <a:cubicBezTo>
                        <a:pt x="258" y="767"/>
                        <a:pt x="274" y="783"/>
                        <a:pt x="274" y="783"/>
                      </a:cubicBezTo>
                      <a:cubicBezTo>
                        <a:pt x="274" y="785"/>
                        <a:pt x="272" y="786"/>
                        <a:pt x="273" y="788"/>
                      </a:cubicBezTo>
                      <a:cubicBezTo>
                        <a:pt x="273" y="793"/>
                        <a:pt x="282" y="790"/>
                        <a:pt x="283" y="795"/>
                      </a:cubicBezTo>
                      <a:cubicBezTo>
                        <a:pt x="284" y="797"/>
                        <a:pt x="278" y="800"/>
                        <a:pt x="280" y="803"/>
                      </a:cubicBezTo>
                      <a:cubicBezTo>
                        <a:pt x="282" y="805"/>
                        <a:pt x="286" y="798"/>
                        <a:pt x="288" y="799"/>
                      </a:cubicBezTo>
                      <a:cubicBezTo>
                        <a:pt x="290" y="801"/>
                        <a:pt x="283" y="803"/>
                        <a:pt x="283" y="806"/>
                      </a:cubicBezTo>
                      <a:cubicBezTo>
                        <a:pt x="283" y="809"/>
                        <a:pt x="283" y="815"/>
                        <a:pt x="286" y="817"/>
                      </a:cubicBezTo>
                      <a:cubicBezTo>
                        <a:pt x="286" y="818"/>
                        <a:pt x="310" y="825"/>
                        <a:pt x="312" y="825"/>
                      </a:cubicBezTo>
                      <a:cubicBezTo>
                        <a:pt x="316" y="824"/>
                        <a:pt x="309" y="813"/>
                        <a:pt x="334" y="823"/>
                      </a:cubicBezTo>
                      <a:cubicBezTo>
                        <a:pt x="382" y="841"/>
                        <a:pt x="305" y="812"/>
                        <a:pt x="347" y="836"/>
                      </a:cubicBezTo>
                      <a:cubicBezTo>
                        <a:pt x="348" y="837"/>
                        <a:pt x="389" y="835"/>
                        <a:pt x="390" y="834"/>
                      </a:cubicBezTo>
                      <a:cubicBezTo>
                        <a:pt x="392" y="833"/>
                        <a:pt x="389" y="828"/>
                        <a:pt x="391" y="826"/>
                      </a:cubicBezTo>
                      <a:cubicBezTo>
                        <a:pt x="392" y="824"/>
                        <a:pt x="395" y="826"/>
                        <a:pt x="396" y="825"/>
                      </a:cubicBezTo>
                      <a:cubicBezTo>
                        <a:pt x="404" y="815"/>
                        <a:pt x="397" y="803"/>
                        <a:pt x="390" y="795"/>
                      </a:cubicBezTo>
                      <a:cubicBezTo>
                        <a:pt x="386" y="791"/>
                        <a:pt x="386" y="795"/>
                        <a:pt x="381" y="792"/>
                      </a:cubicBezTo>
                      <a:cubicBezTo>
                        <a:pt x="379" y="791"/>
                        <a:pt x="379" y="787"/>
                        <a:pt x="378" y="788"/>
                      </a:cubicBezTo>
                      <a:cubicBezTo>
                        <a:pt x="376" y="788"/>
                        <a:pt x="377" y="791"/>
                        <a:pt x="376" y="793"/>
                      </a:cubicBezTo>
                      <a:cubicBezTo>
                        <a:pt x="376" y="794"/>
                        <a:pt x="377" y="795"/>
                        <a:pt x="376" y="795"/>
                      </a:cubicBezTo>
                      <a:cubicBezTo>
                        <a:pt x="373" y="798"/>
                        <a:pt x="368" y="800"/>
                        <a:pt x="362" y="800"/>
                      </a:cubicBezTo>
                      <a:cubicBezTo>
                        <a:pt x="359" y="799"/>
                        <a:pt x="322" y="774"/>
                        <a:pt x="323" y="770"/>
                      </a:cubicBezTo>
                      <a:cubicBezTo>
                        <a:pt x="325" y="766"/>
                        <a:pt x="331" y="766"/>
                        <a:pt x="334" y="763"/>
                      </a:cubicBezTo>
                      <a:cubicBezTo>
                        <a:pt x="338" y="760"/>
                        <a:pt x="329" y="754"/>
                        <a:pt x="329" y="749"/>
                      </a:cubicBezTo>
                      <a:cubicBezTo>
                        <a:pt x="329" y="734"/>
                        <a:pt x="369" y="756"/>
                        <a:pt x="370" y="756"/>
                      </a:cubicBezTo>
                      <a:cubicBezTo>
                        <a:pt x="375" y="755"/>
                        <a:pt x="379" y="751"/>
                        <a:pt x="383" y="751"/>
                      </a:cubicBezTo>
                      <a:cubicBezTo>
                        <a:pt x="385" y="751"/>
                        <a:pt x="385" y="753"/>
                        <a:pt x="386" y="755"/>
                      </a:cubicBezTo>
                      <a:cubicBezTo>
                        <a:pt x="386" y="754"/>
                        <a:pt x="386" y="754"/>
                        <a:pt x="386" y="754"/>
                      </a:cubicBezTo>
                      <a:cubicBezTo>
                        <a:pt x="392" y="748"/>
                        <a:pt x="421" y="759"/>
                        <a:pt x="425" y="756"/>
                      </a:cubicBezTo>
                      <a:cubicBezTo>
                        <a:pt x="429" y="755"/>
                        <a:pt x="427" y="748"/>
                        <a:pt x="430" y="746"/>
                      </a:cubicBezTo>
                      <a:cubicBezTo>
                        <a:pt x="435" y="742"/>
                        <a:pt x="443" y="752"/>
                        <a:pt x="454" y="746"/>
                      </a:cubicBezTo>
                      <a:cubicBezTo>
                        <a:pt x="458" y="743"/>
                        <a:pt x="447" y="738"/>
                        <a:pt x="445" y="733"/>
                      </a:cubicBezTo>
                      <a:cubicBezTo>
                        <a:pt x="444" y="732"/>
                        <a:pt x="446" y="731"/>
                        <a:pt x="446" y="730"/>
                      </a:cubicBezTo>
                      <a:cubicBezTo>
                        <a:pt x="443" y="720"/>
                        <a:pt x="411" y="709"/>
                        <a:pt x="403" y="699"/>
                      </a:cubicBezTo>
                      <a:cubicBezTo>
                        <a:pt x="391" y="685"/>
                        <a:pt x="404" y="677"/>
                        <a:pt x="408" y="663"/>
                      </a:cubicBezTo>
                      <a:cubicBezTo>
                        <a:pt x="410" y="658"/>
                        <a:pt x="407" y="652"/>
                        <a:pt x="410" y="647"/>
                      </a:cubicBezTo>
                      <a:cubicBezTo>
                        <a:pt x="415" y="637"/>
                        <a:pt x="424" y="633"/>
                        <a:pt x="428" y="621"/>
                      </a:cubicBezTo>
                      <a:cubicBezTo>
                        <a:pt x="429" y="618"/>
                        <a:pt x="428" y="590"/>
                        <a:pt x="430" y="589"/>
                      </a:cubicBezTo>
                      <a:cubicBezTo>
                        <a:pt x="433" y="588"/>
                        <a:pt x="438" y="588"/>
                        <a:pt x="442" y="588"/>
                      </a:cubicBezTo>
                      <a:cubicBezTo>
                        <a:pt x="450" y="589"/>
                        <a:pt x="443" y="594"/>
                        <a:pt x="444" y="594"/>
                      </a:cubicBezTo>
                      <a:cubicBezTo>
                        <a:pt x="462" y="585"/>
                        <a:pt x="450" y="579"/>
                        <a:pt x="467" y="586"/>
                      </a:cubicBezTo>
                      <a:cubicBezTo>
                        <a:pt x="471" y="587"/>
                        <a:pt x="476" y="586"/>
                        <a:pt x="479" y="588"/>
                      </a:cubicBezTo>
                      <a:cubicBezTo>
                        <a:pt x="481" y="588"/>
                        <a:pt x="481" y="590"/>
                        <a:pt x="480" y="591"/>
                      </a:cubicBezTo>
                      <a:cubicBezTo>
                        <a:pt x="481" y="590"/>
                        <a:pt x="483" y="589"/>
                        <a:pt x="485" y="589"/>
                      </a:cubicBezTo>
                      <a:cubicBezTo>
                        <a:pt x="494" y="590"/>
                        <a:pt x="497" y="606"/>
                        <a:pt x="506" y="605"/>
                      </a:cubicBezTo>
                      <a:cubicBezTo>
                        <a:pt x="507" y="605"/>
                        <a:pt x="502" y="601"/>
                        <a:pt x="491" y="585"/>
                      </a:cubicBezTo>
                      <a:cubicBezTo>
                        <a:pt x="482" y="572"/>
                        <a:pt x="489" y="561"/>
                        <a:pt x="485" y="547"/>
                      </a:cubicBezTo>
                      <a:cubicBezTo>
                        <a:pt x="485" y="546"/>
                        <a:pt x="484" y="549"/>
                        <a:pt x="482" y="549"/>
                      </a:cubicBezTo>
                      <a:cubicBezTo>
                        <a:pt x="480" y="547"/>
                        <a:pt x="477" y="545"/>
                        <a:pt x="475" y="542"/>
                      </a:cubicBezTo>
                      <a:cubicBezTo>
                        <a:pt x="475" y="541"/>
                        <a:pt x="476" y="539"/>
                        <a:pt x="476" y="538"/>
                      </a:cubicBezTo>
                      <a:cubicBezTo>
                        <a:pt x="476" y="536"/>
                        <a:pt x="475" y="533"/>
                        <a:pt x="474" y="532"/>
                      </a:cubicBezTo>
                      <a:cubicBezTo>
                        <a:pt x="470" y="529"/>
                        <a:pt x="458" y="521"/>
                        <a:pt x="455" y="520"/>
                      </a:cubicBezTo>
                      <a:cubicBezTo>
                        <a:pt x="451" y="520"/>
                        <a:pt x="447" y="524"/>
                        <a:pt x="443" y="523"/>
                      </a:cubicBezTo>
                      <a:cubicBezTo>
                        <a:pt x="438" y="522"/>
                        <a:pt x="435" y="503"/>
                        <a:pt x="435" y="499"/>
                      </a:cubicBezTo>
                      <a:cubicBezTo>
                        <a:pt x="433" y="489"/>
                        <a:pt x="435" y="488"/>
                        <a:pt x="435" y="488"/>
                      </a:cubicBezTo>
                      <a:cubicBezTo>
                        <a:pt x="433" y="485"/>
                        <a:pt x="425" y="475"/>
                        <a:pt x="424" y="471"/>
                      </a:cubicBezTo>
                      <a:cubicBezTo>
                        <a:pt x="424" y="467"/>
                        <a:pt x="428" y="463"/>
                        <a:pt x="426" y="459"/>
                      </a:cubicBezTo>
                      <a:cubicBezTo>
                        <a:pt x="426" y="457"/>
                        <a:pt x="424" y="465"/>
                        <a:pt x="422" y="464"/>
                      </a:cubicBezTo>
                      <a:cubicBezTo>
                        <a:pt x="414" y="462"/>
                        <a:pt x="425" y="448"/>
                        <a:pt x="395" y="442"/>
                      </a:cubicBezTo>
                      <a:cubicBezTo>
                        <a:pt x="394" y="442"/>
                        <a:pt x="372" y="438"/>
                        <a:pt x="378" y="433"/>
                      </a:cubicBezTo>
                      <a:cubicBezTo>
                        <a:pt x="385" y="428"/>
                        <a:pt x="393" y="434"/>
                        <a:pt x="400" y="434"/>
                      </a:cubicBezTo>
                      <a:cubicBezTo>
                        <a:pt x="406" y="434"/>
                        <a:pt x="421" y="418"/>
                        <a:pt x="426" y="416"/>
                      </a:cubicBezTo>
                      <a:cubicBezTo>
                        <a:pt x="433" y="413"/>
                        <a:pt x="441" y="411"/>
                        <a:pt x="447" y="412"/>
                      </a:cubicBezTo>
                      <a:cubicBezTo>
                        <a:pt x="448" y="412"/>
                        <a:pt x="447" y="414"/>
                        <a:pt x="447" y="415"/>
                      </a:cubicBezTo>
                      <a:cubicBezTo>
                        <a:pt x="449" y="417"/>
                        <a:pt x="452" y="420"/>
                        <a:pt x="455" y="421"/>
                      </a:cubicBezTo>
                      <a:cubicBezTo>
                        <a:pt x="467" y="426"/>
                        <a:pt x="484" y="427"/>
                        <a:pt x="491" y="442"/>
                      </a:cubicBezTo>
                      <a:cubicBezTo>
                        <a:pt x="491" y="442"/>
                        <a:pt x="481" y="449"/>
                        <a:pt x="478" y="452"/>
                      </a:cubicBezTo>
                      <a:cubicBezTo>
                        <a:pt x="475" y="456"/>
                        <a:pt x="460" y="465"/>
                        <a:pt x="462" y="470"/>
                      </a:cubicBezTo>
                      <a:cubicBezTo>
                        <a:pt x="462" y="471"/>
                        <a:pt x="464" y="470"/>
                        <a:pt x="464" y="471"/>
                      </a:cubicBezTo>
                      <a:cubicBezTo>
                        <a:pt x="465" y="472"/>
                        <a:pt x="467" y="474"/>
                        <a:pt x="467" y="476"/>
                      </a:cubicBezTo>
                      <a:cubicBezTo>
                        <a:pt x="467" y="482"/>
                        <a:pt x="456" y="489"/>
                        <a:pt x="467" y="498"/>
                      </a:cubicBezTo>
                      <a:cubicBezTo>
                        <a:pt x="472" y="503"/>
                        <a:pt x="485" y="498"/>
                        <a:pt x="491" y="500"/>
                      </a:cubicBezTo>
                      <a:cubicBezTo>
                        <a:pt x="496" y="502"/>
                        <a:pt x="508" y="520"/>
                        <a:pt x="515" y="516"/>
                      </a:cubicBezTo>
                      <a:cubicBezTo>
                        <a:pt x="520" y="514"/>
                        <a:pt x="523" y="501"/>
                        <a:pt x="527" y="505"/>
                      </a:cubicBezTo>
                      <a:cubicBezTo>
                        <a:pt x="529" y="507"/>
                        <a:pt x="525" y="513"/>
                        <a:pt x="527" y="516"/>
                      </a:cubicBezTo>
                      <a:cubicBezTo>
                        <a:pt x="529" y="518"/>
                        <a:pt x="528" y="510"/>
                        <a:pt x="529" y="507"/>
                      </a:cubicBezTo>
                      <a:cubicBezTo>
                        <a:pt x="533" y="501"/>
                        <a:pt x="538" y="494"/>
                        <a:pt x="545" y="489"/>
                      </a:cubicBezTo>
                      <a:cubicBezTo>
                        <a:pt x="546" y="488"/>
                        <a:pt x="549" y="491"/>
                        <a:pt x="551" y="489"/>
                      </a:cubicBezTo>
                      <a:cubicBezTo>
                        <a:pt x="553" y="486"/>
                        <a:pt x="541" y="469"/>
                        <a:pt x="540" y="468"/>
                      </a:cubicBezTo>
                      <a:cubicBezTo>
                        <a:pt x="537" y="463"/>
                        <a:pt x="538" y="452"/>
                        <a:pt x="536" y="448"/>
                      </a:cubicBezTo>
                      <a:cubicBezTo>
                        <a:pt x="532" y="440"/>
                        <a:pt x="523" y="443"/>
                        <a:pt x="528" y="434"/>
                      </a:cubicBezTo>
                      <a:cubicBezTo>
                        <a:pt x="529" y="432"/>
                        <a:pt x="533" y="438"/>
                        <a:pt x="533" y="436"/>
                      </a:cubicBezTo>
                      <a:cubicBezTo>
                        <a:pt x="534" y="433"/>
                        <a:pt x="532" y="430"/>
                        <a:pt x="532" y="428"/>
                      </a:cubicBezTo>
                      <a:cubicBezTo>
                        <a:pt x="533" y="425"/>
                        <a:pt x="538" y="426"/>
                        <a:pt x="540" y="424"/>
                      </a:cubicBezTo>
                      <a:cubicBezTo>
                        <a:pt x="541" y="423"/>
                        <a:pt x="539" y="420"/>
                        <a:pt x="541" y="419"/>
                      </a:cubicBezTo>
                      <a:cubicBezTo>
                        <a:pt x="545" y="417"/>
                        <a:pt x="550" y="420"/>
                        <a:pt x="554" y="417"/>
                      </a:cubicBezTo>
                      <a:cubicBezTo>
                        <a:pt x="558" y="415"/>
                        <a:pt x="545" y="419"/>
                        <a:pt x="542" y="417"/>
                      </a:cubicBezTo>
                      <a:cubicBezTo>
                        <a:pt x="540" y="415"/>
                        <a:pt x="541" y="411"/>
                        <a:pt x="538" y="410"/>
                      </a:cubicBezTo>
                      <a:cubicBezTo>
                        <a:pt x="536" y="408"/>
                        <a:pt x="531" y="409"/>
                        <a:pt x="529" y="407"/>
                      </a:cubicBezTo>
                      <a:cubicBezTo>
                        <a:pt x="528" y="405"/>
                        <a:pt x="534" y="409"/>
                        <a:pt x="537" y="408"/>
                      </a:cubicBezTo>
                      <a:cubicBezTo>
                        <a:pt x="541" y="407"/>
                        <a:pt x="544" y="404"/>
                        <a:pt x="547" y="401"/>
                      </a:cubicBezTo>
                      <a:cubicBezTo>
                        <a:pt x="551" y="396"/>
                        <a:pt x="551" y="381"/>
                        <a:pt x="555" y="376"/>
                      </a:cubicBezTo>
                      <a:cubicBezTo>
                        <a:pt x="556" y="374"/>
                        <a:pt x="554" y="380"/>
                        <a:pt x="554" y="382"/>
                      </a:cubicBezTo>
                      <a:cubicBezTo>
                        <a:pt x="555" y="383"/>
                        <a:pt x="556" y="381"/>
                        <a:pt x="556" y="379"/>
                      </a:cubicBezTo>
                      <a:cubicBezTo>
                        <a:pt x="557" y="369"/>
                        <a:pt x="557" y="357"/>
                        <a:pt x="559" y="346"/>
                      </a:cubicBezTo>
                      <a:cubicBezTo>
                        <a:pt x="560" y="344"/>
                        <a:pt x="565" y="345"/>
                        <a:pt x="567" y="343"/>
                      </a:cubicBezTo>
                      <a:cubicBezTo>
                        <a:pt x="568" y="339"/>
                        <a:pt x="568" y="335"/>
                        <a:pt x="570" y="332"/>
                      </a:cubicBezTo>
                      <a:cubicBezTo>
                        <a:pt x="571" y="331"/>
                        <a:pt x="573" y="331"/>
                        <a:pt x="573" y="330"/>
                      </a:cubicBezTo>
                      <a:cubicBezTo>
                        <a:pt x="574" y="329"/>
                        <a:pt x="571" y="328"/>
                        <a:pt x="571" y="326"/>
                      </a:cubicBezTo>
                      <a:cubicBezTo>
                        <a:pt x="572" y="325"/>
                        <a:pt x="575" y="325"/>
                        <a:pt x="575" y="323"/>
                      </a:cubicBezTo>
                      <a:cubicBezTo>
                        <a:pt x="577" y="320"/>
                        <a:pt x="576" y="313"/>
                        <a:pt x="580" y="310"/>
                      </a:cubicBezTo>
                      <a:cubicBezTo>
                        <a:pt x="588" y="304"/>
                        <a:pt x="589" y="327"/>
                        <a:pt x="594" y="326"/>
                      </a:cubicBezTo>
                      <a:cubicBezTo>
                        <a:pt x="599" y="326"/>
                        <a:pt x="597" y="317"/>
                        <a:pt x="597" y="313"/>
                      </a:cubicBezTo>
                      <a:cubicBezTo>
                        <a:pt x="598" y="312"/>
                        <a:pt x="598" y="309"/>
                        <a:pt x="597" y="309"/>
                      </a:cubicBezTo>
                      <a:cubicBezTo>
                        <a:pt x="593" y="307"/>
                        <a:pt x="589" y="308"/>
                        <a:pt x="585" y="306"/>
                      </a:cubicBezTo>
                      <a:cubicBezTo>
                        <a:pt x="584" y="305"/>
                        <a:pt x="587" y="299"/>
                        <a:pt x="585" y="300"/>
                      </a:cubicBezTo>
                      <a:cubicBezTo>
                        <a:pt x="584" y="301"/>
                        <a:pt x="584" y="303"/>
                        <a:pt x="583" y="305"/>
                      </a:cubicBezTo>
                      <a:cubicBezTo>
                        <a:pt x="583" y="305"/>
                        <a:pt x="584" y="306"/>
                        <a:pt x="584" y="308"/>
                      </a:cubicBezTo>
                      <a:cubicBezTo>
                        <a:pt x="583" y="308"/>
                        <a:pt x="581" y="309"/>
                        <a:pt x="581" y="308"/>
                      </a:cubicBezTo>
                      <a:cubicBezTo>
                        <a:pt x="577" y="295"/>
                        <a:pt x="595" y="258"/>
                        <a:pt x="605" y="249"/>
                      </a:cubicBezTo>
                      <a:cubicBezTo>
                        <a:pt x="606" y="248"/>
                        <a:pt x="608" y="247"/>
                        <a:pt x="609" y="248"/>
                      </a:cubicBezTo>
                      <a:cubicBezTo>
                        <a:pt x="609" y="250"/>
                        <a:pt x="607" y="252"/>
                        <a:pt x="606" y="254"/>
                      </a:cubicBezTo>
                      <a:cubicBezTo>
                        <a:pt x="606" y="254"/>
                        <a:pt x="593" y="268"/>
                        <a:pt x="594" y="269"/>
                      </a:cubicBezTo>
                      <a:cubicBezTo>
                        <a:pt x="597" y="271"/>
                        <a:pt x="601" y="265"/>
                        <a:pt x="605" y="265"/>
                      </a:cubicBezTo>
                      <a:cubicBezTo>
                        <a:pt x="606" y="266"/>
                        <a:pt x="604" y="269"/>
                        <a:pt x="604" y="271"/>
                      </a:cubicBezTo>
                      <a:cubicBezTo>
                        <a:pt x="605" y="275"/>
                        <a:pt x="606" y="279"/>
                        <a:pt x="608" y="282"/>
                      </a:cubicBezTo>
                      <a:cubicBezTo>
                        <a:pt x="613" y="286"/>
                        <a:pt x="622" y="287"/>
                        <a:pt x="625" y="292"/>
                      </a:cubicBezTo>
                      <a:cubicBezTo>
                        <a:pt x="629" y="300"/>
                        <a:pt x="598" y="313"/>
                        <a:pt x="620" y="313"/>
                      </a:cubicBezTo>
                      <a:cubicBezTo>
                        <a:pt x="624" y="313"/>
                        <a:pt x="624" y="308"/>
                        <a:pt x="627" y="305"/>
                      </a:cubicBezTo>
                      <a:cubicBezTo>
                        <a:pt x="630" y="304"/>
                        <a:pt x="634" y="305"/>
                        <a:pt x="635" y="303"/>
                      </a:cubicBezTo>
                      <a:cubicBezTo>
                        <a:pt x="637" y="300"/>
                        <a:pt x="632" y="295"/>
                        <a:pt x="635" y="293"/>
                      </a:cubicBezTo>
                      <a:cubicBezTo>
                        <a:pt x="637" y="292"/>
                        <a:pt x="638" y="301"/>
                        <a:pt x="640" y="300"/>
                      </a:cubicBezTo>
                      <a:cubicBezTo>
                        <a:pt x="644" y="298"/>
                        <a:pt x="639" y="291"/>
                        <a:pt x="642" y="289"/>
                      </a:cubicBezTo>
                      <a:cubicBezTo>
                        <a:pt x="646" y="287"/>
                        <a:pt x="651" y="293"/>
                        <a:pt x="655" y="291"/>
                      </a:cubicBezTo>
                      <a:cubicBezTo>
                        <a:pt x="657" y="291"/>
                        <a:pt x="646" y="278"/>
                        <a:pt x="646" y="276"/>
                      </a:cubicBezTo>
                      <a:cubicBezTo>
                        <a:pt x="642" y="263"/>
                        <a:pt x="649" y="262"/>
                        <a:pt x="653" y="253"/>
                      </a:cubicBezTo>
                      <a:cubicBezTo>
                        <a:pt x="654" y="250"/>
                        <a:pt x="652" y="246"/>
                        <a:pt x="653" y="243"/>
                      </a:cubicBezTo>
                      <a:cubicBezTo>
                        <a:pt x="654" y="241"/>
                        <a:pt x="657" y="242"/>
                        <a:pt x="658" y="242"/>
                      </a:cubicBezTo>
                      <a:cubicBezTo>
                        <a:pt x="673" y="238"/>
                        <a:pt x="663" y="236"/>
                        <a:pt x="669" y="233"/>
                      </a:cubicBezTo>
                      <a:cubicBezTo>
                        <a:pt x="671" y="232"/>
                        <a:pt x="674" y="234"/>
                        <a:pt x="677" y="233"/>
                      </a:cubicBezTo>
                      <a:cubicBezTo>
                        <a:pt x="680" y="231"/>
                        <a:pt x="683" y="229"/>
                        <a:pt x="686" y="226"/>
                      </a:cubicBezTo>
                      <a:cubicBezTo>
                        <a:pt x="689" y="222"/>
                        <a:pt x="682" y="216"/>
                        <a:pt x="682" y="211"/>
                      </a:cubicBezTo>
                      <a:cubicBezTo>
                        <a:pt x="682" y="208"/>
                        <a:pt x="687" y="207"/>
                        <a:pt x="687" y="204"/>
                      </a:cubicBezTo>
                      <a:cubicBezTo>
                        <a:pt x="688" y="200"/>
                        <a:pt x="683" y="193"/>
                        <a:pt x="687" y="191"/>
                      </a:cubicBezTo>
                      <a:cubicBezTo>
                        <a:pt x="690" y="188"/>
                        <a:pt x="698" y="200"/>
                        <a:pt x="698" y="196"/>
                      </a:cubicBezTo>
                      <a:cubicBezTo>
                        <a:pt x="698" y="192"/>
                        <a:pt x="689" y="193"/>
                        <a:pt x="687" y="189"/>
                      </a:cubicBezTo>
                      <a:cubicBezTo>
                        <a:pt x="686" y="188"/>
                        <a:pt x="692" y="174"/>
                        <a:pt x="693" y="172"/>
                      </a:cubicBezTo>
                      <a:cubicBezTo>
                        <a:pt x="695" y="171"/>
                        <a:pt x="695" y="176"/>
                        <a:pt x="696" y="176"/>
                      </a:cubicBezTo>
                      <a:cubicBezTo>
                        <a:pt x="698" y="177"/>
                        <a:pt x="700" y="175"/>
                        <a:pt x="702" y="175"/>
                      </a:cubicBezTo>
                      <a:cubicBezTo>
                        <a:pt x="731" y="174"/>
                        <a:pt x="709" y="180"/>
                        <a:pt x="717" y="191"/>
                      </a:cubicBezTo>
                      <a:cubicBezTo>
                        <a:pt x="725" y="202"/>
                        <a:pt x="725" y="202"/>
                        <a:pt x="735" y="198"/>
                      </a:cubicBezTo>
                      <a:cubicBezTo>
                        <a:pt x="738" y="196"/>
                        <a:pt x="742" y="198"/>
                        <a:pt x="743" y="195"/>
                      </a:cubicBezTo>
                      <a:cubicBezTo>
                        <a:pt x="752" y="175"/>
                        <a:pt x="731" y="185"/>
                        <a:pt x="727" y="173"/>
                      </a:cubicBezTo>
                      <a:cubicBezTo>
                        <a:pt x="726" y="170"/>
                        <a:pt x="735" y="163"/>
                        <a:pt x="738" y="159"/>
                      </a:cubicBezTo>
                      <a:cubicBezTo>
                        <a:pt x="740" y="153"/>
                        <a:pt x="735" y="146"/>
                        <a:pt x="736" y="140"/>
                      </a:cubicBezTo>
                      <a:cubicBezTo>
                        <a:pt x="738" y="133"/>
                        <a:pt x="693" y="124"/>
                        <a:pt x="685" y="120"/>
                      </a:cubicBezTo>
                      <a:cubicBezTo>
                        <a:pt x="677" y="115"/>
                        <a:pt x="687" y="111"/>
                        <a:pt x="689" y="105"/>
                      </a:cubicBezTo>
                      <a:cubicBezTo>
                        <a:pt x="691" y="100"/>
                        <a:pt x="682" y="96"/>
                        <a:pt x="682" y="91"/>
                      </a:cubicBezTo>
                      <a:cubicBezTo>
                        <a:pt x="682" y="88"/>
                        <a:pt x="700" y="84"/>
                        <a:pt x="700" y="84"/>
                      </a:cubicBezTo>
                      <a:cubicBezTo>
                        <a:pt x="712" y="76"/>
                        <a:pt x="722" y="62"/>
                        <a:pt x="736" y="55"/>
                      </a:cubicBezTo>
                      <a:cubicBezTo>
                        <a:pt x="751" y="48"/>
                        <a:pt x="767" y="43"/>
                        <a:pt x="783" y="42"/>
                      </a:cubicBezTo>
                      <a:cubicBezTo>
                        <a:pt x="784" y="42"/>
                        <a:pt x="786" y="43"/>
                        <a:pt x="787" y="43"/>
                      </a:cubicBezTo>
                      <a:cubicBezTo>
                        <a:pt x="790" y="43"/>
                        <a:pt x="794" y="42"/>
                        <a:pt x="797" y="41"/>
                      </a:cubicBezTo>
                      <a:cubicBezTo>
                        <a:pt x="801" y="39"/>
                        <a:pt x="804" y="36"/>
                        <a:pt x="808" y="34"/>
                      </a:cubicBezTo>
                      <a:cubicBezTo>
                        <a:pt x="815" y="31"/>
                        <a:pt x="798" y="39"/>
                        <a:pt x="808" y="40"/>
                      </a:cubicBezTo>
                      <a:cubicBezTo>
                        <a:pt x="812" y="39"/>
                        <a:pt x="815" y="36"/>
                        <a:pt x="818" y="34"/>
                      </a:cubicBezTo>
                      <a:cubicBezTo>
                        <a:pt x="823" y="32"/>
                        <a:pt x="829" y="33"/>
                        <a:pt x="834" y="31"/>
                      </a:cubicBezTo>
                      <a:cubicBezTo>
                        <a:pt x="836" y="30"/>
                        <a:pt x="842" y="22"/>
                        <a:pt x="845" y="22"/>
                      </a:cubicBezTo>
                      <a:cubicBezTo>
                        <a:pt x="847" y="22"/>
                        <a:pt x="846" y="26"/>
                        <a:pt x="847" y="26"/>
                      </a:cubicBezTo>
                      <a:cubicBezTo>
                        <a:pt x="854" y="30"/>
                        <a:pt x="863" y="25"/>
                        <a:pt x="870" y="25"/>
                      </a:cubicBezTo>
                      <a:cubicBezTo>
                        <a:pt x="872" y="24"/>
                        <a:pt x="875" y="24"/>
                        <a:pt x="877" y="25"/>
                      </a:cubicBezTo>
                      <a:cubicBezTo>
                        <a:pt x="879" y="25"/>
                        <a:pt x="875" y="25"/>
                        <a:pt x="875" y="26"/>
                      </a:cubicBezTo>
                      <a:cubicBezTo>
                        <a:pt x="876" y="27"/>
                        <a:pt x="877" y="26"/>
                        <a:pt x="879" y="26"/>
                      </a:cubicBezTo>
                      <a:cubicBezTo>
                        <a:pt x="882" y="25"/>
                        <a:pt x="885" y="21"/>
                        <a:pt x="889" y="21"/>
                      </a:cubicBezTo>
                      <a:cubicBezTo>
                        <a:pt x="892" y="21"/>
                        <a:pt x="894" y="26"/>
                        <a:pt x="897" y="25"/>
                      </a:cubicBezTo>
                      <a:cubicBezTo>
                        <a:pt x="900" y="24"/>
                        <a:pt x="902" y="20"/>
                        <a:pt x="902" y="16"/>
                      </a:cubicBezTo>
                      <a:cubicBezTo>
                        <a:pt x="902" y="14"/>
                        <a:pt x="899" y="16"/>
                        <a:pt x="898" y="15"/>
                      </a:cubicBezTo>
                      <a:cubicBezTo>
                        <a:pt x="895" y="13"/>
                        <a:pt x="895" y="9"/>
                        <a:pt x="893" y="6"/>
                      </a:cubicBezTo>
                      <a:cubicBezTo>
                        <a:pt x="893" y="5"/>
                        <a:pt x="892" y="3"/>
                        <a:pt x="890" y="0"/>
                      </a:cubicBezTo>
                      <a:cubicBezTo>
                        <a:pt x="1032" y="0"/>
                        <a:pt x="1032" y="0"/>
                        <a:pt x="1032" y="0"/>
                      </a:cubicBezTo>
                      <a:cubicBezTo>
                        <a:pt x="1035" y="3"/>
                        <a:pt x="1037" y="4"/>
                        <a:pt x="1036" y="7"/>
                      </a:cubicBezTo>
                      <a:cubicBezTo>
                        <a:pt x="1034" y="11"/>
                        <a:pt x="1031" y="15"/>
                        <a:pt x="1030" y="19"/>
                      </a:cubicBezTo>
                      <a:cubicBezTo>
                        <a:pt x="1029" y="20"/>
                        <a:pt x="1032" y="17"/>
                        <a:pt x="1034" y="17"/>
                      </a:cubicBezTo>
                      <a:cubicBezTo>
                        <a:pt x="1037" y="17"/>
                        <a:pt x="1051" y="23"/>
                        <a:pt x="1052" y="26"/>
                      </a:cubicBezTo>
                      <a:cubicBezTo>
                        <a:pt x="1053" y="28"/>
                        <a:pt x="1052" y="31"/>
                        <a:pt x="1050" y="32"/>
                      </a:cubicBezTo>
                      <a:cubicBezTo>
                        <a:pt x="1049" y="33"/>
                        <a:pt x="1048" y="29"/>
                        <a:pt x="1047" y="29"/>
                      </a:cubicBezTo>
                      <a:cubicBezTo>
                        <a:pt x="1046" y="29"/>
                        <a:pt x="1049" y="31"/>
                        <a:pt x="1049" y="32"/>
                      </a:cubicBezTo>
                      <a:cubicBezTo>
                        <a:pt x="1048" y="33"/>
                        <a:pt x="1046" y="34"/>
                        <a:pt x="1046" y="35"/>
                      </a:cubicBezTo>
                      <a:cubicBezTo>
                        <a:pt x="1046" y="37"/>
                        <a:pt x="1049" y="34"/>
                        <a:pt x="1049" y="35"/>
                      </a:cubicBezTo>
                      <a:cubicBezTo>
                        <a:pt x="1049" y="37"/>
                        <a:pt x="1046" y="37"/>
                        <a:pt x="1045" y="39"/>
                      </a:cubicBezTo>
                      <a:cubicBezTo>
                        <a:pt x="1045" y="39"/>
                        <a:pt x="1047" y="40"/>
                        <a:pt x="1047" y="41"/>
                      </a:cubicBezTo>
                      <a:cubicBezTo>
                        <a:pt x="1048" y="45"/>
                        <a:pt x="1050" y="50"/>
                        <a:pt x="1048" y="53"/>
                      </a:cubicBezTo>
                      <a:cubicBezTo>
                        <a:pt x="1045" y="58"/>
                        <a:pt x="1038" y="60"/>
                        <a:pt x="1034" y="58"/>
                      </a:cubicBezTo>
                      <a:cubicBezTo>
                        <a:pt x="1033" y="58"/>
                        <a:pt x="1032" y="56"/>
                        <a:pt x="1032" y="55"/>
                      </a:cubicBezTo>
                      <a:cubicBezTo>
                        <a:pt x="1032" y="55"/>
                        <a:pt x="1034" y="54"/>
                        <a:pt x="1034" y="54"/>
                      </a:cubicBezTo>
                      <a:cubicBezTo>
                        <a:pt x="1034" y="50"/>
                        <a:pt x="1037" y="41"/>
                        <a:pt x="1032" y="41"/>
                      </a:cubicBezTo>
                      <a:cubicBezTo>
                        <a:pt x="1028" y="42"/>
                        <a:pt x="1033" y="51"/>
                        <a:pt x="1030" y="54"/>
                      </a:cubicBezTo>
                      <a:cubicBezTo>
                        <a:pt x="1027" y="57"/>
                        <a:pt x="1022" y="56"/>
                        <a:pt x="1017" y="56"/>
                      </a:cubicBezTo>
                      <a:cubicBezTo>
                        <a:pt x="1015" y="56"/>
                        <a:pt x="1014" y="55"/>
                        <a:pt x="1012" y="55"/>
                      </a:cubicBezTo>
                      <a:cubicBezTo>
                        <a:pt x="1010" y="55"/>
                        <a:pt x="1014" y="59"/>
                        <a:pt x="1013" y="60"/>
                      </a:cubicBezTo>
                      <a:cubicBezTo>
                        <a:pt x="1012" y="62"/>
                        <a:pt x="1009" y="62"/>
                        <a:pt x="1009" y="64"/>
                      </a:cubicBezTo>
                      <a:cubicBezTo>
                        <a:pt x="1008" y="65"/>
                        <a:pt x="1013" y="65"/>
                        <a:pt x="1012" y="66"/>
                      </a:cubicBezTo>
                      <a:cubicBezTo>
                        <a:pt x="1004" y="77"/>
                        <a:pt x="1002" y="52"/>
                        <a:pt x="1000" y="80"/>
                      </a:cubicBezTo>
                      <a:cubicBezTo>
                        <a:pt x="1000" y="81"/>
                        <a:pt x="1004" y="77"/>
                        <a:pt x="1005" y="78"/>
                      </a:cubicBezTo>
                      <a:cubicBezTo>
                        <a:pt x="1017" y="82"/>
                        <a:pt x="1011" y="90"/>
                        <a:pt x="1026" y="84"/>
                      </a:cubicBezTo>
                      <a:cubicBezTo>
                        <a:pt x="1028" y="83"/>
                        <a:pt x="1051" y="70"/>
                        <a:pt x="1053" y="68"/>
                      </a:cubicBezTo>
                      <a:cubicBezTo>
                        <a:pt x="1059" y="62"/>
                        <a:pt x="1060" y="52"/>
                        <a:pt x="1066" y="45"/>
                      </a:cubicBezTo>
                      <a:cubicBezTo>
                        <a:pt x="1071" y="39"/>
                        <a:pt x="1082" y="41"/>
                        <a:pt x="1087" y="35"/>
                      </a:cubicBezTo>
                      <a:cubicBezTo>
                        <a:pt x="1098" y="21"/>
                        <a:pt x="1072" y="16"/>
                        <a:pt x="1070" y="7"/>
                      </a:cubicBezTo>
                      <a:cubicBezTo>
                        <a:pt x="1069" y="5"/>
                        <a:pt x="1070" y="3"/>
                        <a:pt x="1071" y="0"/>
                      </a:cubicBezTo>
                      <a:cubicBezTo>
                        <a:pt x="1825" y="0"/>
                        <a:pt x="1825" y="0"/>
                        <a:pt x="1825" y="0"/>
                      </a:cubicBezTo>
                      <a:cubicBezTo>
                        <a:pt x="1825" y="596"/>
                        <a:pt x="1825" y="596"/>
                        <a:pt x="1825" y="596"/>
                      </a:cubicBezTo>
                      <a:cubicBezTo>
                        <a:pt x="1821" y="596"/>
                        <a:pt x="1815" y="593"/>
                        <a:pt x="1810" y="603"/>
                      </a:cubicBezTo>
                      <a:cubicBezTo>
                        <a:pt x="1809" y="605"/>
                        <a:pt x="1817" y="608"/>
                        <a:pt x="1815" y="614"/>
                      </a:cubicBezTo>
                      <a:cubicBezTo>
                        <a:pt x="1811" y="627"/>
                        <a:pt x="1804" y="606"/>
                        <a:pt x="1801" y="619"/>
                      </a:cubicBezTo>
                      <a:cubicBezTo>
                        <a:pt x="1800" y="623"/>
                        <a:pt x="1808" y="629"/>
                        <a:pt x="1804" y="631"/>
                      </a:cubicBezTo>
                      <a:cubicBezTo>
                        <a:pt x="1802" y="631"/>
                        <a:pt x="1785" y="627"/>
                        <a:pt x="1786" y="625"/>
                      </a:cubicBezTo>
                      <a:cubicBezTo>
                        <a:pt x="1787" y="622"/>
                        <a:pt x="1790" y="621"/>
                        <a:pt x="1791" y="618"/>
                      </a:cubicBezTo>
                      <a:cubicBezTo>
                        <a:pt x="1792" y="615"/>
                        <a:pt x="1783" y="617"/>
                        <a:pt x="1775" y="606"/>
                      </a:cubicBezTo>
                      <a:cubicBezTo>
                        <a:pt x="1769" y="599"/>
                        <a:pt x="1782" y="602"/>
                        <a:pt x="1772" y="598"/>
                      </a:cubicBezTo>
                      <a:cubicBezTo>
                        <a:pt x="1766" y="595"/>
                        <a:pt x="1765" y="608"/>
                        <a:pt x="1752" y="598"/>
                      </a:cubicBezTo>
                      <a:cubicBezTo>
                        <a:pt x="1752" y="598"/>
                        <a:pt x="1745" y="588"/>
                        <a:pt x="1741" y="588"/>
                      </a:cubicBezTo>
                      <a:cubicBezTo>
                        <a:pt x="1736" y="587"/>
                        <a:pt x="1732" y="588"/>
                        <a:pt x="1728" y="586"/>
                      </a:cubicBezTo>
                      <a:cubicBezTo>
                        <a:pt x="1727" y="586"/>
                        <a:pt x="1726" y="578"/>
                        <a:pt x="1723" y="583"/>
                      </a:cubicBezTo>
                      <a:cubicBezTo>
                        <a:pt x="1718" y="594"/>
                        <a:pt x="1718" y="596"/>
                        <a:pt x="1719" y="606"/>
                      </a:cubicBezTo>
                      <a:cubicBezTo>
                        <a:pt x="1719" y="608"/>
                        <a:pt x="1722" y="610"/>
                        <a:pt x="1720" y="611"/>
                      </a:cubicBezTo>
                      <a:cubicBezTo>
                        <a:pt x="1712" y="619"/>
                        <a:pt x="1703" y="613"/>
                        <a:pt x="1694" y="618"/>
                      </a:cubicBezTo>
                      <a:cubicBezTo>
                        <a:pt x="1663" y="637"/>
                        <a:pt x="1701" y="618"/>
                        <a:pt x="1681" y="634"/>
                      </a:cubicBezTo>
                      <a:cubicBezTo>
                        <a:pt x="1680" y="635"/>
                        <a:pt x="1679" y="632"/>
                        <a:pt x="1678" y="632"/>
                      </a:cubicBezTo>
                      <a:cubicBezTo>
                        <a:pt x="1675" y="633"/>
                        <a:pt x="1672" y="634"/>
                        <a:pt x="1670" y="636"/>
                      </a:cubicBezTo>
                      <a:cubicBezTo>
                        <a:pt x="1667" y="639"/>
                        <a:pt x="1680" y="642"/>
                        <a:pt x="1680" y="644"/>
                      </a:cubicBezTo>
                      <a:cubicBezTo>
                        <a:pt x="1681" y="645"/>
                        <a:pt x="1676" y="643"/>
                        <a:pt x="1673" y="644"/>
                      </a:cubicBezTo>
                      <a:cubicBezTo>
                        <a:pt x="1671" y="644"/>
                        <a:pt x="1670" y="647"/>
                        <a:pt x="1668" y="648"/>
                      </a:cubicBezTo>
                      <a:cubicBezTo>
                        <a:pt x="1665" y="651"/>
                        <a:pt x="1675" y="656"/>
                        <a:pt x="1675" y="660"/>
                      </a:cubicBezTo>
                      <a:cubicBezTo>
                        <a:pt x="1676" y="666"/>
                        <a:pt x="1666" y="669"/>
                        <a:pt x="1666" y="674"/>
                      </a:cubicBezTo>
                      <a:cubicBezTo>
                        <a:pt x="1666" y="676"/>
                        <a:pt x="1667" y="677"/>
                        <a:pt x="1669" y="677"/>
                      </a:cubicBezTo>
                      <a:cubicBezTo>
                        <a:pt x="1675" y="677"/>
                        <a:pt x="1679" y="676"/>
                        <a:pt x="1677" y="686"/>
                      </a:cubicBezTo>
                      <a:cubicBezTo>
                        <a:pt x="1677" y="696"/>
                        <a:pt x="1668" y="690"/>
                        <a:pt x="1668" y="697"/>
                      </a:cubicBezTo>
                      <a:cubicBezTo>
                        <a:pt x="1668" y="719"/>
                        <a:pt x="1667" y="703"/>
                        <a:pt x="1659" y="720"/>
                      </a:cubicBezTo>
                      <a:cubicBezTo>
                        <a:pt x="1659" y="721"/>
                        <a:pt x="1662" y="723"/>
                        <a:pt x="1662" y="725"/>
                      </a:cubicBezTo>
                      <a:cubicBezTo>
                        <a:pt x="1660" y="733"/>
                        <a:pt x="1651" y="744"/>
                        <a:pt x="1647" y="752"/>
                      </a:cubicBezTo>
                      <a:cubicBezTo>
                        <a:pt x="1645" y="758"/>
                        <a:pt x="1641" y="764"/>
                        <a:pt x="1638" y="769"/>
                      </a:cubicBezTo>
                      <a:cubicBezTo>
                        <a:pt x="1638" y="771"/>
                        <a:pt x="1639" y="774"/>
                        <a:pt x="1637" y="775"/>
                      </a:cubicBezTo>
                      <a:cubicBezTo>
                        <a:pt x="1634" y="775"/>
                        <a:pt x="1634" y="770"/>
                        <a:pt x="1631" y="770"/>
                      </a:cubicBezTo>
                      <a:cubicBezTo>
                        <a:pt x="1627" y="770"/>
                        <a:pt x="1633" y="779"/>
                        <a:pt x="1632" y="783"/>
                      </a:cubicBezTo>
                      <a:cubicBezTo>
                        <a:pt x="1630" y="786"/>
                        <a:pt x="1625" y="787"/>
                        <a:pt x="1623" y="789"/>
                      </a:cubicBezTo>
                      <a:cubicBezTo>
                        <a:pt x="1621" y="790"/>
                        <a:pt x="1626" y="791"/>
                        <a:pt x="1626" y="793"/>
                      </a:cubicBezTo>
                      <a:cubicBezTo>
                        <a:pt x="1625" y="798"/>
                        <a:pt x="1617" y="798"/>
                        <a:pt x="1621" y="804"/>
                      </a:cubicBezTo>
                      <a:cubicBezTo>
                        <a:pt x="1624" y="808"/>
                        <a:pt x="1633" y="810"/>
                        <a:pt x="1632" y="815"/>
                      </a:cubicBezTo>
                      <a:cubicBezTo>
                        <a:pt x="1629" y="822"/>
                        <a:pt x="1625" y="817"/>
                        <a:pt x="1620" y="818"/>
                      </a:cubicBezTo>
                      <a:cubicBezTo>
                        <a:pt x="1614" y="819"/>
                        <a:pt x="1620" y="830"/>
                        <a:pt x="1611" y="831"/>
                      </a:cubicBezTo>
                      <a:cubicBezTo>
                        <a:pt x="1610" y="831"/>
                        <a:pt x="1610" y="829"/>
                        <a:pt x="1610" y="830"/>
                      </a:cubicBezTo>
                      <a:cubicBezTo>
                        <a:pt x="1607" y="838"/>
                        <a:pt x="1601" y="846"/>
                        <a:pt x="1597" y="854"/>
                      </a:cubicBezTo>
                      <a:cubicBezTo>
                        <a:pt x="1596" y="857"/>
                        <a:pt x="1610" y="855"/>
                        <a:pt x="1600" y="863"/>
                      </a:cubicBezTo>
                      <a:cubicBezTo>
                        <a:pt x="1598" y="864"/>
                        <a:pt x="1594" y="862"/>
                        <a:pt x="1591" y="864"/>
                      </a:cubicBezTo>
                      <a:cubicBezTo>
                        <a:pt x="1587" y="868"/>
                        <a:pt x="1590" y="875"/>
                        <a:pt x="1587" y="880"/>
                      </a:cubicBezTo>
                      <a:cubicBezTo>
                        <a:pt x="1586" y="881"/>
                        <a:pt x="1585" y="880"/>
                        <a:pt x="1584" y="881"/>
                      </a:cubicBezTo>
                      <a:cubicBezTo>
                        <a:pt x="1582" y="883"/>
                        <a:pt x="1580" y="885"/>
                        <a:pt x="1579" y="888"/>
                      </a:cubicBezTo>
                      <a:cubicBezTo>
                        <a:pt x="1578" y="889"/>
                        <a:pt x="1583" y="890"/>
                        <a:pt x="1582" y="892"/>
                      </a:cubicBezTo>
                      <a:cubicBezTo>
                        <a:pt x="1580" y="898"/>
                        <a:pt x="1565" y="905"/>
                        <a:pt x="1569" y="912"/>
                      </a:cubicBezTo>
                      <a:cubicBezTo>
                        <a:pt x="1570" y="915"/>
                        <a:pt x="1576" y="918"/>
                        <a:pt x="1577" y="921"/>
                      </a:cubicBezTo>
                      <a:cubicBezTo>
                        <a:pt x="1578" y="924"/>
                        <a:pt x="1570" y="923"/>
                        <a:pt x="1568" y="922"/>
                      </a:cubicBezTo>
                      <a:cubicBezTo>
                        <a:pt x="1566" y="920"/>
                        <a:pt x="1567" y="915"/>
                        <a:pt x="1565" y="916"/>
                      </a:cubicBezTo>
                      <a:cubicBezTo>
                        <a:pt x="1560" y="919"/>
                        <a:pt x="1553" y="923"/>
                        <a:pt x="1552" y="929"/>
                      </a:cubicBezTo>
                      <a:cubicBezTo>
                        <a:pt x="1552" y="932"/>
                        <a:pt x="1558" y="932"/>
                        <a:pt x="1558" y="935"/>
                      </a:cubicBezTo>
                      <a:cubicBezTo>
                        <a:pt x="1558" y="937"/>
                        <a:pt x="1554" y="939"/>
                        <a:pt x="1552" y="939"/>
                      </a:cubicBezTo>
                      <a:cubicBezTo>
                        <a:pt x="1550" y="939"/>
                        <a:pt x="1550" y="936"/>
                        <a:pt x="1548" y="937"/>
                      </a:cubicBezTo>
                      <a:cubicBezTo>
                        <a:pt x="1544" y="939"/>
                        <a:pt x="1544" y="946"/>
                        <a:pt x="1543" y="946"/>
                      </a:cubicBezTo>
                      <a:cubicBezTo>
                        <a:pt x="1541" y="946"/>
                        <a:pt x="1535" y="944"/>
                        <a:pt x="1534" y="944"/>
                      </a:cubicBezTo>
                      <a:cubicBezTo>
                        <a:pt x="1522" y="947"/>
                        <a:pt x="1535" y="960"/>
                        <a:pt x="1533" y="961"/>
                      </a:cubicBezTo>
                      <a:cubicBezTo>
                        <a:pt x="1527" y="963"/>
                        <a:pt x="1531" y="949"/>
                        <a:pt x="1526" y="963"/>
                      </a:cubicBezTo>
                      <a:cubicBezTo>
                        <a:pt x="1523" y="974"/>
                        <a:pt x="1539" y="959"/>
                        <a:pt x="1540" y="967"/>
                      </a:cubicBezTo>
                      <a:cubicBezTo>
                        <a:pt x="1540" y="970"/>
                        <a:pt x="1539" y="974"/>
                        <a:pt x="1540" y="977"/>
                      </a:cubicBezTo>
                      <a:cubicBezTo>
                        <a:pt x="1540" y="978"/>
                        <a:pt x="1543" y="979"/>
                        <a:pt x="1543" y="980"/>
                      </a:cubicBezTo>
                      <a:cubicBezTo>
                        <a:pt x="1542" y="982"/>
                        <a:pt x="1537" y="987"/>
                        <a:pt x="1539" y="987"/>
                      </a:cubicBezTo>
                      <a:cubicBezTo>
                        <a:pt x="1539" y="987"/>
                        <a:pt x="1556" y="977"/>
                        <a:pt x="1556" y="977"/>
                      </a:cubicBezTo>
                      <a:cubicBezTo>
                        <a:pt x="1557" y="976"/>
                        <a:pt x="1555" y="974"/>
                        <a:pt x="1555" y="972"/>
                      </a:cubicBezTo>
                      <a:cubicBezTo>
                        <a:pt x="1556" y="970"/>
                        <a:pt x="1563" y="964"/>
                        <a:pt x="1565" y="972"/>
                      </a:cubicBezTo>
                      <a:cubicBezTo>
                        <a:pt x="1566" y="975"/>
                        <a:pt x="1565" y="979"/>
                        <a:pt x="1563" y="981"/>
                      </a:cubicBezTo>
                      <a:cubicBezTo>
                        <a:pt x="1561" y="983"/>
                        <a:pt x="1559" y="979"/>
                        <a:pt x="1557" y="980"/>
                      </a:cubicBezTo>
                      <a:cubicBezTo>
                        <a:pt x="1552" y="981"/>
                        <a:pt x="1558" y="995"/>
                        <a:pt x="1563" y="996"/>
                      </a:cubicBezTo>
                      <a:cubicBezTo>
                        <a:pt x="1572" y="999"/>
                        <a:pt x="1580" y="985"/>
                        <a:pt x="1582" y="984"/>
                      </a:cubicBezTo>
                      <a:cubicBezTo>
                        <a:pt x="1585" y="983"/>
                        <a:pt x="1587" y="985"/>
                        <a:pt x="1590" y="984"/>
                      </a:cubicBezTo>
                      <a:cubicBezTo>
                        <a:pt x="1593" y="984"/>
                        <a:pt x="1601" y="974"/>
                        <a:pt x="1606" y="980"/>
                      </a:cubicBezTo>
                      <a:cubicBezTo>
                        <a:pt x="1615" y="992"/>
                        <a:pt x="1604" y="992"/>
                        <a:pt x="1600" y="994"/>
                      </a:cubicBezTo>
                      <a:cubicBezTo>
                        <a:pt x="1598" y="996"/>
                        <a:pt x="1598" y="1001"/>
                        <a:pt x="1595" y="1003"/>
                      </a:cubicBezTo>
                      <a:cubicBezTo>
                        <a:pt x="1593" y="1005"/>
                        <a:pt x="1589" y="1001"/>
                        <a:pt x="1586" y="1003"/>
                      </a:cubicBezTo>
                      <a:cubicBezTo>
                        <a:pt x="1583" y="1005"/>
                        <a:pt x="1582" y="1009"/>
                        <a:pt x="1580" y="1011"/>
                      </a:cubicBezTo>
                      <a:cubicBezTo>
                        <a:pt x="1578" y="1014"/>
                        <a:pt x="1574" y="1017"/>
                        <a:pt x="1574" y="1020"/>
                      </a:cubicBezTo>
                      <a:cubicBezTo>
                        <a:pt x="1573" y="1022"/>
                        <a:pt x="1578" y="1019"/>
                        <a:pt x="1579" y="1021"/>
                      </a:cubicBezTo>
                      <a:cubicBezTo>
                        <a:pt x="1583" y="1024"/>
                        <a:pt x="1571" y="1047"/>
                        <a:pt x="1580" y="1047"/>
                      </a:cubicBezTo>
                      <a:cubicBezTo>
                        <a:pt x="1582" y="1048"/>
                        <a:pt x="1583" y="1044"/>
                        <a:pt x="1586" y="1045"/>
                      </a:cubicBezTo>
                      <a:cubicBezTo>
                        <a:pt x="1588" y="1046"/>
                        <a:pt x="1588" y="1050"/>
                        <a:pt x="1591" y="1051"/>
                      </a:cubicBezTo>
                      <a:cubicBezTo>
                        <a:pt x="1593" y="1052"/>
                        <a:pt x="1595" y="1048"/>
                        <a:pt x="1597" y="1049"/>
                      </a:cubicBezTo>
                      <a:cubicBezTo>
                        <a:pt x="1601" y="1050"/>
                        <a:pt x="1606" y="1052"/>
                        <a:pt x="1608" y="1056"/>
                      </a:cubicBezTo>
                      <a:cubicBezTo>
                        <a:pt x="1608" y="1056"/>
                        <a:pt x="1605" y="1078"/>
                        <a:pt x="1604" y="1078"/>
                      </a:cubicBezTo>
                      <a:cubicBezTo>
                        <a:pt x="1603" y="1081"/>
                        <a:pt x="1599" y="1082"/>
                        <a:pt x="1598" y="1084"/>
                      </a:cubicBezTo>
                      <a:cubicBezTo>
                        <a:pt x="1595" y="1090"/>
                        <a:pt x="1599" y="1096"/>
                        <a:pt x="1597" y="1101"/>
                      </a:cubicBezTo>
                      <a:cubicBezTo>
                        <a:pt x="1595" y="1105"/>
                        <a:pt x="1586" y="1105"/>
                        <a:pt x="1593" y="1110"/>
                      </a:cubicBezTo>
                      <a:cubicBezTo>
                        <a:pt x="1602" y="1116"/>
                        <a:pt x="1606" y="1106"/>
                        <a:pt x="1615" y="1103"/>
                      </a:cubicBezTo>
                      <a:cubicBezTo>
                        <a:pt x="1620" y="1101"/>
                        <a:pt x="1613" y="1118"/>
                        <a:pt x="1619" y="1114"/>
                      </a:cubicBezTo>
                      <a:cubicBezTo>
                        <a:pt x="1627" y="1111"/>
                        <a:pt x="1632" y="1103"/>
                        <a:pt x="1640" y="1100"/>
                      </a:cubicBezTo>
                      <a:cubicBezTo>
                        <a:pt x="1643" y="1100"/>
                        <a:pt x="1645" y="1107"/>
                        <a:pt x="1649" y="1106"/>
                      </a:cubicBezTo>
                      <a:cubicBezTo>
                        <a:pt x="1667" y="1101"/>
                        <a:pt x="1648" y="1091"/>
                        <a:pt x="1677" y="1099"/>
                      </a:cubicBezTo>
                      <a:cubicBezTo>
                        <a:pt x="1678" y="1099"/>
                        <a:pt x="1680" y="1096"/>
                        <a:pt x="1681" y="1097"/>
                      </a:cubicBezTo>
                      <a:cubicBezTo>
                        <a:pt x="1682" y="1100"/>
                        <a:pt x="1679" y="1101"/>
                        <a:pt x="1679" y="1103"/>
                      </a:cubicBezTo>
                      <a:cubicBezTo>
                        <a:pt x="1680" y="1112"/>
                        <a:pt x="1698" y="1125"/>
                        <a:pt x="1695" y="1133"/>
                      </a:cubicBezTo>
                      <a:cubicBezTo>
                        <a:pt x="1691" y="1147"/>
                        <a:pt x="1679" y="1169"/>
                        <a:pt x="1664" y="1174"/>
                      </a:cubicBezTo>
                      <a:cubicBezTo>
                        <a:pt x="1656" y="1177"/>
                        <a:pt x="1653" y="1168"/>
                        <a:pt x="1647" y="1170"/>
                      </a:cubicBezTo>
                      <a:cubicBezTo>
                        <a:pt x="1641" y="1175"/>
                        <a:pt x="1662" y="1195"/>
                        <a:pt x="1647" y="1211"/>
                      </a:cubicBezTo>
                      <a:cubicBezTo>
                        <a:pt x="1635" y="1223"/>
                        <a:pt x="1653" y="1195"/>
                        <a:pt x="1637" y="1204"/>
                      </a:cubicBezTo>
                      <a:cubicBezTo>
                        <a:pt x="1631" y="1208"/>
                        <a:pt x="1625" y="1215"/>
                        <a:pt x="1616" y="1217"/>
                      </a:cubicBezTo>
                      <a:cubicBezTo>
                        <a:pt x="1614" y="1219"/>
                        <a:pt x="1612" y="1218"/>
                        <a:pt x="1609" y="1217"/>
                      </a:cubicBezTo>
                      <a:cubicBezTo>
                        <a:pt x="1608" y="1217"/>
                        <a:pt x="1607" y="1215"/>
                        <a:pt x="1606" y="1215"/>
                      </a:cubicBezTo>
                      <a:cubicBezTo>
                        <a:pt x="1604" y="1216"/>
                        <a:pt x="1603" y="1219"/>
                        <a:pt x="1602" y="1219"/>
                      </a:cubicBezTo>
                      <a:cubicBezTo>
                        <a:pt x="1600" y="1219"/>
                        <a:pt x="1600" y="1215"/>
                        <a:pt x="1599" y="1215"/>
                      </a:cubicBezTo>
                      <a:cubicBezTo>
                        <a:pt x="1598" y="1215"/>
                        <a:pt x="1597" y="1217"/>
                        <a:pt x="1596" y="1217"/>
                      </a:cubicBezTo>
                      <a:cubicBezTo>
                        <a:pt x="1595" y="1217"/>
                        <a:pt x="1594" y="1216"/>
                        <a:pt x="1593" y="1215"/>
                      </a:cubicBezTo>
                      <a:cubicBezTo>
                        <a:pt x="1591" y="1212"/>
                        <a:pt x="1592" y="1204"/>
                        <a:pt x="1585" y="1207"/>
                      </a:cubicBezTo>
                      <a:cubicBezTo>
                        <a:pt x="1583" y="1207"/>
                        <a:pt x="1581" y="1210"/>
                        <a:pt x="1578" y="1211"/>
                      </a:cubicBezTo>
                      <a:cubicBezTo>
                        <a:pt x="1577" y="1211"/>
                        <a:pt x="1576" y="1208"/>
                        <a:pt x="1574" y="1208"/>
                      </a:cubicBezTo>
                      <a:cubicBezTo>
                        <a:pt x="1573" y="1208"/>
                        <a:pt x="1573" y="1208"/>
                        <a:pt x="1573" y="1208"/>
                      </a:cubicBezTo>
                      <a:cubicBezTo>
                        <a:pt x="1573" y="1208"/>
                        <a:pt x="1573" y="1208"/>
                        <a:pt x="1573" y="1208"/>
                      </a:cubicBezTo>
                      <a:cubicBezTo>
                        <a:pt x="1573" y="1208"/>
                        <a:pt x="1573" y="1208"/>
                        <a:pt x="1573" y="1208"/>
                      </a:cubicBezTo>
                      <a:cubicBezTo>
                        <a:pt x="1566" y="1212"/>
                        <a:pt x="1573" y="1214"/>
                        <a:pt x="1573" y="1217"/>
                      </a:cubicBezTo>
                      <a:cubicBezTo>
                        <a:pt x="1569" y="1220"/>
                        <a:pt x="1561" y="1222"/>
                        <a:pt x="1560" y="1223"/>
                      </a:cubicBezTo>
                      <a:cubicBezTo>
                        <a:pt x="1559" y="1224"/>
                        <a:pt x="1559" y="1224"/>
                        <a:pt x="1559" y="1225"/>
                      </a:cubicBezTo>
                      <a:cubicBezTo>
                        <a:pt x="1563" y="1223"/>
                        <a:pt x="1571" y="1221"/>
                        <a:pt x="1573" y="1217"/>
                      </a:cubicBezTo>
                      <a:cubicBezTo>
                        <a:pt x="1570" y="1221"/>
                        <a:pt x="1558" y="1225"/>
                        <a:pt x="1557" y="1226"/>
                      </a:cubicBezTo>
                      <a:cubicBezTo>
                        <a:pt x="1553" y="1229"/>
                        <a:pt x="1562" y="1236"/>
                        <a:pt x="1564" y="1240"/>
                      </a:cubicBezTo>
                      <a:cubicBezTo>
                        <a:pt x="1563" y="1240"/>
                        <a:pt x="1561" y="1240"/>
                        <a:pt x="1560" y="1241"/>
                      </a:cubicBezTo>
                      <a:cubicBezTo>
                        <a:pt x="1560" y="1241"/>
                        <a:pt x="1560" y="1242"/>
                        <a:pt x="1560" y="1242"/>
                      </a:cubicBezTo>
                      <a:cubicBezTo>
                        <a:pt x="1560" y="1242"/>
                        <a:pt x="1561" y="1242"/>
                        <a:pt x="1563" y="1242"/>
                      </a:cubicBezTo>
                      <a:cubicBezTo>
                        <a:pt x="1560" y="1242"/>
                        <a:pt x="1558" y="1242"/>
                        <a:pt x="1557" y="1244"/>
                      </a:cubicBezTo>
                      <a:cubicBezTo>
                        <a:pt x="1556" y="1246"/>
                        <a:pt x="1558" y="1248"/>
                        <a:pt x="1557" y="1250"/>
                      </a:cubicBezTo>
                      <a:cubicBezTo>
                        <a:pt x="1552" y="1250"/>
                        <a:pt x="1540" y="1242"/>
                        <a:pt x="1539" y="1242"/>
                      </a:cubicBezTo>
                      <a:cubicBezTo>
                        <a:pt x="1538" y="1242"/>
                        <a:pt x="1537" y="1243"/>
                        <a:pt x="1536" y="1245"/>
                      </a:cubicBezTo>
                      <a:cubicBezTo>
                        <a:pt x="1534" y="1245"/>
                        <a:pt x="1533" y="1249"/>
                        <a:pt x="1531" y="1250"/>
                      </a:cubicBezTo>
                      <a:cubicBezTo>
                        <a:pt x="1532" y="1250"/>
                        <a:pt x="1532" y="1250"/>
                        <a:pt x="1532" y="1250"/>
                      </a:cubicBezTo>
                      <a:cubicBezTo>
                        <a:pt x="1530" y="1251"/>
                        <a:pt x="1525" y="1254"/>
                        <a:pt x="1524" y="1256"/>
                      </a:cubicBezTo>
                      <a:cubicBezTo>
                        <a:pt x="1525" y="1255"/>
                        <a:pt x="1527" y="1254"/>
                        <a:pt x="1529" y="1253"/>
                      </a:cubicBezTo>
                      <a:cubicBezTo>
                        <a:pt x="1525" y="1255"/>
                        <a:pt x="1520" y="1259"/>
                        <a:pt x="1520" y="1262"/>
                      </a:cubicBezTo>
                      <a:cubicBezTo>
                        <a:pt x="1521" y="1263"/>
                        <a:pt x="1525" y="1263"/>
                        <a:pt x="1525" y="1266"/>
                      </a:cubicBezTo>
                      <a:cubicBezTo>
                        <a:pt x="1521" y="1265"/>
                        <a:pt x="1516" y="1263"/>
                        <a:pt x="1516" y="1263"/>
                      </a:cubicBezTo>
                      <a:cubicBezTo>
                        <a:pt x="1514" y="1264"/>
                        <a:pt x="1514" y="1266"/>
                        <a:pt x="1515" y="1267"/>
                      </a:cubicBezTo>
                      <a:cubicBezTo>
                        <a:pt x="1513" y="1266"/>
                        <a:pt x="1513" y="1266"/>
                        <a:pt x="1512" y="1266"/>
                      </a:cubicBezTo>
                      <a:cubicBezTo>
                        <a:pt x="1509" y="1272"/>
                        <a:pt x="1520" y="1275"/>
                        <a:pt x="1516" y="1283"/>
                      </a:cubicBezTo>
                      <a:cubicBezTo>
                        <a:pt x="1516" y="1283"/>
                        <a:pt x="1516" y="1282"/>
                        <a:pt x="1516" y="1281"/>
                      </a:cubicBezTo>
                      <a:cubicBezTo>
                        <a:pt x="1514" y="1281"/>
                        <a:pt x="1512" y="1281"/>
                        <a:pt x="1512" y="1283"/>
                      </a:cubicBezTo>
                      <a:cubicBezTo>
                        <a:pt x="1511" y="1283"/>
                        <a:pt x="1511" y="1284"/>
                        <a:pt x="1511" y="1285"/>
                      </a:cubicBezTo>
                      <a:cubicBezTo>
                        <a:pt x="1512" y="1284"/>
                        <a:pt x="1512" y="1284"/>
                        <a:pt x="1513" y="1284"/>
                      </a:cubicBezTo>
                      <a:cubicBezTo>
                        <a:pt x="1511" y="1285"/>
                        <a:pt x="1509" y="1284"/>
                        <a:pt x="1509" y="1286"/>
                      </a:cubicBezTo>
                      <a:cubicBezTo>
                        <a:pt x="1507" y="1289"/>
                        <a:pt x="1514" y="1295"/>
                        <a:pt x="1514" y="1298"/>
                      </a:cubicBezTo>
                      <a:cubicBezTo>
                        <a:pt x="1514" y="1298"/>
                        <a:pt x="1510" y="1316"/>
                        <a:pt x="1509" y="1322"/>
                      </a:cubicBezTo>
                      <a:cubicBezTo>
                        <a:pt x="1505" y="1321"/>
                        <a:pt x="1501" y="1318"/>
                        <a:pt x="1498" y="1318"/>
                      </a:cubicBezTo>
                      <a:cubicBezTo>
                        <a:pt x="1497" y="1318"/>
                        <a:pt x="1496" y="1319"/>
                        <a:pt x="1496" y="1320"/>
                      </a:cubicBezTo>
                      <a:cubicBezTo>
                        <a:pt x="1496" y="1321"/>
                        <a:pt x="1497" y="1321"/>
                        <a:pt x="1499" y="1322"/>
                      </a:cubicBezTo>
                      <a:cubicBezTo>
                        <a:pt x="1497" y="1321"/>
                        <a:pt x="1496" y="1320"/>
                        <a:pt x="1495" y="1321"/>
                      </a:cubicBezTo>
                      <a:cubicBezTo>
                        <a:pt x="1494" y="1321"/>
                        <a:pt x="1494" y="1322"/>
                        <a:pt x="1493" y="1323"/>
                      </a:cubicBezTo>
                      <a:cubicBezTo>
                        <a:pt x="1493" y="1323"/>
                        <a:pt x="1493" y="1323"/>
                        <a:pt x="1493" y="1323"/>
                      </a:cubicBezTo>
                      <a:cubicBezTo>
                        <a:pt x="1486" y="1323"/>
                        <a:pt x="1454" y="1310"/>
                        <a:pt x="1449" y="1321"/>
                      </a:cubicBezTo>
                      <a:cubicBezTo>
                        <a:pt x="1453" y="1319"/>
                        <a:pt x="1458" y="1319"/>
                        <a:pt x="1465" y="1320"/>
                      </a:cubicBezTo>
                      <a:cubicBezTo>
                        <a:pt x="1455" y="1319"/>
                        <a:pt x="1447" y="1319"/>
                        <a:pt x="1446" y="1326"/>
                      </a:cubicBezTo>
                      <a:cubicBezTo>
                        <a:pt x="1445" y="1328"/>
                        <a:pt x="1445" y="1331"/>
                        <a:pt x="1448" y="1332"/>
                      </a:cubicBezTo>
                      <a:cubicBezTo>
                        <a:pt x="1449" y="1333"/>
                        <a:pt x="1454" y="1328"/>
                        <a:pt x="1457" y="1332"/>
                      </a:cubicBezTo>
                      <a:cubicBezTo>
                        <a:pt x="1460" y="1336"/>
                        <a:pt x="1470" y="1347"/>
                        <a:pt x="1469" y="1353"/>
                      </a:cubicBezTo>
                      <a:cubicBezTo>
                        <a:pt x="1468" y="1354"/>
                        <a:pt x="1467" y="1355"/>
                        <a:pt x="1466" y="1356"/>
                      </a:cubicBezTo>
                      <a:cubicBezTo>
                        <a:pt x="1467" y="1355"/>
                        <a:pt x="1468" y="1354"/>
                        <a:pt x="1468" y="1353"/>
                      </a:cubicBezTo>
                      <a:cubicBezTo>
                        <a:pt x="1465" y="1355"/>
                        <a:pt x="1462" y="1355"/>
                        <a:pt x="1460" y="1352"/>
                      </a:cubicBezTo>
                      <a:cubicBezTo>
                        <a:pt x="1457" y="1349"/>
                        <a:pt x="1456" y="1345"/>
                        <a:pt x="1454" y="1342"/>
                      </a:cubicBezTo>
                      <a:cubicBezTo>
                        <a:pt x="1454" y="1340"/>
                        <a:pt x="1456" y="1335"/>
                        <a:pt x="1453" y="1335"/>
                      </a:cubicBezTo>
                      <a:cubicBezTo>
                        <a:pt x="1453" y="1335"/>
                        <a:pt x="1436" y="1336"/>
                        <a:pt x="1436" y="1336"/>
                      </a:cubicBezTo>
                      <a:cubicBezTo>
                        <a:pt x="1436" y="1336"/>
                        <a:pt x="1435" y="1336"/>
                        <a:pt x="1432" y="1338"/>
                      </a:cubicBezTo>
                      <a:cubicBezTo>
                        <a:pt x="1421" y="1333"/>
                        <a:pt x="1435" y="1327"/>
                        <a:pt x="1415" y="1331"/>
                      </a:cubicBezTo>
                      <a:cubicBezTo>
                        <a:pt x="1411" y="1332"/>
                        <a:pt x="1408" y="1337"/>
                        <a:pt x="1404" y="1337"/>
                      </a:cubicBezTo>
                      <a:cubicBezTo>
                        <a:pt x="1387" y="1336"/>
                        <a:pt x="1403" y="1322"/>
                        <a:pt x="1380" y="1329"/>
                      </a:cubicBezTo>
                      <a:cubicBezTo>
                        <a:pt x="1374" y="1331"/>
                        <a:pt x="1355" y="1355"/>
                        <a:pt x="1350" y="1353"/>
                      </a:cubicBezTo>
                      <a:cubicBezTo>
                        <a:pt x="1344" y="1349"/>
                        <a:pt x="1339" y="1341"/>
                        <a:pt x="1332" y="1338"/>
                      </a:cubicBezTo>
                      <a:cubicBezTo>
                        <a:pt x="1331" y="1337"/>
                        <a:pt x="1332" y="1340"/>
                        <a:pt x="1332" y="1341"/>
                      </a:cubicBezTo>
                      <a:cubicBezTo>
                        <a:pt x="1331" y="1345"/>
                        <a:pt x="1330" y="1349"/>
                        <a:pt x="1327" y="1352"/>
                      </a:cubicBezTo>
                      <a:cubicBezTo>
                        <a:pt x="1325" y="1354"/>
                        <a:pt x="1322" y="1354"/>
                        <a:pt x="1320" y="1355"/>
                      </a:cubicBezTo>
                      <a:cubicBezTo>
                        <a:pt x="1312" y="1365"/>
                        <a:pt x="1326" y="1367"/>
                        <a:pt x="1322" y="1376"/>
                      </a:cubicBezTo>
                      <a:cubicBezTo>
                        <a:pt x="1319" y="1380"/>
                        <a:pt x="1316" y="1367"/>
                        <a:pt x="1313" y="1373"/>
                      </a:cubicBezTo>
                      <a:cubicBezTo>
                        <a:pt x="1310" y="1380"/>
                        <a:pt x="1315" y="1384"/>
                        <a:pt x="1305" y="1384"/>
                      </a:cubicBezTo>
                      <a:cubicBezTo>
                        <a:pt x="1294" y="1385"/>
                        <a:pt x="1310" y="1377"/>
                        <a:pt x="1303" y="1374"/>
                      </a:cubicBezTo>
                      <a:cubicBezTo>
                        <a:pt x="1291" y="1367"/>
                        <a:pt x="1293" y="1379"/>
                        <a:pt x="1284" y="1381"/>
                      </a:cubicBezTo>
                      <a:cubicBezTo>
                        <a:pt x="1280" y="1382"/>
                        <a:pt x="1277" y="1379"/>
                        <a:pt x="1273" y="1380"/>
                      </a:cubicBezTo>
                      <a:cubicBezTo>
                        <a:pt x="1272" y="1380"/>
                        <a:pt x="1282" y="1388"/>
                        <a:pt x="1282" y="1389"/>
                      </a:cubicBezTo>
                      <a:cubicBezTo>
                        <a:pt x="1278" y="1407"/>
                        <a:pt x="1279" y="1381"/>
                        <a:pt x="1273" y="1392"/>
                      </a:cubicBezTo>
                      <a:cubicBezTo>
                        <a:pt x="1269" y="1398"/>
                        <a:pt x="1277" y="1400"/>
                        <a:pt x="1277" y="1405"/>
                      </a:cubicBezTo>
                      <a:cubicBezTo>
                        <a:pt x="1277" y="1405"/>
                        <a:pt x="1274" y="1425"/>
                        <a:pt x="1273" y="1426"/>
                      </a:cubicBezTo>
                      <a:cubicBezTo>
                        <a:pt x="1271" y="1429"/>
                        <a:pt x="1267" y="1431"/>
                        <a:pt x="1265" y="1434"/>
                      </a:cubicBezTo>
                      <a:cubicBezTo>
                        <a:pt x="1263" y="1438"/>
                        <a:pt x="1265" y="1443"/>
                        <a:pt x="1263" y="1447"/>
                      </a:cubicBezTo>
                      <a:cubicBezTo>
                        <a:pt x="1260" y="1451"/>
                        <a:pt x="1251" y="1449"/>
                        <a:pt x="1249" y="1454"/>
                      </a:cubicBezTo>
                      <a:cubicBezTo>
                        <a:pt x="1245" y="1469"/>
                        <a:pt x="1259" y="1469"/>
                        <a:pt x="1258" y="1472"/>
                      </a:cubicBezTo>
                      <a:cubicBezTo>
                        <a:pt x="1257" y="1475"/>
                        <a:pt x="1255" y="1478"/>
                        <a:pt x="1253" y="1481"/>
                      </a:cubicBezTo>
                      <a:cubicBezTo>
                        <a:pt x="1253" y="1482"/>
                        <a:pt x="1251" y="1482"/>
                        <a:pt x="1250" y="1483"/>
                      </a:cubicBezTo>
                      <a:cubicBezTo>
                        <a:pt x="1250" y="1483"/>
                        <a:pt x="1247" y="1501"/>
                        <a:pt x="1246" y="1502"/>
                      </a:cubicBezTo>
                      <a:cubicBezTo>
                        <a:pt x="1244" y="1507"/>
                        <a:pt x="1233" y="1505"/>
                        <a:pt x="1233" y="1507"/>
                      </a:cubicBezTo>
                      <a:cubicBezTo>
                        <a:pt x="1233" y="1511"/>
                        <a:pt x="1239" y="1508"/>
                        <a:pt x="1239" y="1508"/>
                      </a:cubicBezTo>
                      <a:cubicBezTo>
                        <a:pt x="1243" y="1511"/>
                        <a:pt x="1256" y="1527"/>
                        <a:pt x="1260" y="1530"/>
                      </a:cubicBezTo>
                      <a:cubicBezTo>
                        <a:pt x="1261" y="1532"/>
                        <a:pt x="1260" y="1535"/>
                        <a:pt x="1262" y="1537"/>
                      </a:cubicBezTo>
                      <a:cubicBezTo>
                        <a:pt x="1266" y="1541"/>
                        <a:pt x="1267" y="1528"/>
                        <a:pt x="1270" y="1539"/>
                      </a:cubicBezTo>
                      <a:cubicBezTo>
                        <a:pt x="1271" y="1541"/>
                        <a:pt x="1271" y="1544"/>
                        <a:pt x="1270" y="1546"/>
                      </a:cubicBezTo>
                      <a:cubicBezTo>
                        <a:pt x="1256" y="1579"/>
                        <a:pt x="1248" y="1560"/>
                        <a:pt x="1228" y="1552"/>
                      </a:cubicBezTo>
                      <a:cubicBezTo>
                        <a:pt x="1226" y="1551"/>
                        <a:pt x="1203" y="1541"/>
                        <a:pt x="1201" y="1544"/>
                      </a:cubicBezTo>
                      <a:cubicBezTo>
                        <a:pt x="1199" y="1551"/>
                        <a:pt x="1194" y="1562"/>
                        <a:pt x="1199" y="1569"/>
                      </a:cubicBezTo>
                      <a:cubicBezTo>
                        <a:pt x="1200" y="1571"/>
                        <a:pt x="1205" y="1572"/>
                        <a:pt x="1205" y="1574"/>
                      </a:cubicBezTo>
                      <a:cubicBezTo>
                        <a:pt x="1206" y="1587"/>
                        <a:pt x="1196" y="1590"/>
                        <a:pt x="1196" y="1597"/>
                      </a:cubicBezTo>
                      <a:cubicBezTo>
                        <a:pt x="1196" y="1599"/>
                        <a:pt x="1210" y="1637"/>
                        <a:pt x="1210" y="1637"/>
                      </a:cubicBezTo>
                      <a:cubicBezTo>
                        <a:pt x="1213" y="1640"/>
                        <a:pt x="1224" y="1635"/>
                        <a:pt x="1227" y="1642"/>
                      </a:cubicBezTo>
                      <a:cubicBezTo>
                        <a:pt x="1231" y="1651"/>
                        <a:pt x="1225" y="1656"/>
                        <a:pt x="1224" y="1664"/>
                      </a:cubicBezTo>
                      <a:cubicBezTo>
                        <a:pt x="1223" y="1672"/>
                        <a:pt x="1227" y="1686"/>
                        <a:pt x="1228" y="1695"/>
                      </a:cubicBezTo>
                      <a:cubicBezTo>
                        <a:pt x="1229" y="1698"/>
                        <a:pt x="1228" y="1703"/>
                        <a:pt x="1230" y="1705"/>
                      </a:cubicBezTo>
                      <a:cubicBezTo>
                        <a:pt x="1232" y="1706"/>
                        <a:pt x="1259" y="1700"/>
                        <a:pt x="1263" y="1701"/>
                      </a:cubicBezTo>
                      <a:cubicBezTo>
                        <a:pt x="1267" y="1702"/>
                        <a:pt x="1264" y="1709"/>
                        <a:pt x="1267" y="1711"/>
                      </a:cubicBezTo>
                      <a:cubicBezTo>
                        <a:pt x="1269" y="1712"/>
                        <a:pt x="1271" y="1709"/>
                        <a:pt x="1272" y="1710"/>
                      </a:cubicBezTo>
                      <a:cubicBezTo>
                        <a:pt x="1273" y="1711"/>
                        <a:pt x="1272" y="1714"/>
                        <a:pt x="1272" y="1716"/>
                      </a:cubicBezTo>
                      <a:cubicBezTo>
                        <a:pt x="1271" y="1717"/>
                        <a:pt x="1268" y="1718"/>
                        <a:pt x="1269" y="1719"/>
                      </a:cubicBezTo>
                      <a:cubicBezTo>
                        <a:pt x="1271" y="1722"/>
                        <a:pt x="1276" y="1722"/>
                        <a:pt x="1279" y="1725"/>
                      </a:cubicBezTo>
                      <a:cubicBezTo>
                        <a:pt x="1280" y="1726"/>
                        <a:pt x="1278" y="1727"/>
                        <a:pt x="1277" y="1728"/>
                      </a:cubicBezTo>
                      <a:cubicBezTo>
                        <a:pt x="1277" y="1728"/>
                        <a:pt x="1278" y="1729"/>
                        <a:pt x="1278" y="1729"/>
                      </a:cubicBezTo>
                      <a:cubicBezTo>
                        <a:pt x="1279" y="1729"/>
                        <a:pt x="1294" y="1732"/>
                        <a:pt x="1294" y="1732"/>
                      </a:cubicBezTo>
                      <a:cubicBezTo>
                        <a:pt x="1295" y="1731"/>
                        <a:pt x="1289" y="1720"/>
                        <a:pt x="1290" y="1719"/>
                      </a:cubicBezTo>
                      <a:cubicBezTo>
                        <a:pt x="1294" y="1719"/>
                        <a:pt x="1298" y="1720"/>
                        <a:pt x="1303" y="1719"/>
                      </a:cubicBezTo>
                      <a:cubicBezTo>
                        <a:pt x="1310" y="1717"/>
                        <a:pt x="1314" y="1706"/>
                        <a:pt x="1323" y="1708"/>
                      </a:cubicBezTo>
                      <a:cubicBezTo>
                        <a:pt x="1345" y="1714"/>
                        <a:pt x="1354" y="1724"/>
                        <a:pt x="1372" y="1736"/>
                      </a:cubicBezTo>
                      <a:cubicBezTo>
                        <a:pt x="1380" y="1741"/>
                        <a:pt x="1391" y="1741"/>
                        <a:pt x="1397" y="1748"/>
                      </a:cubicBezTo>
                      <a:cubicBezTo>
                        <a:pt x="1400" y="1752"/>
                        <a:pt x="1392" y="1761"/>
                        <a:pt x="1389" y="1762"/>
                      </a:cubicBezTo>
                      <a:cubicBezTo>
                        <a:pt x="1386" y="1762"/>
                        <a:pt x="1379" y="1753"/>
                        <a:pt x="1376" y="1763"/>
                      </a:cubicBezTo>
                      <a:cubicBezTo>
                        <a:pt x="1372" y="1779"/>
                        <a:pt x="1407" y="1772"/>
                        <a:pt x="1419" y="1771"/>
                      </a:cubicBezTo>
                      <a:cubicBezTo>
                        <a:pt x="1419" y="1773"/>
                        <a:pt x="1420" y="1775"/>
                        <a:pt x="1421" y="1776"/>
                      </a:cubicBezTo>
                      <a:cubicBezTo>
                        <a:pt x="1421" y="1778"/>
                        <a:pt x="1422" y="1779"/>
                        <a:pt x="1422" y="1780"/>
                      </a:cubicBezTo>
                      <a:cubicBezTo>
                        <a:pt x="1422" y="1781"/>
                        <a:pt x="1422" y="1781"/>
                        <a:pt x="1422" y="1782"/>
                      </a:cubicBezTo>
                      <a:cubicBezTo>
                        <a:pt x="1423" y="1782"/>
                        <a:pt x="1423" y="1783"/>
                        <a:pt x="1423" y="1783"/>
                      </a:cubicBezTo>
                      <a:cubicBezTo>
                        <a:pt x="1423" y="1783"/>
                        <a:pt x="1423" y="1784"/>
                        <a:pt x="1423" y="1784"/>
                      </a:cubicBezTo>
                      <a:cubicBezTo>
                        <a:pt x="1423" y="1784"/>
                        <a:pt x="1423" y="1784"/>
                        <a:pt x="1423" y="1784"/>
                      </a:cubicBezTo>
                      <a:cubicBezTo>
                        <a:pt x="1423" y="1785"/>
                        <a:pt x="1423" y="1785"/>
                        <a:pt x="1423" y="1785"/>
                      </a:cubicBezTo>
                      <a:cubicBezTo>
                        <a:pt x="1423" y="1785"/>
                        <a:pt x="1423" y="1785"/>
                        <a:pt x="1423" y="1786"/>
                      </a:cubicBezTo>
                      <a:cubicBezTo>
                        <a:pt x="1424" y="1786"/>
                        <a:pt x="1424" y="1786"/>
                        <a:pt x="1424" y="1786"/>
                      </a:cubicBezTo>
                      <a:cubicBezTo>
                        <a:pt x="1424" y="1786"/>
                        <a:pt x="1424" y="1786"/>
                        <a:pt x="1424" y="1786"/>
                      </a:cubicBezTo>
                      <a:cubicBezTo>
                        <a:pt x="1424" y="1787"/>
                        <a:pt x="1424" y="1787"/>
                        <a:pt x="1424" y="1787"/>
                      </a:cubicBezTo>
                      <a:cubicBezTo>
                        <a:pt x="1424" y="1787"/>
                        <a:pt x="1424" y="1787"/>
                        <a:pt x="1424" y="1787"/>
                      </a:cubicBezTo>
                      <a:cubicBezTo>
                        <a:pt x="1422" y="1817"/>
                        <a:pt x="1413" y="1789"/>
                        <a:pt x="1410" y="1797"/>
                      </a:cubicBezTo>
                      <a:cubicBezTo>
                        <a:pt x="1409" y="1799"/>
                        <a:pt x="1417" y="1801"/>
                        <a:pt x="1414" y="1802"/>
                      </a:cubicBezTo>
                      <a:cubicBezTo>
                        <a:pt x="1408" y="1806"/>
                        <a:pt x="1407" y="1795"/>
                        <a:pt x="1406" y="1801"/>
                      </a:cubicBezTo>
                      <a:cubicBezTo>
                        <a:pt x="1404" y="1809"/>
                        <a:pt x="1417" y="1809"/>
                        <a:pt x="1421" y="1815"/>
                      </a:cubicBezTo>
                      <a:cubicBezTo>
                        <a:pt x="1425" y="1826"/>
                        <a:pt x="1409" y="1813"/>
                        <a:pt x="1407" y="1814"/>
                      </a:cubicBezTo>
                      <a:cubicBezTo>
                        <a:pt x="1402" y="1816"/>
                        <a:pt x="1406" y="1823"/>
                        <a:pt x="1404" y="1827"/>
                      </a:cubicBezTo>
                      <a:cubicBezTo>
                        <a:pt x="1404" y="1829"/>
                        <a:pt x="1400" y="1829"/>
                        <a:pt x="1399" y="1830"/>
                      </a:cubicBezTo>
                      <a:cubicBezTo>
                        <a:pt x="1398" y="1832"/>
                        <a:pt x="1401" y="1834"/>
                        <a:pt x="1400" y="1836"/>
                      </a:cubicBezTo>
                      <a:cubicBezTo>
                        <a:pt x="1398" y="1840"/>
                        <a:pt x="1395" y="1843"/>
                        <a:pt x="1392" y="1847"/>
                      </a:cubicBezTo>
                      <a:cubicBezTo>
                        <a:pt x="1385" y="1852"/>
                        <a:pt x="1385" y="1843"/>
                        <a:pt x="1384" y="1849"/>
                      </a:cubicBezTo>
                      <a:cubicBezTo>
                        <a:pt x="1384" y="1853"/>
                        <a:pt x="1389" y="1856"/>
                        <a:pt x="1387" y="1858"/>
                      </a:cubicBezTo>
                      <a:cubicBezTo>
                        <a:pt x="1382" y="1862"/>
                        <a:pt x="1377" y="1855"/>
                        <a:pt x="1373" y="1853"/>
                      </a:cubicBezTo>
                      <a:cubicBezTo>
                        <a:pt x="1371" y="1853"/>
                        <a:pt x="1368" y="1853"/>
                        <a:pt x="1369" y="1854"/>
                      </a:cubicBezTo>
                      <a:cubicBezTo>
                        <a:pt x="1372" y="1857"/>
                        <a:pt x="1376" y="1859"/>
                        <a:pt x="1379" y="1861"/>
                      </a:cubicBezTo>
                      <a:cubicBezTo>
                        <a:pt x="1380" y="1863"/>
                        <a:pt x="1382" y="1866"/>
                        <a:pt x="1380" y="1866"/>
                      </a:cubicBezTo>
                      <a:cubicBezTo>
                        <a:pt x="1379" y="1866"/>
                        <a:pt x="1378" y="1866"/>
                        <a:pt x="1376" y="1866"/>
                      </a:cubicBezTo>
                      <a:cubicBezTo>
                        <a:pt x="1376" y="1866"/>
                        <a:pt x="1376" y="1866"/>
                        <a:pt x="1377" y="1866"/>
                      </a:cubicBezTo>
                      <a:cubicBezTo>
                        <a:pt x="1373" y="1866"/>
                        <a:pt x="1370" y="1865"/>
                        <a:pt x="1367" y="1863"/>
                      </a:cubicBezTo>
                      <a:cubicBezTo>
                        <a:pt x="1366" y="1862"/>
                        <a:pt x="1369" y="1860"/>
                        <a:pt x="1368" y="1859"/>
                      </a:cubicBezTo>
                      <a:cubicBezTo>
                        <a:pt x="1366" y="1859"/>
                        <a:pt x="1361" y="1859"/>
                        <a:pt x="1362" y="1860"/>
                      </a:cubicBezTo>
                      <a:cubicBezTo>
                        <a:pt x="1366" y="1862"/>
                        <a:pt x="1370" y="1861"/>
                        <a:pt x="1374" y="1863"/>
                      </a:cubicBezTo>
                      <a:cubicBezTo>
                        <a:pt x="1375" y="1864"/>
                        <a:pt x="1376" y="1865"/>
                        <a:pt x="1377" y="1868"/>
                      </a:cubicBezTo>
                      <a:cubicBezTo>
                        <a:pt x="1378" y="1868"/>
                        <a:pt x="1378" y="1868"/>
                        <a:pt x="1378" y="1869"/>
                      </a:cubicBezTo>
                      <a:cubicBezTo>
                        <a:pt x="1378" y="1869"/>
                        <a:pt x="1378" y="1869"/>
                        <a:pt x="1378" y="1869"/>
                      </a:cubicBezTo>
                      <a:cubicBezTo>
                        <a:pt x="1378" y="1870"/>
                        <a:pt x="1378" y="1870"/>
                        <a:pt x="1378" y="1870"/>
                      </a:cubicBezTo>
                      <a:cubicBezTo>
                        <a:pt x="1378" y="1870"/>
                        <a:pt x="1378" y="1870"/>
                        <a:pt x="1378" y="1871"/>
                      </a:cubicBezTo>
                      <a:cubicBezTo>
                        <a:pt x="1378" y="1872"/>
                        <a:pt x="1378" y="1872"/>
                        <a:pt x="1378" y="1872"/>
                      </a:cubicBezTo>
                      <a:cubicBezTo>
                        <a:pt x="1378" y="1872"/>
                        <a:pt x="1378" y="1872"/>
                        <a:pt x="1378" y="1873"/>
                      </a:cubicBezTo>
                      <a:cubicBezTo>
                        <a:pt x="1379" y="1874"/>
                        <a:pt x="1379" y="1875"/>
                        <a:pt x="1379" y="1876"/>
                      </a:cubicBezTo>
                      <a:cubicBezTo>
                        <a:pt x="1379" y="1877"/>
                        <a:pt x="1379" y="1877"/>
                        <a:pt x="1379" y="1877"/>
                      </a:cubicBezTo>
                      <a:cubicBezTo>
                        <a:pt x="1379" y="1877"/>
                        <a:pt x="1379" y="1877"/>
                        <a:pt x="1379" y="1878"/>
                      </a:cubicBezTo>
                      <a:cubicBezTo>
                        <a:pt x="1379" y="1878"/>
                        <a:pt x="1379" y="1878"/>
                        <a:pt x="1379" y="1878"/>
                      </a:cubicBezTo>
                      <a:cubicBezTo>
                        <a:pt x="1379" y="1879"/>
                        <a:pt x="1379" y="1879"/>
                        <a:pt x="1379" y="1879"/>
                      </a:cubicBezTo>
                      <a:cubicBezTo>
                        <a:pt x="1379" y="1879"/>
                        <a:pt x="1379" y="1879"/>
                        <a:pt x="1379" y="1879"/>
                      </a:cubicBezTo>
                      <a:cubicBezTo>
                        <a:pt x="1378" y="1881"/>
                        <a:pt x="1374" y="1880"/>
                        <a:pt x="1374" y="1882"/>
                      </a:cubicBezTo>
                      <a:cubicBezTo>
                        <a:pt x="1374" y="1883"/>
                        <a:pt x="1378" y="1881"/>
                        <a:pt x="1379" y="1882"/>
                      </a:cubicBezTo>
                      <a:cubicBezTo>
                        <a:pt x="1380" y="1884"/>
                        <a:pt x="1378" y="1887"/>
                        <a:pt x="1378" y="1890"/>
                      </a:cubicBezTo>
                      <a:cubicBezTo>
                        <a:pt x="1379" y="1892"/>
                        <a:pt x="1382" y="1894"/>
                        <a:pt x="1382" y="1898"/>
                      </a:cubicBezTo>
                      <a:cubicBezTo>
                        <a:pt x="1383" y="1899"/>
                        <a:pt x="1379" y="1898"/>
                        <a:pt x="1379" y="1899"/>
                      </a:cubicBezTo>
                      <a:cubicBezTo>
                        <a:pt x="1378" y="1905"/>
                        <a:pt x="1383" y="1911"/>
                        <a:pt x="1382" y="1917"/>
                      </a:cubicBezTo>
                      <a:cubicBezTo>
                        <a:pt x="1382" y="1918"/>
                        <a:pt x="1378" y="1918"/>
                        <a:pt x="1378" y="1920"/>
                      </a:cubicBezTo>
                      <a:cubicBezTo>
                        <a:pt x="1378" y="1925"/>
                        <a:pt x="1387" y="1932"/>
                        <a:pt x="1383" y="1932"/>
                      </a:cubicBezTo>
                      <a:cubicBezTo>
                        <a:pt x="1379" y="1931"/>
                        <a:pt x="1377" y="1923"/>
                        <a:pt x="1374" y="1925"/>
                      </a:cubicBezTo>
                      <a:cubicBezTo>
                        <a:pt x="1371" y="1928"/>
                        <a:pt x="1378" y="1932"/>
                        <a:pt x="1378" y="1936"/>
                      </a:cubicBezTo>
                      <a:cubicBezTo>
                        <a:pt x="1378" y="1945"/>
                        <a:pt x="1364" y="1949"/>
                        <a:pt x="1374" y="1960"/>
                      </a:cubicBezTo>
                      <a:cubicBezTo>
                        <a:pt x="1385" y="1973"/>
                        <a:pt x="1379" y="1960"/>
                        <a:pt x="1394" y="1961"/>
                      </a:cubicBezTo>
                      <a:cubicBezTo>
                        <a:pt x="1398" y="1961"/>
                        <a:pt x="1399" y="1967"/>
                        <a:pt x="1402" y="1968"/>
                      </a:cubicBezTo>
                      <a:cubicBezTo>
                        <a:pt x="1405" y="1969"/>
                        <a:pt x="1407" y="1965"/>
                        <a:pt x="1409" y="1965"/>
                      </a:cubicBezTo>
                      <a:cubicBezTo>
                        <a:pt x="1413" y="1967"/>
                        <a:pt x="1413" y="1971"/>
                        <a:pt x="1416" y="1973"/>
                      </a:cubicBezTo>
                      <a:cubicBezTo>
                        <a:pt x="1421" y="1977"/>
                        <a:pt x="1437" y="1986"/>
                        <a:pt x="1437" y="1988"/>
                      </a:cubicBezTo>
                      <a:cubicBezTo>
                        <a:pt x="1438" y="2002"/>
                        <a:pt x="1431" y="2001"/>
                        <a:pt x="1441" y="2008"/>
                      </a:cubicBezTo>
                      <a:cubicBezTo>
                        <a:pt x="1442" y="2009"/>
                        <a:pt x="1443" y="2008"/>
                        <a:pt x="1443" y="2008"/>
                      </a:cubicBezTo>
                      <a:cubicBezTo>
                        <a:pt x="1442" y="2002"/>
                        <a:pt x="1435" y="1981"/>
                        <a:pt x="1435" y="1981"/>
                      </a:cubicBezTo>
                      <a:cubicBezTo>
                        <a:pt x="1436" y="1978"/>
                        <a:pt x="1441" y="1974"/>
                        <a:pt x="1443" y="1976"/>
                      </a:cubicBezTo>
                      <a:cubicBezTo>
                        <a:pt x="1445" y="1980"/>
                        <a:pt x="1442" y="1985"/>
                        <a:pt x="1443" y="1989"/>
                      </a:cubicBezTo>
                      <a:cubicBezTo>
                        <a:pt x="1443" y="1993"/>
                        <a:pt x="1444" y="1997"/>
                        <a:pt x="1445" y="2001"/>
                      </a:cubicBezTo>
                      <a:cubicBezTo>
                        <a:pt x="1447" y="2006"/>
                        <a:pt x="1447" y="2016"/>
                        <a:pt x="1452" y="2020"/>
                      </a:cubicBezTo>
                      <a:cubicBezTo>
                        <a:pt x="1454" y="2021"/>
                        <a:pt x="1457" y="2015"/>
                        <a:pt x="1457" y="2017"/>
                      </a:cubicBezTo>
                      <a:cubicBezTo>
                        <a:pt x="1458" y="2027"/>
                        <a:pt x="1451" y="2029"/>
                        <a:pt x="1461" y="2039"/>
                      </a:cubicBezTo>
                      <a:cubicBezTo>
                        <a:pt x="1464" y="2042"/>
                        <a:pt x="1469" y="2042"/>
                        <a:pt x="1472" y="2042"/>
                      </a:cubicBezTo>
                      <a:cubicBezTo>
                        <a:pt x="1474" y="2043"/>
                        <a:pt x="1476" y="2041"/>
                        <a:pt x="1477" y="2042"/>
                      </a:cubicBezTo>
                      <a:cubicBezTo>
                        <a:pt x="1478" y="2044"/>
                        <a:pt x="1483" y="2056"/>
                        <a:pt x="1487" y="2057"/>
                      </a:cubicBezTo>
                      <a:cubicBezTo>
                        <a:pt x="1490" y="2058"/>
                        <a:pt x="1492" y="2055"/>
                        <a:pt x="1494" y="2055"/>
                      </a:cubicBezTo>
                      <a:cubicBezTo>
                        <a:pt x="1500" y="2057"/>
                        <a:pt x="1526" y="2072"/>
                        <a:pt x="1532" y="2076"/>
                      </a:cubicBezTo>
                      <a:cubicBezTo>
                        <a:pt x="1535" y="2079"/>
                        <a:pt x="1538" y="2084"/>
                        <a:pt x="1542" y="2085"/>
                      </a:cubicBezTo>
                      <a:cubicBezTo>
                        <a:pt x="1545" y="2087"/>
                        <a:pt x="1548" y="2084"/>
                        <a:pt x="1551" y="2084"/>
                      </a:cubicBezTo>
                      <a:cubicBezTo>
                        <a:pt x="1552" y="2084"/>
                        <a:pt x="1552" y="2084"/>
                        <a:pt x="1552" y="2084"/>
                      </a:cubicBezTo>
                      <a:cubicBezTo>
                        <a:pt x="1552" y="2084"/>
                        <a:pt x="1552" y="2084"/>
                        <a:pt x="1552" y="2084"/>
                      </a:cubicBezTo>
                      <a:cubicBezTo>
                        <a:pt x="1552" y="2084"/>
                        <a:pt x="1552" y="2084"/>
                        <a:pt x="1553" y="2084"/>
                      </a:cubicBezTo>
                      <a:cubicBezTo>
                        <a:pt x="1554" y="2084"/>
                        <a:pt x="1554" y="2084"/>
                        <a:pt x="1555" y="2084"/>
                      </a:cubicBezTo>
                      <a:cubicBezTo>
                        <a:pt x="1555" y="2086"/>
                        <a:pt x="1555" y="2086"/>
                        <a:pt x="1555" y="2086"/>
                      </a:cubicBezTo>
                      <a:cubicBezTo>
                        <a:pt x="1546" y="2118"/>
                        <a:pt x="1552" y="2101"/>
                        <a:pt x="1543" y="2125"/>
                      </a:cubicBezTo>
                      <a:cubicBezTo>
                        <a:pt x="1541" y="2130"/>
                        <a:pt x="1545" y="2145"/>
                        <a:pt x="1543" y="2146"/>
                      </a:cubicBezTo>
                      <a:cubicBezTo>
                        <a:pt x="1538" y="2153"/>
                        <a:pt x="1517" y="2163"/>
                        <a:pt x="1509" y="2157"/>
                      </a:cubicBezTo>
                      <a:cubicBezTo>
                        <a:pt x="1496" y="2147"/>
                        <a:pt x="1527" y="2152"/>
                        <a:pt x="1494" y="2144"/>
                      </a:cubicBezTo>
                      <a:cubicBezTo>
                        <a:pt x="1492" y="2143"/>
                        <a:pt x="1492" y="2147"/>
                        <a:pt x="1491" y="2147"/>
                      </a:cubicBezTo>
                      <a:cubicBezTo>
                        <a:pt x="1490" y="2147"/>
                        <a:pt x="1477" y="2143"/>
                        <a:pt x="1473" y="2141"/>
                      </a:cubicBezTo>
                      <a:cubicBezTo>
                        <a:pt x="1462" y="2136"/>
                        <a:pt x="1462" y="2136"/>
                        <a:pt x="1462" y="2136"/>
                      </a:cubicBezTo>
                      <a:close/>
                      <a:moveTo>
                        <a:pt x="237" y="1058"/>
                      </a:moveTo>
                      <a:cubicBezTo>
                        <a:pt x="241" y="1058"/>
                        <a:pt x="254" y="1061"/>
                        <a:pt x="255" y="1061"/>
                      </a:cubicBezTo>
                      <a:cubicBezTo>
                        <a:pt x="261" y="1064"/>
                        <a:pt x="266" y="1071"/>
                        <a:pt x="273" y="1074"/>
                      </a:cubicBezTo>
                      <a:cubicBezTo>
                        <a:pt x="284" y="1079"/>
                        <a:pt x="299" y="1077"/>
                        <a:pt x="308" y="1086"/>
                      </a:cubicBezTo>
                      <a:cubicBezTo>
                        <a:pt x="313" y="1090"/>
                        <a:pt x="318" y="1094"/>
                        <a:pt x="322" y="1099"/>
                      </a:cubicBezTo>
                      <a:cubicBezTo>
                        <a:pt x="324" y="1101"/>
                        <a:pt x="323" y="1105"/>
                        <a:pt x="325" y="1108"/>
                      </a:cubicBezTo>
                      <a:cubicBezTo>
                        <a:pt x="327" y="1109"/>
                        <a:pt x="331" y="1108"/>
                        <a:pt x="332" y="1111"/>
                      </a:cubicBezTo>
                      <a:cubicBezTo>
                        <a:pt x="333" y="1115"/>
                        <a:pt x="333" y="1120"/>
                        <a:pt x="330" y="1124"/>
                      </a:cubicBezTo>
                      <a:cubicBezTo>
                        <a:pt x="329" y="1126"/>
                        <a:pt x="323" y="1123"/>
                        <a:pt x="323" y="1125"/>
                      </a:cubicBezTo>
                      <a:cubicBezTo>
                        <a:pt x="322" y="1128"/>
                        <a:pt x="327" y="1129"/>
                        <a:pt x="329" y="1131"/>
                      </a:cubicBezTo>
                      <a:cubicBezTo>
                        <a:pt x="330" y="1133"/>
                        <a:pt x="329" y="1135"/>
                        <a:pt x="330" y="1137"/>
                      </a:cubicBezTo>
                      <a:cubicBezTo>
                        <a:pt x="330" y="1140"/>
                        <a:pt x="331" y="1145"/>
                        <a:pt x="330" y="1149"/>
                      </a:cubicBezTo>
                      <a:cubicBezTo>
                        <a:pt x="325" y="1164"/>
                        <a:pt x="307" y="1144"/>
                        <a:pt x="300" y="1154"/>
                      </a:cubicBezTo>
                      <a:cubicBezTo>
                        <a:pt x="293" y="1164"/>
                        <a:pt x="304" y="1178"/>
                        <a:pt x="300" y="1180"/>
                      </a:cubicBezTo>
                      <a:cubicBezTo>
                        <a:pt x="294" y="1184"/>
                        <a:pt x="284" y="1185"/>
                        <a:pt x="283" y="1185"/>
                      </a:cubicBezTo>
                      <a:cubicBezTo>
                        <a:pt x="282" y="1182"/>
                        <a:pt x="286" y="1180"/>
                        <a:pt x="285" y="1177"/>
                      </a:cubicBezTo>
                      <a:cubicBezTo>
                        <a:pt x="284" y="1174"/>
                        <a:pt x="283" y="1172"/>
                        <a:pt x="281" y="1169"/>
                      </a:cubicBezTo>
                      <a:cubicBezTo>
                        <a:pt x="279" y="1168"/>
                        <a:pt x="276" y="1168"/>
                        <a:pt x="274" y="1167"/>
                      </a:cubicBezTo>
                      <a:cubicBezTo>
                        <a:pt x="266" y="1158"/>
                        <a:pt x="265" y="1151"/>
                        <a:pt x="260" y="1146"/>
                      </a:cubicBezTo>
                      <a:cubicBezTo>
                        <a:pt x="258" y="1144"/>
                        <a:pt x="249" y="1139"/>
                        <a:pt x="248" y="1137"/>
                      </a:cubicBezTo>
                      <a:cubicBezTo>
                        <a:pt x="245" y="1134"/>
                        <a:pt x="247" y="1130"/>
                        <a:pt x="245" y="1127"/>
                      </a:cubicBezTo>
                      <a:cubicBezTo>
                        <a:pt x="237" y="1116"/>
                        <a:pt x="223" y="1115"/>
                        <a:pt x="214" y="1107"/>
                      </a:cubicBezTo>
                      <a:cubicBezTo>
                        <a:pt x="212" y="1105"/>
                        <a:pt x="221" y="1111"/>
                        <a:pt x="220" y="1109"/>
                      </a:cubicBezTo>
                      <a:cubicBezTo>
                        <a:pt x="219" y="1106"/>
                        <a:pt x="212" y="1107"/>
                        <a:pt x="212" y="1104"/>
                      </a:cubicBezTo>
                      <a:cubicBezTo>
                        <a:pt x="212" y="1095"/>
                        <a:pt x="230" y="1082"/>
                        <a:pt x="232" y="1074"/>
                      </a:cubicBezTo>
                      <a:cubicBezTo>
                        <a:pt x="232" y="1073"/>
                        <a:pt x="228" y="1074"/>
                        <a:pt x="228" y="1073"/>
                      </a:cubicBezTo>
                      <a:cubicBezTo>
                        <a:pt x="228" y="1070"/>
                        <a:pt x="230" y="1067"/>
                        <a:pt x="231" y="1065"/>
                      </a:cubicBezTo>
                      <a:cubicBezTo>
                        <a:pt x="231" y="1062"/>
                        <a:pt x="231" y="1058"/>
                        <a:pt x="233" y="1057"/>
                      </a:cubicBezTo>
                      <a:cubicBezTo>
                        <a:pt x="234" y="1056"/>
                        <a:pt x="239" y="1057"/>
                        <a:pt x="237" y="1058"/>
                      </a:cubicBezTo>
                      <a:close/>
                      <a:moveTo>
                        <a:pt x="446" y="0"/>
                      </a:moveTo>
                      <a:cubicBezTo>
                        <a:pt x="438" y="0"/>
                        <a:pt x="438" y="0"/>
                        <a:pt x="438" y="0"/>
                      </a:cubicBezTo>
                      <a:cubicBezTo>
                        <a:pt x="436" y="3"/>
                        <a:pt x="434" y="5"/>
                        <a:pt x="430" y="3"/>
                      </a:cubicBezTo>
                      <a:cubicBezTo>
                        <a:pt x="429" y="3"/>
                        <a:pt x="428" y="2"/>
                        <a:pt x="427" y="0"/>
                      </a:cubicBezTo>
                      <a:cubicBezTo>
                        <a:pt x="392" y="0"/>
                        <a:pt x="392" y="0"/>
                        <a:pt x="392" y="0"/>
                      </a:cubicBezTo>
                      <a:cubicBezTo>
                        <a:pt x="392" y="1"/>
                        <a:pt x="392" y="2"/>
                        <a:pt x="392" y="2"/>
                      </a:cubicBezTo>
                      <a:cubicBezTo>
                        <a:pt x="391" y="11"/>
                        <a:pt x="374" y="13"/>
                        <a:pt x="381" y="26"/>
                      </a:cubicBezTo>
                      <a:cubicBezTo>
                        <a:pt x="383" y="31"/>
                        <a:pt x="386" y="35"/>
                        <a:pt x="390" y="37"/>
                      </a:cubicBezTo>
                      <a:cubicBezTo>
                        <a:pt x="391" y="38"/>
                        <a:pt x="394" y="35"/>
                        <a:pt x="395" y="36"/>
                      </a:cubicBezTo>
                      <a:cubicBezTo>
                        <a:pt x="396" y="36"/>
                        <a:pt x="395" y="38"/>
                        <a:pt x="395" y="39"/>
                      </a:cubicBezTo>
                      <a:cubicBezTo>
                        <a:pt x="396" y="40"/>
                        <a:pt x="399" y="38"/>
                        <a:pt x="398" y="39"/>
                      </a:cubicBezTo>
                      <a:cubicBezTo>
                        <a:pt x="395" y="41"/>
                        <a:pt x="391" y="40"/>
                        <a:pt x="389" y="43"/>
                      </a:cubicBezTo>
                      <a:cubicBezTo>
                        <a:pt x="387" y="44"/>
                        <a:pt x="383" y="59"/>
                        <a:pt x="388" y="61"/>
                      </a:cubicBezTo>
                      <a:cubicBezTo>
                        <a:pt x="394" y="63"/>
                        <a:pt x="401" y="51"/>
                        <a:pt x="407" y="55"/>
                      </a:cubicBezTo>
                      <a:cubicBezTo>
                        <a:pt x="408" y="55"/>
                        <a:pt x="407" y="58"/>
                        <a:pt x="407" y="59"/>
                      </a:cubicBezTo>
                      <a:cubicBezTo>
                        <a:pt x="407" y="63"/>
                        <a:pt x="403" y="68"/>
                        <a:pt x="405" y="72"/>
                      </a:cubicBezTo>
                      <a:cubicBezTo>
                        <a:pt x="407" y="75"/>
                        <a:pt x="414" y="73"/>
                        <a:pt x="415" y="77"/>
                      </a:cubicBezTo>
                      <a:cubicBezTo>
                        <a:pt x="416" y="80"/>
                        <a:pt x="410" y="83"/>
                        <a:pt x="411" y="87"/>
                      </a:cubicBezTo>
                      <a:cubicBezTo>
                        <a:pt x="411" y="90"/>
                        <a:pt x="414" y="93"/>
                        <a:pt x="416" y="95"/>
                      </a:cubicBezTo>
                      <a:cubicBezTo>
                        <a:pt x="417" y="97"/>
                        <a:pt x="421" y="98"/>
                        <a:pt x="420" y="98"/>
                      </a:cubicBezTo>
                      <a:cubicBezTo>
                        <a:pt x="416" y="101"/>
                        <a:pt x="410" y="98"/>
                        <a:pt x="406" y="101"/>
                      </a:cubicBezTo>
                      <a:cubicBezTo>
                        <a:pt x="399" y="107"/>
                        <a:pt x="413" y="126"/>
                        <a:pt x="416" y="130"/>
                      </a:cubicBezTo>
                      <a:cubicBezTo>
                        <a:pt x="422" y="136"/>
                        <a:pt x="445" y="157"/>
                        <a:pt x="450" y="134"/>
                      </a:cubicBezTo>
                      <a:cubicBezTo>
                        <a:pt x="450" y="131"/>
                        <a:pt x="440" y="126"/>
                        <a:pt x="443" y="123"/>
                      </a:cubicBezTo>
                      <a:cubicBezTo>
                        <a:pt x="447" y="120"/>
                        <a:pt x="450" y="129"/>
                        <a:pt x="454" y="131"/>
                      </a:cubicBezTo>
                      <a:cubicBezTo>
                        <a:pt x="458" y="133"/>
                        <a:pt x="465" y="134"/>
                        <a:pt x="465" y="127"/>
                      </a:cubicBezTo>
                      <a:cubicBezTo>
                        <a:pt x="465" y="123"/>
                        <a:pt x="462" y="119"/>
                        <a:pt x="462" y="115"/>
                      </a:cubicBezTo>
                      <a:cubicBezTo>
                        <a:pt x="462" y="112"/>
                        <a:pt x="464" y="121"/>
                        <a:pt x="466" y="123"/>
                      </a:cubicBezTo>
                      <a:cubicBezTo>
                        <a:pt x="468" y="126"/>
                        <a:pt x="471" y="128"/>
                        <a:pt x="475" y="129"/>
                      </a:cubicBezTo>
                      <a:cubicBezTo>
                        <a:pt x="476" y="130"/>
                        <a:pt x="478" y="131"/>
                        <a:pt x="478" y="129"/>
                      </a:cubicBezTo>
                      <a:cubicBezTo>
                        <a:pt x="478" y="128"/>
                        <a:pt x="478" y="125"/>
                        <a:pt x="478" y="123"/>
                      </a:cubicBezTo>
                      <a:cubicBezTo>
                        <a:pt x="478" y="124"/>
                        <a:pt x="479" y="125"/>
                        <a:pt x="480" y="127"/>
                      </a:cubicBezTo>
                      <a:cubicBezTo>
                        <a:pt x="480" y="129"/>
                        <a:pt x="477" y="132"/>
                        <a:pt x="479" y="132"/>
                      </a:cubicBezTo>
                      <a:cubicBezTo>
                        <a:pt x="484" y="133"/>
                        <a:pt x="489" y="132"/>
                        <a:pt x="493" y="129"/>
                      </a:cubicBezTo>
                      <a:cubicBezTo>
                        <a:pt x="493" y="129"/>
                        <a:pt x="493" y="128"/>
                        <a:pt x="493" y="128"/>
                      </a:cubicBezTo>
                      <a:cubicBezTo>
                        <a:pt x="495" y="129"/>
                        <a:pt x="502" y="125"/>
                        <a:pt x="500" y="128"/>
                      </a:cubicBezTo>
                      <a:cubicBezTo>
                        <a:pt x="497" y="133"/>
                        <a:pt x="484" y="136"/>
                        <a:pt x="487" y="140"/>
                      </a:cubicBezTo>
                      <a:cubicBezTo>
                        <a:pt x="490" y="144"/>
                        <a:pt x="497" y="141"/>
                        <a:pt x="499" y="145"/>
                      </a:cubicBezTo>
                      <a:cubicBezTo>
                        <a:pt x="502" y="148"/>
                        <a:pt x="498" y="154"/>
                        <a:pt x="501" y="157"/>
                      </a:cubicBezTo>
                      <a:cubicBezTo>
                        <a:pt x="503" y="159"/>
                        <a:pt x="505" y="152"/>
                        <a:pt x="508" y="151"/>
                      </a:cubicBezTo>
                      <a:cubicBezTo>
                        <a:pt x="511" y="150"/>
                        <a:pt x="513" y="153"/>
                        <a:pt x="516" y="153"/>
                      </a:cubicBezTo>
                      <a:cubicBezTo>
                        <a:pt x="518" y="153"/>
                        <a:pt x="520" y="151"/>
                        <a:pt x="520" y="149"/>
                      </a:cubicBezTo>
                      <a:cubicBezTo>
                        <a:pt x="520" y="149"/>
                        <a:pt x="518" y="148"/>
                        <a:pt x="519" y="148"/>
                      </a:cubicBezTo>
                      <a:cubicBezTo>
                        <a:pt x="523" y="147"/>
                        <a:pt x="544" y="149"/>
                        <a:pt x="546" y="146"/>
                      </a:cubicBezTo>
                      <a:cubicBezTo>
                        <a:pt x="549" y="142"/>
                        <a:pt x="536" y="134"/>
                        <a:pt x="540" y="131"/>
                      </a:cubicBezTo>
                      <a:cubicBezTo>
                        <a:pt x="547" y="127"/>
                        <a:pt x="561" y="125"/>
                        <a:pt x="568" y="123"/>
                      </a:cubicBezTo>
                      <a:cubicBezTo>
                        <a:pt x="566" y="121"/>
                        <a:pt x="563" y="121"/>
                        <a:pt x="559" y="121"/>
                      </a:cubicBezTo>
                      <a:cubicBezTo>
                        <a:pt x="559" y="120"/>
                        <a:pt x="557" y="122"/>
                        <a:pt x="557" y="121"/>
                      </a:cubicBezTo>
                      <a:cubicBezTo>
                        <a:pt x="558" y="107"/>
                        <a:pt x="600" y="112"/>
                        <a:pt x="581" y="97"/>
                      </a:cubicBezTo>
                      <a:cubicBezTo>
                        <a:pt x="578" y="94"/>
                        <a:pt x="567" y="98"/>
                        <a:pt x="563" y="98"/>
                      </a:cubicBezTo>
                      <a:cubicBezTo>
                        <a:pt x="553" y="99"/>
                        <a:pt x="542" y="95"/>
                        <a:pt x="532" y="93"/>
                      </a:cubicBezTo>
                      <a:cubicBezTo>
                        <a:pt x="520" y="90"/>
                        <a:pt x="501" y="80"/>
                        <a:pt x="490" y="72"/>
                      </a:cubicBezTo>
                      <a:cubicBezTo>
                        <a:pt x="488" y="70"/>
                        <a:pt x="487" y="67"/>
                        <a:pt x="484" y="65"/>
                      </a:cubicBezTo>
                      <a:cubicBezTo>
                        <a:pt x="482" y="65"/>
                        <a:pt x="480" y="69"/>
                        <a:pt x="477" y="68"/>
                      </a:cubicBezTo>
                      <a:cubicBezTo>
                        <a:pt x="470" y="63"/>
                        <a:pt x="473" y="53"/>
                        <a:pt x="469" y="47"/>
                      </a:cubicBezTo>
                      <a:cubicBezTo>
                        <a:pt x="467" y="43"/>
                        <a:pt x="463" y="42"/>
                        <a:pt x="459" y="40"/>
                      </a:cubicBezTo>
                      <a:cubicBezTo>
                        <a:pt x="458" y="39"/>
                        <a:pt x="458" y="35"/>
                        <a:pt x="455" y="35"/>
                      </a:cubicBezTo>
                      <a:cubicBezTo>
                        <a:pt x="452" y="35"/>
                        <a:pt x="450" y="42"/>
                        <a:pt x="448" y="39"/>
                      </a:cubicBezTo>
                      <a:cubicBezTo>
                        <a:pt x="447" y="35"/>
                        <a:pt x="452" y="32"/>
                        <a:pt x="452" y="28"/>
                      </a:cubicBezTo>
                      <a:cubicBezTo>
                        <a:pt x="453" y="24"/>
                        <a:pt x="453" y="19"/>
                        <a:pt x="451" y="16"/>
                      </a:cubicBezTo>
                      <a:cubicBezTo>
                        <a:pt x="450" y="13"/>
                        <a:pt x="447" y="12"/>
                        <a:pt x="445" y="12"/>
                      </a:cubicBezTo>
                      <a:cubicBezTo>
                        <a:pt x="442" y="13"/>
                        <a:pt x="438" y="19"/>
                        <a:pt x="437" y="16"/>
                      </a:cubicBezTo>
                      <a:cubicBezTo>
                        <a:pt x="432" y="8"/>
                        <a:pt x="458" y="9"/>
                        <a:pt x="446" y="0"/>
                      </a:cubicBezTo>
                      <a:close/>
                      <a:moveTo>
                        <a:pt x="619" y="87"/>
                      </a:moveTo>
                      <a:cubicBezTo>
                        <a:pt x="623" y="82"/>
                        <a:pt x="640" y="93"/>
                        <a:pt x="643" y="93"/>
                      </a:cubicBezTo>
                      <a:cubicBezTo>
                        <a:pt x="652" y="94"/>
                        <a:pt x="686" y="86"/>
                        <a:pt x="686" y="103"/>
                      </a:cubicBezTo>
                      <a:cubicBezTo>
                        <a:pt x="686" y="107"/>
                        <a:pt x="672" y="119"/>
                        <a:pt x="670" y="119"/>
                      </a:cubicBezTo>
                      <a:cubicBezTo>
                        <a:pt x="665" y="119"/>
                        <a:pt x="662" y="112"/>
                        <a:pt x="658" y="112"/>
                      </a:cubicBezTo>
                      <a:cubicBezTo>
                        <a:pt x="654" y="113"/>
                        <a:pt x="652" y="118"/>
                        <a:pt x="649" y="121"/>
                      </a:cubicBezTo>
                      <a:cubicBezTo>
                        <a:pt x="647" y="120"/>
                        <a:pt x="622" y="115"/>
                        <a:pt x="620" y="110"/>
                      </a:cubicBezTo>
                      <a:cubicBezTo>
                        <a:pt x="620" y="107"/>
                        <a:pt x="628" y="106"/>
                        <a:pt x="627" y="104"/>
                      </a:cubicBezTo>
                      <a:cubicBezTo>
                        <a:pt x="626" y="101"/>
                        <a:pt x="620" y="106"/>
                        <a:pt x="618" y="104"/>
                      </a:cubicBezTo>
                      <a:cubicBezTo>
                        <a:pt x="616" y="103"/>
                        <a:pt x="620" y="102"/>
                        <a:pt x="620" y="100"/>
                      </a:cubicBezTo>
                      <a:cubicBezTo>
                        <a:pt x="620" y="95"/>
                        <a:pt x="616" y="90"/>
                        <a:pt x="619" y="87"/>
                      </a:cubicBezTo>
                      <a:close/>
                      <a:moveTo>
                        <a:pt x="493" y="297"/>
                      </a:moveTo>
                      <a:cubicBezTo>
                        <a:pt x="503" y="298"/>
                        <a:pt x="508" y="296"/>
                        <a:pt x="516" y="303"/>
                      </a:cubicBezTo>
                      <a:cubicBezTo>
                        <a:pt x="518" y="305"/>
                        <a:pt x="520" y="312"/>
                        <a:pt x="520" y="315"/>
                      </a:cubicBezTo>
                      <a:cubicBezTo>
                        <a:pt x="518" y="318"/>
                        <a:pt x="518" y="305"/>
                        <a:pt x="514" y="305"/>
                      </a:cubicBezTo>
                      <a:cubicBezTo>
                        <a:pt x="510" y="305"/>
                        <a:pt x="515" y="329"/>
                        <a:pt x="515" y="329"/>
                      </a:cubicBezTo>
                      <a:cubicBezTo>
                        <a:pt x="515" y="336"/>
                        <a:pt x="508" y="348"/>
                        <a:pt x="503" y="353"/>
                      </a:cubicBezTo>
                      <a:cubicBezTo>
                        <a:pt x="502" y="353"/>
                        <a:pt x="501" y="351"/>
                        <a:pt x="499" y="352"/>
                      </a:cubicBezTo>
                      <a:cubicBezTo>
                        <a:pt x="486" y="357"/>
                        <a:pt x="482" y="349"/>
                        <a:pt x="475" y="338"/>
                      </a:cubicBezTo>
                      <a:cubicBezTo>
                        <a:pt x="462" y="316"/>
                        <a:pt x="462" y="296"/>
                        <a:pt x="493" y="297"/>
                      </a:cubicBezTo>
                      <a:close/>
                      <a:moveTo>
                        <a:pt x="411" y="1066"/>
                      </a:moveTo>
                      <a:cubicBezTo>
                        <a:pt x="402" y="1068"/>
                        <a:pt x="412" y="1057"/>
                        <a:pt x="395" y="1041"/>
                      </a:cubicBezTo>
                      <a:cubicBezTo>
                        <a:pt x="388" y="1033"/>
                        <a:pt x="333" y="1031"/>
                        <a:pt x="354" y="1011"/>
                      </a:cubicBezTo>
                      <a:cubicBezTo>
                        <a:pt x="323" y="998"/>
                        <a:pt x="351" y="998"/>
                        <a:pt x="341" y="981"/>
                      </a:cubicBezTo>
                      <a:cubicBezTo>
                        <a:pt x="348" y="982"/>
                        <a:pt x="357" y="1001"/>
                        <a:pt x="370" y="1008"/>
                      </a:cubicBezTo>
                      <a:cubicBezTo>
                        <a:pt x="370" y="998"/>
                        <a:pt x="362" y="988"/>
                        <a:pt x="365" y="986"/>
                      </a:cubicBezTo>
                      <a:cubicBezTo>
                        <a:pt x="386" y="954"/>
                        <a:pt x="341" y="962"/>
                        <a:pt x="323" y="945"/>
                      </a:cubicBezTo>
                      <a:cubicBezTo>
                        <a:pt x="341" y="943"/>
                        <a:pt x="353" y="951"/>
                        <a:pt x="372" y="957"/>
                      </a:cubicBezTo>
                      <a:cubicBezTo>
                        <a:pt x="379" y="994"/>
                        <a:pt x="387" y="998"/>
                        <a:pt x="404" y="1012"/>
                      </a:cubicBezTo>
                      <a:cubicBezTo>
                        <a:pt x="432" y="1026"/>
                        <a:pt x="430" y="1047"/>
                        <a:pt x="423" y="1047"/>
                      </a:cubicBezTo>
                      <a:cubicBezTo>
                        <a:pt x="416" y="1046"/>
                        <a:pt x="421" y="1065"/>
                        <a:pt x="411" y="1066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609585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219170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828754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438339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3047924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657509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4267093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876678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914354">
                    <a:defRPr/>
                  </a:pPr>
                  <a:endParaRPr lang="en-GB" sz="800">
                    <a:solidFill>
                      <a:srgbClr val="404040"/>
                    </a:solidFill>
                  </a:endParaRPr>
                </a:p>
              </p:txBody>
            </p:sp>
            <p:sp>
              <p:nvSpPr>
                <p:cNvPr id="142" name="Russia" descr="{&quot;Key&quot;:&quot;russia&quot;,&quot;Name&quot;:&quot;Russia&quot;,&quot;Value&quot;:1.0,&quot;Formula&quot;:&quot;&quot;,&quot;Text&quot;:&quot;&quot;,&quot;OfficeApplication&quot;:1,&quot;HasValue&quot;:true}">
                  <a:extLst>
                    <a:ext uri="{FF2B5EF4-FFF2-40B4-BE49-F238E27FC236}">
                      <a16:creationId xmlns:a16="http://schemas.microsoft.com/office/drawing/2014/main" id="{D60337ED-252A-819B-375F-429AF1A7569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81397" y="3920172"/>
                  <a:ext cx="226588" cy="135396"/>
                </a:xfrm>
                <a:custGeom>
                  <a:avLst/>
                  <a:gdLst>
                    <a:gd name="T0" fmla="*/ 136 w 136"/>
                    <a:gd name="T1" fmla="*/ 57 h 75"/>
                    <a:gd name="T2" fmla="*/ 132 w 136"/>
                    <a:gd name="T3" fmla="*/ 19 h 75"/>
                    <a:gd name="T4" fmla="*/ 125 w 136"/>
                    <a:gd name="T5" fmla="*/ 14 h 75"/>
                    <a:gd name="T6" fmla="*/ 122 w 136"/>
                    <a:gd name="T7" fmla="*/ 14 h 75"/>
                    <a:gd name="T8" fmla="*/ 119 w 136"/>
                    <a:gd name="T9" fmla="*/ 7 h 75"/>
                    <a:gd name="T10" fmla="*/ 94 w 136"/>
                    <a:gd name="T11" fmla="*/ 13 h 75"/>
                    <a:gd name="T12" fmla="*/ 94 w 136"/>
                    <a:gd name="T13" fmla="*/ 10 h 75"/>
                    <a:gd name="T14" fmla="*/ 68 w 136"/>
                    <a:gd name="T15" fmla="*/ 5 h 75"/>
                    <a:gd name="T16" fmla="*/ 65 w 136"/>
                    <a:gd name="T17" fmla="*/ 0 h 75"/>
                    <a:gd name="T18" fmla="*/ 61 w 136"/>
                    <a:gd name="T19" fmla="*/ 3 h 75"/>
                    <a:gd name="T20" fmla="*/ 61 w 136"/>
                    <a:gd name="T21" fmla="*/ 7 h 75"/>
                    <a:gd name="T22" fmla="*/ 58 w 136"/>
                    <a:gd name="T23" fmla="*/ 7 h 75"/>
                    <a:gd name="T24" fmla="*/ 63 w 136"/>
                    <a:gd name="T25" fmla="*/ 26 h 75"/>
                    <a:gd name="T26" fmla="*/ 33 w 136"/>
                    <a:gd name="T27" fmla="*/ 29 h 75"/>
                    <a:gd name="T28" fmla="*/ 34 w 136"/>
                    <a:gd name="T29" fmla="*/ 26 h 75"/>
                    <a:gd name="T30" fmla="*/ 12 w 136"/>
                    <a:gd name="T31" fmla="*/ 33 h 75"/>
                    <a:gd name="T32" fmla="*/ 9 w 136"/>
                    <a:gd name="T33" fmla="*/ 34 h 75"/>
                    <a:gd name="T34" fmla="*/ 11 w 136"/>
                    <a:gd name="T35" fmla="*/ 48 h 75"/>
                    <a:gd name="T36" fmla="*/ 0 w 136"/>
                    <a:gd name="T37" fmla="*/ 71 h 75"/>
                    <a:gd name="T38" fmla="*/ 135 w 136"/>
                    <a:gd name="T39" fmla="*/ 57 h 75"/>
                    <a:gd name="T40" fmla="*/ 136 w 136"/>
                    <a:gd name="T41" fmla="*/ 57 h 75"/>
                    <a:gd name="T42" fmla="*/ 48 w 136"/>
                    <a:gd name="T43" fmla="*/ 2 h 75"/>
                    <a:gd name="T44" fmla="*/ 47 w 136"/>
                    <a:gd name="T45" fmla="*/ 2 h 75"/>
                    <a:gd name="T46" fmla="*/ 45 w 136"/>
                    <a:gd name="T47" fmla="*/ 8 h 75"/>
                    <a:gd name="T48" fmla="*/ 48 w 136"/>
                    <a:gd name="T49" fmla="*/ 2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36" h="75">
                      <a:moveTo>
                        <a:pt x="136" y="57"/>
                      </a:moveTo>
                      <a:cubicBezTo>
                        <a:pt x="123" y="40"/>
                        <a:pt x="135" y="24"/>
                        <a:pt x="132" y="19"/>
                      </a:cubicBezTo>
                      <a:cubicBezTo>
                        <a:pt x="130" y="17"/>
                        <a:pt x="128" y="15"/>
                        <a:pt x="125" y="14"/>
                      </a:cubicBezTo>
                      <a:cubicBezTo>
                        <a:pt x="124" y="13"/>
                        <a:pt x="123" y="15"/>
                        <a:pt x="122" y="14"/>
                      </a:cubicBezTo>
                      <a:cubicBezTo>
                        <a:pt x="120" y="13"/>
                        <a:pt x="121" y="8"/>
                        <a:pt x="119" y="7"/>
                      </a:cubicBezTo>
                      <a:cubicBezTo>
                        <a:pt x="111" y="5"/>
                        <a:pt x="103" y="13"/>
                        <a:pt x="94" y="13"/>
                      </a:cubicBezTo>
                      <a:cubicBezTo>
                        <a:pt x="93" y="13"/>
                        <a:pt x="95" y="11"/>
                        <a:pt x="94" y="10"/>
                      </a:cubicBezTo>
                      <a:cubicBezTo>
                        <a:pt x="86" y="8"/>
                        <a:pt x="75" y="9"/>
                        <a:pt x="68" y="5"/>
                      </a:cubicBezTo>
                      <a:cubicBezTo>
                        <a:pt x="67" y="4"/>
                        <a:pt x="67" y="1"/>
                        <a:pt x="65" y="0"/>
                      </a:cubicBezTo>
                      <a:cubicBezTo>
                        <a:pt x="63" y="0"/>
                        <a:pt x="63" y="2"/>
                        <a:pt x="61" y="3"/>
                      </a:cubicBezTo>
                      <a:cubicBezTo>
                        <a:pt x="61" y="5"/>
                        <a:pt x="61" y="6"/>
                        <a:pt x="61" y="7"/>
                      </a:cubicBezTo>
                      <a:cubicBezTo>
                        <a:pt x="60" y="8"/>
                        <a:pt x="58" y="6"/>
                        <a:pt x="58" y="7"/>
                      </a:cubicBezTo>
                      <a:cubicBezTo>
                        <a:pt x="57" y="14"/>
                        <a:pt x="65" y="19"/>
                        <a:pt x="63" y="26"/>
                      </a:cubicBezTo>
                      <a:cubicBezTo>
                        <a:pt x="61" y="33"/>
                        <a:pt x="32" y="32"/>
                        <a:pt x="33" y="29"/>
                      </a:cubicBezTo>
                      <a:cubicBezTo>
                        <a:pt x="33" y="28"/>
                        <a:pt x="34" y="27"/>
                        <a:pt x="34" y="26"/>
                      </a:cubicBezTo>
                      <a:cubicBezTo>
                        <a:pt x="28" y="32"/>
                        <a:pt x="21" y="31"/>
                        <a:pt x="12" y="33"/>
                      </a:cubicBezTo>
                      <a:cubicBezTo>
                        <a:pt x="11" y="33"/>
                        <a:pt x="9" y="33"/>
                        <a:pt x="9" y="34"/>
                      </a:cubicBezTo>
                      <a:cubicBezTo>
                        <a:pt x="9" y="39"/>
                        <a:pt x="11" y="43"/>
                        <a:pt x="11" y="48"/>
                      </a:cubicBezTo>
                      <a:cubicBezTo>
                        <a:pt x="11" y="56"/>
                        <a:pt x="7" y="64"/>
                        <a:pt x="0" y="71"/>
                      </a:cubicBezTo>
                      <a:cubicBezTo>
                        <a:pt x="33" y="75"/>
                        <a:pt x="109" y="73"/>
                        <a:pt x="135" y="57"/>
                      </a:cubicBezTo>
                      <a:cubicBezTo>
                        <a:pt x="135" y="57"/>
                        <a:pt x="135" y="57"/>
                        <a:pt x="136" y="57"/>
                      </a:cubicBezTo>
                      <a:close/>
                      <a:moveTo>
                        <a:pt x="48" y="2"/>
                      </a:move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4"/>
                        <a:pt x="46" y="6"/>
                        <a:pt x="45" y="8"/>
                      </a:cubicBezTo>
                      <a:cubicBezTo>
                        <a:pt x="46" y="6"/>
                        <a:pt x="47" y="4"/>
                        <a:pt x="48" y="2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609585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219170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828754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438339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3047924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657509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4267093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876678" algn="l" defTabSz="1219170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914354">
                    <a:defRPr/>
                  </a:pPr>
                  <a:endParaRPr lang="en-GB" sz="800">
                    <a:solidFill>
                      <a:srgbClr val="404040"/>
                    </a:solidFill>
                  </a:endParaRPr>
                </a:p>
              </p:txBody>
            </p:sp>
          </p:grpSp>
          <p:sp>
            <p:nvSpPr>
              <p:cNvPr id="138" name="Montenegro" descr="{&quot;Key&quot;:&quot;montenegro&quot;,&quot;Name&quot;:&quot;Montenegro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8CD3BF0A-A281-29B2-CCA4-EC38CF43C7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6928" y="5492352"/>
                <a:ext cx="182159" cy="234154"/>
              </a:xfrm>
              <a:custGeom>
                <a:avLst/>
                <a:gdLst>
                  <a:gd name="T0" fmla="*/ 6 w 109"/>
                  <a:gd name="T1" fmla="*/ 88 h 130"/>
                  <a:gd name="T2" fmla="*/ 7 w 109"/>
                  <a:gd name="T3" fmla="*/ 92 h 130"/>
                  <a:gd name="T4" fmla="*/ 15 w 109"/>
                  <a:gd name="T5" fmla="*/ 92 h 130"/>
                  <a:gd name="T6" fmla="*/ 13 w 109"/>
                  <a:gd name="T7" fmla="*/ 96 h 130"/>
                  <a:gd name="T8" fmla="*/ 24 w 109"/>
                  <a:gd name="T9" fmla="*/ 103 h 130"/>
                  <a:gd name="T10" fmla="*/ 31 w 109"/>
                  <a:gd name="T11" fmla="*/ 101 h 130"/>
                  <a:gd name="T12" fmla="*/ 32 w 109"/>
                  <a:gd name="T13" fmla="*/ 107 h 130"/>
                  <a:gd name="T14" fmla="*/ 46 w 109"/>
                  <a:gd name="T15" fmla="*/ 117 h 130"/>
                  <a:gd name="T16" fmla="*/ 48 w 109"/>
                  <a:gd name="T17" fmla="*/ 124 h 130"/>
                  <a:gd name="T18" fmla="*/ 61 w 109"/>
                  <a:gd name="T19" fmla="*/ 130 h 130"/>
                  <a:gd name="T20" fmla="*/ 61 w 109"/>
                  <a:gd name="T21" fmla="*/ 119 h 130"/>
                  <a:gd name="T22" fmla="*/ 61 w 109"/>
                  <a:gd name="T23" fmla="*/ 112 h 130"/>
                  <a:gd name="T24" fmla="*/ 53 w 109"/>
                  <a:gd name="T25" fmla="*/ 106 h 130"/>
                  <a:gd name="T26" fmla="*/ 73 w 109"/>
                  <a:gd name="T27" fmla="*/ 68 h 130"/>
                  <a:gd name="T28" fmla="*/ 81 w 109"/>
                  <a:gd name="T29" fmla="*/ 82 h 130"/>
                  <a:gd name="T30" fmla="*/ 94 w 109"/>
                  <a:gd name="T31" fmla="*/ 72 h 130"/>
                  <a:gd name="T32" fmla="*/ 92 w 109"/>
                  <a:gd name="T33" fmla="*/ 60 h 130"/>
                  <a:gd name="T34" fmla="*/ 98 w 109"/>
                  <a:gd name="T35" fmla="*/ 56 h 130"/>
                  <a:gd name="T36" fmla="*/ 97 w 109"/>
                  <a:gd name="T37" fmla="*/ 51 h 130"/>
                  <a:gd name="T38" fmla="*/ 106 w 109"/>
                  <a:gd name="T39" fmla="*/ 47 h 130"/>
                  <a:gd name="T40" fmla="*/ 86 w 109"/>
                  <a:gd name="T41" fmla="*/ 31 h 130"/>
                  <a:gd name="T42" fmla="*/ 83 w 109"/>
                  <a:gd name="T43" fmla="*/ 18 h 130"/>
                  <a:gd name="T44" fmla="*/ 53 w 109"/>
                  <a:gd name="T45" fmla="*/ 3 h 130"/>
                  <a:gd name="T46" fmla="*/ 49 w 109"/>
                  <a:gd name="T47" fmla="*/ 2 h 130"/>
                  <a:gd name="T48" fmla="*/ 45 w 109"/>
                  <a:gd name="T49" fmla="*/ 0 h 130"/>
                  <a:gd name="T50" fmla="*/ 39 w 109"/>
                  <a:gd name="T51" fmla="*/ 9 h 130"/>
                  <a:gd name="T52" fmla="*/ 32 w 109"/>
                  <a:gd name="T53" fmla="*/ 9 h 130"/>
                  <a:gd name="T54" fmla="*/ 24 w 109"/>
                  <a:gd name="T55" fmla="*/ 10 h 130"/>
                  <a:gd name="T56" fmla="*/ 32 w 109"/>
                  <a:gd name="T57" fmla="*/ 31 h 130"/>
                  <a:gd name="T58" fmla="*/ 29 w 109"/>
                  <a:gd name="T59" fmla="*/ 31 h 130"/>
                  <a:gd name="T60" fmla="*/ 32 w 109"/>
                  <a:gd name="T61" fmla="*/ 31 h 130"/>
                  <a:gd name="T62" fmla="*/ 20 w 109"/>
                  <a:gd name="T63" fmla="*/ 23 h 130"/>
                  <a:gd name="T64" fmla="*/ 21 w 109"/>
                  <a:gd name="T65" fmla="*/ 22 h 130"/>
                  <a:gd name="T66" fmla="*/ 20 w 109"/>
                  <a:gd name="T67" fmla="*/ 23 h 130"/>
                  <a:gd name="T68" fmla="*/ 11 w 109"/>
                  <a:gd name="T69" fmla="*/ 48 h 130"/>
                  <a:gd name="T70" fmla="*/ 6 w 109"/>
                  <a:gd name="T71" fmla="*/ 50 h 130"/>
                  <a:gd name="T72" fmla="*/ 3 w 109"/>
                  <a:gd name="T73" fmla="*/ 54 h 130"/>
                  <a:gd name="T74" fmla="*/ 5 w 109"/>
                  <a:gd name="T75" fmla="*/ 83 h 130"/>
                  <a:gd name="T76" fmla="*/ 7 w 109"/>
                  <a:gd name="T77" fmla="*/ 83 h 130"/>
                  <a:gd name="T78" fmla="*/ 8 w 109"/>
                  <a:gd name="T79" fmla="*/ 92 h 130"/>
                  <a:gd name="T80" fmla="*/ 6 w 109"/>
                  <a:gd name="T81" fmla="*/ 88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09" h="130">
                    <a:moveTo>
                      <a:pt x="6" y="88"/>
                    </a:moveTo>
                    <a:cubicBezTo>
                      <a:pt x="7" y="92"/>
                      <a:pt x="7" y="92"/>
                      <a:pt x="7" y="92"/>
                    </a:cubicBezTo>
                    <a:cubicBezTo>
                      <a:pt x="10" y="92"/>
                      <a:pt x="12" y="92"/>
                      <a:pt x="15" y="92"/>
                    </a:cubicBezTo>
                    <a:cubicBezTo>
                      <a:pt x="14" y="94"/>
                      <a:pt x="13" y="95"/>
                      <a:pt x="13" y="96"/>
                    </a:cubicBezTo>
                    <a:cubicBezTo>
                      <a:pt x="18" y="107"/>
                      <a:pt x="21" y="105"/>
                      <a:pt x="24" y="103"/>
                    </a:cubicBezTo>
                    <a:cubicBezTo>
                      <a:pt x="26" y="101"/>
                      <a:pt x="28" y="100"/>
                      <a:pt x="31" y="101"/>
                    </a:cubicBezTo>
                    <a:cubicBezTo>
                      <a:pt x="32" y="103"/>
                      <a:pt x="31" y="105"/>
                      <a:pt x="32" y="107"/>
                    </a:cubicBezTo>
                    <a:cubicBezTo>
                      <a:pt x="37" y="112"/>
                      <a:pt x="43" y="111"/>
                      <a:pt x="46" y="117"/>
                    </a:cubicBezTo>
                    <a:cubicBezTo>
                      <a:pt x="48" y="119"/>
                      <a:pt x="46" y="122"/>
                      <a:pt x="48" y="124"/>
                    </a:cubicBezTo>
                    <a:cubicBezTo>
                      <a:pt x="52" y="127"/>
                      <a:pt x="56" y="129"/>
                      <a:pt x="61" y="130"/>
                    </a:cubicBezTo>
                    <a:cubicBezTo>
                      <a:pt x="61" y="126"/>
                      <a:pt x="61" y="122"/>
                      <a:pt x="61" y="119"/>
                    </a:cubicBezTo>
                    <a:cubicBezTo>
                      <a:pt x="61" y="117"/>
                      <a:pt x="62" y="114"/>
                      <a:pt x="61" y="112"/>
                    </a:cubicBezTo>
                    <a:cubicBezTo>
                      <a:pt x="59" y="109"/>
                      <a:pt x="54" y="109"/>
                      <a:pt x="53" y="106"/>
                    </a:cubicBezTo>
                    <a:cubicBezTo>
                      <a:pt x="53" y="105"/>
                      <a:pt x="71" y="69"/>
                      <a:pt x="73" y="68"/>
                    </a:cubicBezTo>
                    <a:cubicBezTo>
                      <a:pt x="74" y="67"/>
                      <a:pt x="76" y="81"/>
                      <a:pt x="81" y="82"/>
                    </a:cubicBezTo>
                    <a:cubicBezTo>
                      <a:pt x="94" y="72"/>
                      <a:pt x="94" y="72"/>
                      <a:pt x="94" y="72"/>
                    </a:cubicBezTo>
                    <a:cubicBezTo>
                      <a:pt x="93" y="66"/>
                      <a:pt x="94" y="66"/>
                      <a:pt x="92" y="60"/>
                    </a:cubicBezTo>
                    <a:cubicBezTo>
                      <a:pt x="91" y="57"/>
                      <a:pt x="95" y="59"/>
                      <a:pt x="98" y="56"/>
                    </a:cubicBezTo>
                    <a:cubicBezTo>
                      <a:pt x="100" y="55"/>
                      <a:pt x="99" y="53"/>
                      <a:pt x="97" y="51"/>
                    </a:cubicBezTo>
                    <a:cubicBezTo>
                      <a:pt x="95" y="49"/>
                      <a:pt x="109" y="49"/>
                      <a:pt x="106" y="47"/>
                    </a:cubicBezTo>
                    <a:cubicBezTo>
                      <a:pt x="99" y="42"/>
                      <a:pt x="92" y="34"/>
                      <a:pt x="86" y="31"/>
                    </a:cubicBezTo>
                    <a:cubicBezTo>
                      <a:pt x="82" y="29"/>
                      <a:pt x="87" y="22"/>
                      <a:pt x="83" y="18"/>
                    </a:cubicBezTo>
                    <a:cubicBezTo>
                      <a:pt x="76" y="11"/>
                      <a:pt x="59" y="7"/>
                      <a:pt x="53" y="3"/>
                    </a:cubicBezTo>
                    <a:cubicBezTo>
                      <a:pt x="52" y="4"/>
                      <a:pt x="51" y="3"/>
                      <a:pt x="49" y="2"/>
                    </a:cubicBezTo>
                    <a:cubicBezTo>
                      <a:pt x="48" y="1"/>
                      <a:pt x="47" y="0"/>
                      <a:pt x="45" y="0"/>
                    </a:cubicBezTo>
                    <a:cubicBezTo>
                      <a:pt x="42" y="1"/>
                      <a:pt x="41" y="6"/>
                      <a:pt x="39" y="9"/>
                    </a:cubicBezTo>
                    <a:cubicBezTo>
                      <a:pt x="38" y="9"/>
                      <a:pt x="35" y="9"/>
                      <a:pt x="32" y="9"/>
                    </a:cubicBezTo>
                    <a:cubicBezTo>
                      <a:pt x="28" y="9"/>
                      <a:pt x="24" y="9"/>
                      <a:pt x="24" y="10"/>
                    </a:cubicBezTo>
                    <a:cubicBezTo>
                      <a:pt x="22" y="18"/>
                      <a:pt x="36" y="19"/>
                      <a:pt x="32" y="31"/>
                    </a:cubicBezTo>
                    <a:cubicBezTo>
                      <a:pt x="29" y="31"/>
                      <a:pt x="29" y="31"/>
                      <a:pt x="29" y="31"/>
                    </a:cubicBezTo>
                    <a:cubicBezTo>
                      <a:pt x="32" y="31"/>
                      <a:pt x="32" y="31"/>
                      <a:pt x="32" y="31"/>
                    </a:cubicBezTo>
                    <a:cubicBezTo>
                      <a:pt x="26" y="27"/>
                      <a:pt x="26" y="23"/>
                      <a:pt x="20" y="23"/>
                    </a:cubicBezTo>
                    <a:cubicBezTo>
                      <a:pt x="21" y="22"/>
                      <a:pt x="21" y="22"/>
                      <a:pt x="21" y="22"/>
                    </a:cubicBezTo>
                    <a:cubicBezTo>
                      <a:pt x="20" y="23"/>
                      <a:pt x="20" y="23"/>
                      <a:pt x="20" y="23"/>
                    </a:cubicBezTo>
                    <a:cubicBezTo>
                      <a:pt x="12" y="32"/>
                      <a:pt x="13" y="45"/>
                      <a:pt x="11" y="48"/>
                    </a:cubicBezTo>
                    <a:cubicBezTo>
                      <a:pt x="9" y="51"/>
                      <a:pt x="7" y="51"/>
                      <a:pt x="6" y="50"/>
                    </a:cubicBezTo>
                    <a:cubicBezTo>
                      <a:pt x="5" y="50"/>
                      <a:pt x="4" y="49"/>
                      <a:pt x="3" y="54"/>
                    </a:cubicBezTo>
                    <a:cubicBezTo>
                      <a:pt x="0" y="70"/>
                      <a:pt x="18" y="71"/>
                      <a:pt x="5" y="83"/>
                    </a:cubicBezTo>
                    <a:cubicBezTo>
                      <a:pt x="7" y="83"/>
                      <a:pt x="7" y="83"/>
                      <a:pt x="7" y="83"/>
                    </a:cubicBezTo>
                    <a:cubicBezTo>
                      <a:pt x="8" y="92"/>
                      <a:pt x="8" y="92"/>
                      <a:pt x="8" y="92"/>
                    </a:cubicBezTo>
                    <a:cubicBezTo>
                      <a:pt x="7" y="90"/>
                      <a:pt x="7" y="89"/>
                      <a:pt x="6" y="88"/>
                    </a:cubicBezTo>
                  </a:path>
                </a:pathLst>
              </a:custGeom>
              <a:grpFill/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139" name="Serbia" descr="{&quot;Key&quot;:&quot;serbia&quot;,&quot;Name&quot;:&quot;Serbia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428EABA3-BAFC-FD43-D14C-495916DDF8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0993" y="5137135"/>
                <a:ext cx="420596" cy="584590"/>
              </a:xfrm>
              <a:custGeom>
                <a:avLst/>
                <a:gdLst>
                  <a:gd name="T0" fmla="*/ 108 w 251"/>
                  <a:gd name="T1" fmla="*/ 286 h 325"/>
                  <a:gd name="T2" fmla="*/ 114 w 251"/>
                  <a:gd name="T3" fmla="*/ 285 h 325"/>
                  <a:gd name="T4" fmla="*/ 129 w 251"/>
                  <a:gd name="T5" fmla="*/ 315 h 325"/>
                  <a:gd name="T6" fmla="*/ 141 w 251"/>
                  <a:gd name="T7" fmla="*/ 299 h 325"/>
                  <a:gd name="T8" fmla="*/ 170 w 251"/>
                  <a:gd name="T9" fmla="*/ 293 h 325"/>
                  <a:gd name="T10" fmla="*/ 181 w 251"/>
                  <a:gd name="T11" fmla="*/ 280 h 325"/>
                  <a:gd name="T12" fmla="*/ 224 w 251"/>
                  <a:gd name="T13" fmla="*/ 268 h 325"/>
                  <a:gd name="T14" fmla="*/ 228 w 251"/>
                  <a:gd name="T15" fmla="*/ 250 h 325"/>
                  <a:gd name="T16" fmla="*/ 224 w 251"/>
                  <a:gd name="T17" fmla="*/ 249 h 325"/>
                  <a:gd name="T18" fmla="*/ 221 w 251"/>
                  <a:gd name="T19" fmla="*/ 231 h 325"/>
                  <a:gd name="T20" fmla="*/ 237 w 251"/>
                  <a:gd name="T21" fmla="*/ 223 h 325"/>
                  <a:gd name="T22" fmla="*/ 220 w 251"/>
                  <a:gd name="T23" fmla="*/ 183 h 325"/>
                  <a:gd name="T24" fmla="*/ 217 w 251"/>
                  <a:gd name="T25" fmla="*/ 138 h 325"/>
                  <a:gd name="T26" fmla="*/ 204 w 251"/>
                  <a:gd name="T27" fmla="*/ 108 h 325"/>
                  <a:gd name="T28" fmla="*/ 187 w 251"/>
                  <a:gd name="T29" fmla="*/ 111 h 325"/>
                  <a:gd name="T30" fmla="*/ 167 w 251"/>
                  <a:gd name="T31" fmla="*/ 102 h 325"/>
                  <a:gd name="T32" fmla="*/ 155 w 251"/>
                  <a:gd name="T33" fmla="*/ 97 h 325"/>
                  <a:gd name="T34" fmla="*/ 142 w 251"/>
                  <a:gd name="T35" fmla="*/ 90 h 325"/>
                  <a:gd name="T36" fmla="*/ 141 w 251"/>
                  <a:gd name="T37" fmla="*/ 80 h 325"/>
                  <a:gd name="T38" fmla="*/ 105 w 251"/>
                  <a:gd name="T39" fmla="*/ 50 h 325"/>
                  <a:gd name="T40" fmla="*/ 103 w 251"/>
                  <a:gd name="T41" fmla="*/ 29 h 325"/>
                  <a:gd name="T42" fmla="*/ 91 w 251"/>
                  <a:gd name="T43" fmla="*/ 20 h 325"/>
                  <a:gd name="T44" fmla="*/ 72 w 251"/>
                  <a:gd name="T45" fmla="*/ 7 h 325"/>
                  <a:gd name="T46" fmla="*/ 48 w 251"/>
                  <a:gd name="T47" fmla="*/ 9 h 325"/>
                  <a:gd name="T48" fmla="*/ 21 w 251"/>
                  <a:gd name="T49" fmla="*/ 23 h 325"/>
                  <a:gd name="T50" fmla="*/ 12 w 251"/>
                  <a:gd name="T51" fmla="*/ 23 h 325"/>
                  <a:gd name="T52" fmla="*/ 0 w 251"/>
                  <a:gd name="T53" fmla="*/ 33 h 325"/>
                  <a:gd name="T54" fmla="*/ 12 w 251"/>
                  <a:gd name="T55" fmla="*/ 58 h 325"/>
                  <a:gd name="T56" fmla="*/ 14 w 251"/>
                  <a:gd name="T57" fmla="*/ 61 h 325"/>
                  <a:gd name="T58" fmla="*/ 15 w 251"/>
                  <a:gd name="T59" fmla="*/ 67 h 325"/>
                  <a:gd name="T60" fmla="*/ 36 w 251"/>
                  <a:gd name="T61" fmla="*/ 78 h 325"/>
                  <a:gd name="T62" fmla="*/ 23 w 251"/>
                  <a:gd name="T63" fmla="*/ 81 h 325"/>
                  <a:gd name="T64" fmla="*/ 25 w 251"/>
                  <a:gd name="T65" fmla="*/ 101 h 325"/>
                  <a:gd name="T66" fmla="*/ 36 w 251"/>
                  <a:gd name="T67" fmla="*/ 103 h 325"/>
                  <a:gd name="T68" fmla="*/ 34 w 251"/>
                  <a:gd name="T69" fmla="*/ 149 h 325"/>
                  <a:gd name="T70" fmla="*/ 52 w 251"/>
                  <a:gd name="T71" fmla="*/ 162 h 325"/>
                  <a:gd name="T72" fmla="*/ 45 w 251"/>
                  <a:gd name="T73" fmla="*/ 170 h 325"/>
                  <a:gd name="T74" fmla="*/ 56 w 251"/>
                  <a:gd name="T75" fmla="*/ 200 h 325"/>
                  <a:gd name="T76" fmla="*/ 90 w 251"/>
                  <a:gd name="T77" fmla="*/ 230 h 325"/>
                  <a:gd name="T78" fmla="*/ 101 w 251"/>
                  <a:gd name="T79" fmla="*/ 249 h 325"/>
                  <a:gd name="T80" fmla="*/ 97 w 251"/>
                  <a:gd name="T81" fmla="*/ 269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51" h="325">
                    <a:moveTo>
                      <a:pt x="96" y="269"/>
                    </a:moveTo>
                    <a:cubicBezTo>
                      <a:pt x="105" y="269"/>
                      <a:pt x="103" y="283"/>
                      <a:pt x="108" y="286"/>
                    </a:cubicBezTo>
                    <a:cubicBezTo>
                      <a:pt x="109" y="287"/>
                      <a:pt x="110" y="286"/>
                      <a:pt x="111" y="286"/>
                    </a:cubicBezTo>
                    <a:cubicBezTo>
                      <a:pt x="112" y="286"/>
                      <a:pt x="113" y="285"/>
                      <a:pt x="114" y="285"/>
                    </a:cubicBezTo>
                    <a:cubicBezTo>
                      <a:pt x="118" y="287"/>
                      <a:pt x="122" y="288"/>
                      <a:pt x="125" y="291"/>
                    </a:cubicBezTo>
                    <a:cubicBezTo>
                      <a:pt x="132" y="299"/>
                      <a:pt x="131" y="307"/>
                      <a:pt x="129" y="315"/>
                    </a:cubicBezTo>
                    <a:cubicBezTo>
                      <a:pt x="131" y="315"/>
                      <a:pt x="131" y="315"/>
                      <a:pt x="131" y="315"/>
                    </a:cubicBezTo>
                    <a:cubicBezTo>
                      <a:pt x="145" y="325"/>
                      <a:pt x="137" y="301"/>
                      <a:pt x="141" y="299"/>
                    </a:cubicBezTo>
                    <a:cubicBezTo>
                      <a:pt x="147" y="295"/>
                      <a:pt x="154" y="290"/>
                      <a:pt x="161" y="289"/>
                    </a:cubicBezTo>
                    <a:cubicBezTo>
                      <a:pt x="164" y="289"/>
                      <a:pt x="169" y="296"/>
                      <a:pt x="170" y="293"/>
                    </a:cubicBezTo>
                    <a:cubicBezTo>
                      <a:pt x="171" y="291"/>
                      <a:pt x="168" y="289"/>
                      <a:pt x="169" y="287"/>
                    </a:cubicBezTo>
                    <a:cubicBezTo>
                      <a:pt x="172" y="279"/>
                      <a:pt x="176" y="279"/>
                      <a:pt x="181" y="280"/>
                    </a:cubicBezTo>
                    <a:cubicBezTo>
                      <a:pt x="183" y="281"/>
                      <a:pt x="186" y="281"/>
                      <a:pt x="189" y="280"/>
                    </a:cubicBezTo>
                    <a:cubicBezTo>
                      <a:pt x="198" y="279"/>
                      <a:pt x="216" y="261"/>
                      <a:pt x="224" y="268"/>
                    </a:cubicBezTo>
                    <a:cubicBezTo>
                      <a:pt x="227" y="263"/>
                      <a:pt x="234" y="262"/>
                      <a:pt x="232" y="254"/>
                    </a:cubicBezTo>
                    <a:cubicBezTo>
                      <a:pt x="231" y="252"/>
                      <a:pt x="229" y="251"/>
                      <a:pt x="228" y="250"/>
                    </a:cubicBezTo>
                    <a:cubicBezTo>
                      <a:pt x="227" y="250"/>
                      <a:pt x="227" y="250"/>
                      <a:pt x="226" y="250"/>
                    </a:cubicBezTo>
                    <a:cubicBezTo>
                      <a:pt x="225" y="250"/>
                      <a:pt x="225" y="250"/>
                      <a:pt x="224" y="249"/>
                    </a:cubicBezTo>
                    <a:cubicBezTo>
                      <a:pt x="224" y="246"/>
                      <a:pt x="224" y="244"/>
                      <a:pt x="224" y="241"/>
                    </a:cubicBezTo>
                    <a:cubicBezTo>
                      <a:pt x="224" y="237"/>
                      <a:pt x="220" y="234"/>
                      <a:pt x="221" y="231"/>
                    </a:cubicBezTo>
                    <a:cubicBezTo>
                      <a:pt x="231" y="216"/>
                      <a:pt x="229" y="220"/>
                      <a:pt x="229" y="224"/>
                    </a:cubicBezTo>
                    <a:cubicBezTo>
                      <a:pt x="229" y="226"/>
                      <a:pt x="229" y="229"/>
                      <a:pt x="237" y="223"/>
                    </a:cubicBezTo>
                    <a:cubicBezTo>
                      <a:pt x="239" y="222"/>
                      <a:pt x="251" y="201"/>
                      <a:pt x="248" y="197"/>
                    </a:cubicBezTo>
                    <a:cubicBezTo>
                      <a:pt x="243" y="194"/>
                      <a:pt x="221" y="184"/>
                      <a:pt x="220" y="183"/>
                    </a:cubicBezTo>
                    <a:cubicBezTo>
                      <a:pt x="214" y="177"/>
                      <a:pt x="203" y="153"/>
                      <a:pt x="207" y="145"/>
                    </a:cubicBezTo>
                    <a:cubicBezTo>
                      <a:pt x="208" y="141"/>
                      <a:pt x="215" y="141"/>
                      <a:pt x="217" y="138"/>
                    </a:cubicBezTo>
                    <a:cubicBezTo>
                      <a:pt x="219" y="134"/>
                      <a:pt x="216" y="129"/>
                      <a:pt x="218" y="125"/>
                    </a:cubicBezTo>
                    <a:cubicBezTo>
                      <a:pt x="210" y="121"/>
                      <a:pt x="203" y="116"/>
                      <a:pt x="204" y="108"/>
                    </a:cubicBezTo>
                    <a:cubicBezTo>
                      <a:pt x="205" y="103"/>
                      <a:pt x="223" y="103"/>
                      <a:pt x="218" y="100"/>
                    </a:cubicBezTo>
                    <a:cubicBezTo>
                      <a:pt x="158" y="70"/>
                      <a:pt x="211" y="97"/>
                      <a:pt x="187" y="111"/>
                    </a:cubicBezTo>
                    <a:cubicBezTo>
                      <a:pt x="183" y="114"/>
                      <a:pt x="181" y="104"/>
                      <a:pt x="177" y="102"/>
                    </a:cubicBezTo>
                    <a:cubicBezTo>
                      <a:pt x="174" y="101"/>
                      <a:pt x="170" y="102"/>
                      <a:pt x="167" y="102"/>
                    </a:cubicBezTo>
                    <a:cubicBezTo>
                      <a:pt x="164" y="102"/>
                      <a:pt x="160" y="104"/>
                      <a:pt x="157" y="103"/>
                    </a:cubicBezTo>
                    <a:cubicBezTo>
                      <a:pt x="155" y="102"/>
                      <a:pt x="156" y="99"/>
                      <a:pt x="155" y="97"/>
                    </a:cubicBezTo>
                    <a:cubicBezTo>
                      <a:pt x="154" y="94"/>
                      <a:pt x="149" y="94"/>
                      <a:pt x="144" y="95"/>
                    </a:cubicBezTo>
                    <a:cubicBezTo>
                      <a:pt x="138" y="95"/>
                      <a:pt x="134" y="96"/>
                      <a:pt x="142" y="90"/>
                    </a:cubicBezTo>
                    <a:cubicBezTo>
                      <a:pt x="145" y="88"/>
                      <a:pt x="154" y="86"/>
                      <a:pt x="151" y="84"/>
                    </a:cubicBezTo>
                    <a:cubicBezTo>
                      <a:pt x="148" y="82"/>
                      <a:pt x="142" y="84"/>
                      <a:pt x="141" y="80"/>
                    </a:cubicBezTo>
                    <a:cubicBezTo>
                      <a:pt x="141" y="77"/>
                      <a:pt x="152" y="71"/>
                      <a:pt x="145" y="66"/>
                    </a:cubicBezTo>
                    <a:cubicBezTo>
                      <a:pt x="134" y="60"/>
                      <a:pt x="112" y="63"/>
                      <a:pt x="105" y="50"/>
                    </a:cubicBezTo>
                    <a:cubicBezTo>
                      <a:pt x="103" y="47"/>
                      <a:pt x="103" y="33"/>
                      <a:pt x="103" y="30"/>
                    </a:cubicBezTo>
                    <a:cubicBezTo>
                      <a:pt x="103" y="29"/>
                      <a:pt x="103" y="29"/>
                      <a:pt x="103" y="29"/>
                    </a:cubicBezTo>
                    <a:cubicBezTo>
                      <a:pt x="102" y="29"/>
                      <a:pt x="100" y="33"/>
                      <a:pt x="99" y="32"/>
                    </a:cubicBezTo>
                    <a:cubicBezTo>
                      <a:pt x="95" y="29"/>
                      <a:pt x="95" y="23"/>
                      <a:pt x="91" y="20"/>
                    </a:cubicBezTo>
                    <a:cubicBezTo>
                      <a:pt x="88" y="18"/>
                      <a:pt x="83" y="19"/>
                      <a:pt x="79" y="16"/>
                    </a:cubicBezTo>
                    <a:cubicBezTo>
                      <a:pt x="76" y="14"/>
                      <a:pt x="74" y="10"/>
                      <a:pt x="72" y="7"/>
                    </a:cubicBezTo>
                    <a:cubicBezTo>
                      <a:pt x="69" y="7"/>
                      <a:pt x="66" y="4"/>
                      <a:pt x="64" y="4"/>
                    </a:cubicBezTo>
                    <a:cubicBezTo>
                      <a:pt x="63" y="4"/>
                      <a:pt x="48" y="9"/>
                      <a:pt x="48" y="9"/>
                    </a:cubicBezTo>
                    <a:cubicBezTo>
                      <a:pt x="38" y="8"/>
                      <a:pt x="49" y="0"/>
                      <a:pt x="36" y="8"/>
                    </a:cubicBezTo>
                    <a:cubicBezTo>
                      <a:pt x="30" y="12"/>
                      <a:pt x="26" y="19"/>
                      <a:pt x="21" y="23"/>
                    </a:cubicBezTo>
                    <a:cubicBezTo>
                      <a:pt x="18" y="25"/>
                      <a:pt x="16" y="24"/>
                      <a:pt x="15" y="23"/>
                    </a:cubicBezTo>
                    <a:cubicBezTo>
                      <a:pt x="14" y="22"/>
                      <a:pt x="13" y="22"/>
                      <a:pt x="12" y="23"/>
                    </a:cubicBezTo>
                    <a:cubicBezTo>
                      <a:pt x="5" y="31"/>
                      <a:pt x="4" y="32"/>
                      <a:pt x="0" y="32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10" y="46"/>
                      <a:pt x="8" y="43"/>
                      <a:pt x="6" y="56"/>
                    </a:cubicBezTo>
                    <a:cubicBezTo>
                      <a:pt x="6" y="59"/>
                      <a:pt x="9" y="58"/>
                      <a:pt x="12" y="58"/>
                    </a:cubicBezTo>
                    <a:cubicBezTo>
                      <a:pt x="15" y="58"/>
                      <a:pt x="18" y="57"/>
                      <a:pt x="18" y="60"/>
                    </a:cubicBezTo>
                    <a:cubicBezTo>
                      <a:pt x="17" y="63"/>
                      <a:pt x="16" y="62"/>
                      <a:pt x="14" y="61"/>
                    </a:cubicBezTo>
                    <a:cubicBezTo>
                      <a:pt x="14" y="61"/>
                      <a:pt x="13" y="61"/>
                      <a:pt x="13" y="61"/>
                    </a:cubicBezTo>
                    <a:cubicBezTo>
                      <a:pt x="9" y="64"/>
                      <a:pt x="15" y="65"/>
                      <a:pt x="15" y="67"/>
                    </a:cubicBezTo>
                    <a:cubicBezTo>
                      <a:pt x="15" y="68"/>
                      <a:pt x="10" y="69"/>
                      <a:pt x="13" y="71"/>
                    </a:cubicBezTo>
                    <a:cubicBezTo>
                      <a:pt x="19" y="76"/>
                      <a:pt x="29" y="78"/>
                      <a:pt x="36" y="78"/>
                    </a:cubicBezTo>
                    <a:cubicBezTo>
                      <a:pt x="37" y="85"/>
                      <a:pt x="33" y="83"/>
                      <a:pt x="28" y="82"/>
                    </a:cubicBezTo>
                    <a:cubicBezTo>
                      <a:pt x="26" y="81"/>
                      <a:pt x="24" y="80"/>
                      <a:pt x="23" y="81"/>
                    </a:cubicBezTo>
                    <a:cubicBezTo>
                      <a:pt x="23" y="88"/>
                      <a:pt x="18" y="91"/>
                      <a:pt x="25" y="98"/>
                    </a:cubicBezTo>
                    <a:cubicBezTo>
                      <a:pt x="26" y="99"/>
                      <a:pt x="26" y="100"/>
                      <a:pt x="25" y="101"/>
                    </a:cubicBezTo>
                    <a:cubicBezTo>
                      <a:pt x="23" y="104"/>
                      <a:pt x="14" y="102"/>
                      <a:pt x="19" y="107"/>
                    </a:cubicBezTo>
                    <a:cubicBezTo>
                      <a:pt x="25" y="106"/>
                      <a:pt x="30" y="102"/>
                      <a:pt x="36" y="103"/>
                    </a:cubicBezTo>
                    <a:cubicBezTo>
                      <a:pt x="36" y="120"/>
                      <a:pt x="26" y="132"/>
                      <a:pt x="27" y="143"/>
                    </a:cubicBezTo>
                    <a:cubicBezTo>
                      <a:pt x="29" y="151"/>
                      <a:pt x="31" y="150"/>
                      <a:pt x="34" y="149"/>
                    </a:cubicBezTo>
                    <a:cubicBezTo>
                      <a:pt x="36" y="149"/>
                      <a:pt x="38" y="148"/>
                      <a:pt x="41" y="150"/>
                    </a:cubicBezTo>
                    <a:cubicBezTo>
                      <a:pt x="46" y="152"/>
                      <a:pt x="47" y="159"/>
                      <a:pt x="52" y="162"/>
                    </a:cubicBezTo>
                    <a:cubicBezTo>
                      <a:pt x="54" y="163"/>
                      <a:pt x="60" y="161"/>
                      <a:pt x="58" y="166"/>
                    </a:cubicBezTo>
                    <a:cubicBezTo>
                      <a:pt x="56" y="173"/>
                      <a:pt x="50" y="171"/>
                      <a:pt x="45" y="170"/>
                    </a:cubicBezTo>
                    <a:cubicBezTo>
                      <a:pt x="42" y="168"/>
                      <a:pt x="39" y="167"/>
                      <a:pt x="38" y="169"/>
                    </a:cubicBezTo>
                    <a:cubicBezTo>
                      <a:pt x="38" y="169"/>
                      <a:pt x="63" y="193"/>
                      <a:pt x="56" y="200"/>
                    </a:cubicBezTo>
                    <a:cubicBezTo>
                      <a:pt x="70" y="207"/>
                      <a:pt x="63" y="204"/>
                      <a:pt x="84" y="213"/>
                    </a:cubicBezTo>
                    <a:cubicBezTo>
                      <a:pt x="91" y="215"/>
                      <a:pt x="84" y="227"/>
                      <a:pt x="90" y="230"/>
                    </a:cubicBezTo>
                    <a:cubicBezTo>
                      <a:pt x="100" y="234"/>
                      <a:pt x="100" y="239"/>
                      <a:pt x="107" y="242"/>
                    </a:cubicBezTo>
                    <a:cubicBezTo>
                      <a:pt x="113" y="246"/>
                      <a:pt x="97" y="246"/>
                      <a:pt x="101" y="249"/>
                    </a:cubicBezTo>
                    <a:cubicBezTo>
                      <a:pt x="108" y="254"/>
                      <a:pt x="96" y="253"/>
                      <a:pt x="95" y="256"/>
                    </a:cubicBezTo>
                    <a:cubicBezTo>
                      <a:pt x="99" y="271"/>
                      <a:pt x="98" y="270"/>
                      <a:pt x="97" y="269"/>
                    </a:cubicBezTo>
                    <a:cubicBezTo>
                      <a:pt x="97" y="268"/>
                      <a:pt x="96" y="268"/>
                      <a:pt x="96" y="269"/>
                    </a:cubicBezTo>
                  </a:path>
                </a:pathLst>
              </a:custGeom>
              <a:solidFill>
                <a:srgbClr val="6785C1">
                  <a:lumMod val="40000"/>
                  <a:lumOff val="60000"/>
                </a:srgbClr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140" name="Malta" descr="{&quot;Key&quot;:&quot;malta&quot;,&quot;Name&quot;:&quot;Malta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DFCFF096-5E21-4667-3724-A55C126683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85063" y="6565340"/>
                <a:ext cx="53975" cy="42863"/>
              </a:xfrm>
              <a:custGeom>
                <a:avLst/>
                <a:gdLst>
                  <a:gd name="T0" fmla="*/ 0 w 67"/>
                  <a:gd name="T1" fmla="*/ 0 h 54"/>
                  <a:gd name="T2" fmla="*/ 0 w 67"/>
                  <a:gd name="T3" fmla="*/ 41 h 54"/>
                  <a:gd name="T4" fmla="*/ 27 w 67"/>
                  <a:gd name="T5" fmla="*/ 41 h 54"/>
                  <a:gd name="T6" fmla="*/ 67 w 67"/>
                  <a:gd name="T7" fmla="*/ 54 h 54"/>
                  <a:gd name="T8" fmla="*/ 67 w 67"/>
                  <a:gd name="T9" fmla="*/ 14 h 54"/>
                  <a:gd name="T10" fmla="*/ 40 w 67"/>
                  <a:gd name="T11" fmla="*/ 0 h 54"/>
                  <a:gd name="T12" fmla="*/ 0 w 67"/>
                  <a:gd name="T13" fmla="*/ 0 h 5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7"/>
                  <a:gd name="T22" fmla="*/ 0 h 54"/>
                  <a:gd name="T23" fmla="*/ 67 w 67"/>
                  <a:gd name="T24" fmla="*/ 54 h 5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7" h="54">
                    <a:moveTo>
                      <a:pt x="0" y="0"/>
                    </a:moveTo>
                    <a:lnTo>
                      <a:pt x="0" y="41"/>
                    </a:lnTo>
                    <a:lnTo>
                      <a:pt x="27" y="41"/>
                    </a:lnTo>
                    <a:lnTo>
                      <a:pt x="67" y="54"/>
                    </a:lnTo>
                    <a:lnTo>
                      <a:pt x="67" y="14"/>
                    </a:lnTo>
                    <a:lnTo>
                      <a:pt x="4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405F9E"/>
              </a:solidFill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</p:grpSp>
        <p:grpSp>
          <p:nvGrpSpPr>
            <p:cNvPr id="63" name="Cities">
              <a:extLst>
                <a:ext uri="{FF2B5EF4-FFF2-40B4-BE49-F238E27FC236}">
                  <a16:creationId xmlns:a16="http://schemas.microsoft.com/office/drawing/2014/main" id="{984A2971-9CD8-FA64-9CF0-912B99925D7D}"/>
                </a:ext>
              </a:extLst>
            </p:cNvPr>
            <p:cNvGrpSpPr/>
            <p:nvPr/>
          </p:nvGrpSpPr>
          <p:grpSpPr>
            <a:xfrm>
              <a:off x="4303494" y="4035394"/>
              <a:ext cx="2434017" cy="1633135"/>
              <a:chOff x="4303494" y="4035394"/>
              <a:chExt cx="2434017" cy="1633135"/>
            </a:xfrm>
            <a:grpFill/>
          </p:grpSpPr>
          <p:sp>
            <p:nvSpPr>
              <p:cNvPr id="89" name="Etiquette - Circle - London">
                <a:extLst>
                  <a:ext uri="{FF2B5EF4-FFF2-40B4-BE49-F238E27FC236}">
                    <a16:creationId xmlns:a16="http://schemas.microsoft.com/office/drawing/2014/main" id="{4CA5DB64-3F6C-C7F7-30B4-9D01B36F296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303494" y="4317489"/>
                <a:ext cx="63360" cy="63360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>
                  <a:defRPr/>
                </a:pPr>
                <a:endParaRPr lang="en-GB" sz="8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Etiquette - Circle - Minsk">
                <a:extLst>
                  <a:ext uri="{FF2B5EF4-FFF2-40B4-BE49-F238E27FC236}">
                    <a16:creationId xmlns:a16="http://schemas.microsoft.com/office/drawing/2014/main" id="{7C29F700-BBFB-781C-74E2-BA97B1F6D57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252944" y="4035394"/>
                <a:ext cx="63360" cy="63360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>
                  <a:defRPr/>
                </a:pPr>
                <a:endParaRPr lang="en-GB" sz="80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Etiquette - Circle - Kiev">
                <a:extLst>
                  <a:ext uri="{FF2B5EF4-FFF2-40B4-BE49-F238E27FC236}">
                    <a16:creationId xmlns:a16="http://schemas.microsoft.com/office/drawing/2014/main" id="{D82A061C-B1AE-FA0E-896B-D4019961714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674151" y="4400458"/>
                <a:ext cx="63360" cy="63360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>
                  <a:defRPr/>
                </a:pPr>
                <a:endParaRPr lang="en-GB" sz="80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Etiquette - Circle - Bratislava">
                <a:extLst>
                  <a:ext uri="{FF2B5EF4-FFF2-40B4-BE49-F238E27FC236}">
                    <a16:creationId xmlns:a16="http://schemas.microsoft.com/office/drawing/2014/main" id="{DF11EE8A-C354-4962-437C-959E2E3D89F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660583" y="4888316"/>
                <a:ext cx="63360" cy="63360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>
                  <a:defRPr/>
                </a:pPr>
                <a:endParaRPr lang="en-GB" sz="800">
                  <a:solidFill>
                    <a:srgbClr val="FFFFFF"/>
                  </a:solidFill>
                </a:endParaRPr>
              </a:p>
            </p:txBody>
          </p:sp>
          <p:sp>
            <p:nvSpPr>
              <p:cNvPr id="93" name="Etiquette - Circle - Chisinau">
                <a:extLst>
                  <a:ext uri="{FF2B5EF4-FFF2-40B4-BE49-F238E27FC236}">
                    <a16:creationId xmlns:a16="http://schemas.microsoft.com/office/drawing/2014/main" id="{A5DB2819-20B8-535D-6445-7F553690672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638949" y="4830238"/>
                <a:ext cx="63360" cy="63360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>
                  <a:defRPr/>
                </a:pPr>
                <a:endParaRPr lang="en-GB" sz="80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Etiquette - Circle - Podgorica">
                <a:extLst>
                  <a:ext uri="{FF2B5EF4-FFF2-40B4-BE49-F238E27FC236}">
                    <a16:creationId xmlns:a16="http://schemas.microsoft.com/office/drawing/2014/main" id="{0263B433-6320-6094-C97D-7D6EB33AB1E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888788" y="5605169"/>
                <a:ext cx="63360" cy="63360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>
                  <a:defRPr/>
                </a:pPr>
                <a:endParaRPr lang="en-GB" sz="80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64" name="GradientColorLegend">
              <a:extLst>
                <a:ext uri="{FF2B5EF4-FFF2-40B4-BE49-F238E27FC236}">
                  <a16:creationId xmlns:a16="http://schemas.microsoft.com/office/drawing/2014/main" id="{BECAEFE7-A0A3-3548-8C15-1C876BEFB631}"/>
                </a:ext>
              </a:extLst>
            </p:cNvPr>
            <p:cNvGrpSpPr/>
            <p:nvPr/>
          </p:nvGrpSpPr>
          <p:grpSpPr>
            <a:xfrm>
              <a:off x="2282958" y="3097925"/>
              <a:ext cx="195533" cy="1657573"/>
              <a:chOff x="1028441" y="2435111"/>
              <a:chExt cx="195533" cy="1657573"/>
            </a:xfrm>
            <a:grpFill/>
          </p:grpSpPr>
          <p:sp>
            <p:nvSpPr>
              <p:cNvPr id="86" name="Etiquette - GradientColorLegend - DARK - Shape" hidden="1">
                <a:extLst>
                  <a:ext uri="{FF2B5EF4-FFF2-40B4-BE49-F238E27FC236}">
                    <a16:creationId xmlns:a16="http://schemas.microsoft.com/office/drawing/2014/main" id="{903C0A23-D6F6-F919-17AE-B9C0C9865CDB}"/>
                  </a:ext>
                </a:extLst>
              </p:cNvPr>
              <p:cNvSpPr/>
              <p:nvPr/>
            </p:nvSpPr>
            <p:spPr>
              <a:xfrm>
                <a:off x="1066170" y="2575168"/>
                <a:ext cx="120073" cy="1382400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>
                  <a:defRPr/>
                </a:pPr>
                <a:endParaRPr lang="en-GB" sz="800">
                  <a:solidFill>
                    <a:srgbClr val="FFFFFF"/>
                  </a:solidFill>
                </a:endParaRPr>
              </a:p>
            </p:txBody>
          </p:sp>
          <p:sp>
            <p:nvSpPr>
              <p:cNvPr id="87" name="Etiquette - GradientColorLegend - DARK - MaxValue" hidden="1">
                <a:extLst>
                  <a:ext uri="{FF2B5EF4-FFF2-40B4-BE49-F238E27FC236}">
                    <a16:creationId xmlns:a16="http://schemas.microsoft.com/office/drawing/2014/main" id="{B0EE2167-1477-7E49-97D9-8B0E3D6C9178}"/>
                  </a:ext>
                </a:extLst>
              </p:cNvPr>
              <p:cNvSpPr txBox="1"/>
              <p:nvPr/>
            </p:nvSpPr>
            <p:spPr>
              <a:xfrm>
                <a:off x="1028441" y="2435111"/>
                <a:ext cx="195533" cy="132502"/>
              </a:xfrm>
              <a:prstGeom prst="rect">
                <a:avLst/>
              </a:prstGeom>
              <a:grpFill/>
            </p:spPr>
            <p:txBody>
              <a:bodyPr wrap="none" lIns="0" tIns="0" rIns="0" bIns="0" rtlCol="0" anchor="b">
                <a:spAutoFit/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>
                  <a:defRPr/>
                </a:pPr>
                <a:r>
                  <a:rPr lang="en-GB" sz="800">
                    <a:solidFill>
                      <a:srgbClr val="404040"/>
                    </a:solidFill>
                  </a:rPr>
                  <a:t>Max</a:t>
                </a:r>
              </a:p>
            </p:txBody>
          </p:sp>
          <p:sp>
            <p:nvSpPr>
              <p:cNvPr id="88" name="Etiquette - GradientColorLegend - DARK - MinValue" hidden="1">
                <a:extLst>
                  <a:ext uri="{FF2B5EF4-FFF2-40B4-BE49-F238E27FC236}">
                    <a16:creationId xmlns:a16="http://schemas.microsoft.com/office/drawing/2014/main" id="{3E3CAE8E-6704-0BA6-9C1A-E5A78C6AA150}"/>
                  </a:ext>
                </a:extLst>
              </p:cNvPr>
              <p:cNvSpPr txBox="1"/>
              <p:nvPr/>
            </p:nvSpPr>
            <p:spPr>
              <a:xfrm>
                <a:off x="1037641" y="3960182"/>
                <a:ext cx="177130" cy="132502"/>
              </a:xfrm>
              <a:prstGeom prst="rect">
                <a:avLst/>
              </a:prstGeom>
              <a:grp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>
                  <a:defRPr/>
                </a:pPr>
                <a:r>
                  <a:rPr lang="en-GB" sz="800">
                    <a:solidFill>
                      <a:srgbClr val="404040"/>
                    </a:solidFill>
                  </a:rPr>
                  <a:t>Min</a:t>
                </a:r>
              </a:p>
            </p:txBody>
          </p:sp>
        </p:grpSp>
        <p:grpSp>
          <p:nvGrpSpPr>
            <p:cNvPr id="65" name="RangeColorLegend">
              <a:extLst>
                <a:ext uri="{FF2B5EF4-FFF2-40B4-BE49-F238E27FC236}">
                  <a16:creationId xmlns:a16="http://schemas.microsoft.com/office/drawing/2014/main" id="{D441C9C6-98D2-5C48-E452-F6E54B92D178}"/>
                </a:ext>
              </a:extLst>
            </p:cNvPr>
            <p:cNvGrpSpPr/>
            <p:nvPr/>
          </p:nvGrpSpPr>
          <p:grpSpPr>
            <a:xfrm>
              <a:off x="1815576" y="3530476"/>
              <a:ext cx="1270800" cy="1538880"/>
              <a:chOff x="9228362" y="4919762"/>
              <a:chExt cx="1270800" cy="1538880"/>
            </a:xfrm>
            <a:grpFill/>
          </p:grpSpPr>
          <p:sp>
            <p:nvSpPr>
              <p:cNvPr id="66" name="Etiquette - RangeColorLegend - DARK - Color - 2" hidden="1">
                <a:extLst>
                  <a:ext uri="{FF2B5EF4-FFF2-40B4-BE49-F238E27FC236}">
                    <a16:creationId xmlns:a16="http://schemas.microsoft.com/office/drawing/2014/main" id="{2642EDFF-D9A4-1582-23C5-154793DB1E55}"/>
                  </a:ext>
                </a:extLst>
              </p:cNvPr>
              <p:cNvSpPr/>
              <p:nvPr/>
            </p:nvSpPr>
            <p:spPr>
              <a:xfrm>
                <a:off x="9228362" y="5073650"/>
                <a:ext cx="154800" cy="153888"/>
              </a:xfrm>
              <a:prstGeom prst="rect">
                <a:avLst/>
              </a:prstGeom>
              <a:grpFill/>
              <a:ln>
                <a:solidFill>
                  <a:srgbClr val="404040"/>
                </a:solidFill>
              </a:ln>
            </p:spPr>
            <p:txBody>
              <a:bodyPr wrap="square" lIns="0" tIns="0" rIns="0" bIns="0" anchor="ctr">
                <a:noAutofit/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67" name="Etiquette - RangeColorLegend - DARK - Color - 1" hidden="1">
                <a:extLst>
                  <a:ext uri="{FF2B5EF4-FFF2-40B4-BE49-F238E27FC236}">
                    <a16:creationId xmlns:a16="http://schemas.microsoft.com/office/drawing/2014/main" id="{6465B9E4-DB18-40C7-CBAA-0FFF5AEDFEE6}"/>
                  </a:ext>
                </a:extLst>
              </p:cNvPr>
              <p:cNvSpPr/>
              <p:nvPr/>
            </p:nvSpPr>
            <p:spPr>
              <a:xfrm>
                <a:off x="9228362" y="4919762"/>
                <a:ext cx="154800" cy="153888"/>
              </a:xfrm>
              <a:prstGeom prst="rect">
                <a:avLst/>
              </a:prstGeom>
              <a:grpFill/>
              <a:ln>
                <a:solidFill>
                  <a:srgbClr val="404040"/>
                </a:solidFill>
              </a:ln>
            </p:spPr>
            <p:txBody>
              <a:bodyPr wrap="square" lIns="0" tIns="0" rIns="0" bIns="0" anchor="ctr">
                <a:noAutofit/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68" name="Etiquette - RangeColorLegend - DARK - Number - 2" hidden="1">
                <a:extLst>
                  <a:ext uri="{FF2B5EF4-FFF2-40B4-BE49-F238E27FC236}">
                    <a16:creationId xmlns:a16="http://schemas.microsoft.com/office/drawing/2014/main" id="{1A4843E1-AACA-F4E6-3067-244C34BEC153}"/>
                  </a:ext>
                </a:extLst>
              </p:cNvPr>
              <p:cNvSpPr/>
              <p:nvPr/>
            </p:nvSpPr>
            <p:spPr>
              <a:xfrm>
                <a:off x="9383162" y="5073650"/>
                <a:ext cx="1116000" cy="1538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none" lIns="72000" tIns="0" rIns="0" bIns="0" anchor="ctr">
                <a:noAutofit/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r>
                  <a:rPr lang="en-GB" sz="800">
                    <a:solidFill>
                      <a:srgbClr val="404040"/>
                    </a:solidFill>
                  </a:rPr>
                  <a:t>[100 to 200[</a:t>
                </a:r>
              </a:p>
            </p:txBody>
          </p:sp>
          <p:sp>
            <p:nvSpPr>
              <p:cNvPr id="69" name="Etiquette - RangeColorLegend - DARK - Number - 1" hidden="1">
                <a:extLst>
                  <a:ext uri="{FF2B5EF4-FFF2-40B4-BE49-F238E27FC236}">
                    <a16:creationId xmlns:a16="http://schemas.microsoft.com/office/drawing/2014/main" id="{ADBE8A0D-6475-16B9-52F7-199A70330CCC}"/>
                  </a:ext>
                </a:extLst>
              </p:cNvPr>
              <p:cNvSpPr/>
              <p:nvPr/>
            </p:nvSpPr>
            <p:spPr>
              <a:xfrm>
                <a:off x="9383162" y="4919762"/>
                <a:ext cx="1116000" cy="1538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none" lIns="72000" tIns="0" rIns="0" bIns="0" anchor="ctr">
                <a:noAutofit/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r>
                  <a:rPr lang="en-GB" sz="800">
                    <a:solidFill>
                      <a:srgbClr val="404040"/>
                    </a:solidFill>
                  </a:rPr>
                  <a:t>[0 to 100[</a:t>
                </a:r>
              </a:p>
            </p:txBody>
          </p:sp>
          <p:sp>
            <p:nvSpPr>
              <p:cNvPr id="70" name="Etiquette - RangeColorLegend - DARK - Color - 4" hidden="1">
                <a:extLst>
                  <a:ext uri="{FF2B5EF4-FFF2-40B4-BE49-F238E27FC236}">
                    <a16:creationId xmlns:a16="http://schemas.microsoft.com/office/drawing/2014/main" id="{F5BA1370-0135-5CB7-D5AB-B46C0A1A6E6C}"/>
                  </a:ext>
                </a:extLst>
              </p:cNvPr>
              <p:cNvSpPr/>
              <p:nvPr/>
            </p:nvSpPr>
            <p:spPr>
              <a:xfrm>
                <a:off x="9228362" y="5381426"/>
                <a:ext cx="154800" cy="153888"/>
              </a:xfrm>
              <a:prstGeom prst="rect">
                <a:avLst/>
              </a:prstGeom>
              <a:grpFill/>
              <a:ln>
                <a:solidFill>
                  <a:srgbClr val="404040"/>
                </a:solidFill>
              </a:ln>
            </p:spPr>
            <p:txBody>
              <a:bodyPr wrap="square" lIns="0" tIns="0" rIns="0" bIns="0" anchor="ctr">
                <a:noAutofit/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71" name="Etiquette - RangeColorLegend - DARK - Color - 3" hidden="1">
                <a:extLst>
                  <a:ext uri="{FF2B5EF4-FFF2-40B4-BE49-F238E27FC236}">
                    <a16:creationId xmlns:a16="http://schemas.microsoft.com/office/drawing/2014/main" id="{3D112CEA-D34A-D4BE-71DF-2CA0EC55E8FE}"/>
                  </a:ext>
                </a:extLst>
              </p:cNvPr>
              <p:cNvSpPr/>
              <p:nvPr/>
            </p:nvSpPr>
            <p:spPr>
              <a:xfrm>
                <a:off x="9228362" y="5227538"/>
                <a:ext cx="154800" cy="153888"/>
              </a:xfrm>
              <a:prstGeom prst="rect">
                <a:avLst/>
              </a:prstGeom>
              <a:grpFill/>
              <a:ln>
                <a:solidFill>
                  <a:srgbClr val="404040"/>
                </a:solidFill>
              </a:ln>
            </p:spPr>
            <p:txBody>
              <a:bodyPr wrap="square" lIns="0" tIns="0" rIns="0" bIns="0" anchor="ctr">
                <a:noAutofit/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72" name="Etiquette - RangeColorLegend - DARK - Number - 4" hidden="1">
                <a:extLst>
                  <a:ext uri="{FF2B5EF4-FFF2-40B4-BE49-F238E27FC236}">
                    <a16:creationId xmlns:a16="http://schemas.microsoft.com/office/drawing/2014/main" id="{BC1CC3AB-C65D-82DC-B8FC-1AF7316A8C72}"/>
                  </a:ext>
                </a:extLst>
              </p:cNvPr>
              <p:cNvSpPr/>
              <p:nvPr/>
            </p:nvSpPr>
            <p:spPr>
              <a:xfrm>
                <a:off x="9383162" y="5381426"/>
                <a:ext cx="1116000" cy="1538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none" lIns="72000" tIns="0" rIns="0" bIns="0" anchor="ctr">
                <a:noAutofit/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r>
                  <a:rPr lang="en-GB" sz="800">
                    <a:solidFill>
                      <a:srgbClr val="404040"/>
                    </a:solidFill>
                  </a:rPr>
                  <a:t>[300 to 400[</a:t>
                </a:r>
              </a:p>
            </p:txBody>
          </p:sp>
          <p:sp>
            <p:nvSpPr>
              <p:cNvPr id="73" name="Etiquette - RangeColorLegend - DARK - Number - 3" hidden="1">
                <a:extLst>
                  <a:ext uri="{FF2B5EF4-FFF2-40B4-BE49-F238E27FC236}">
                    <a16:creationId xmlns:a16="http://schemas.microsoft.com/office/drawing/2014/main" id="{983832CC-E908-95F6-2951-AB66A7331488}"/>
                  </a:ext>
                </a:extLst>
              </p:cNvPr>
              <p:cNvSpPr/>
              <p:nvPr/>
            </p:nvSpPr>
            <p:spPr>
              <a:xfrm>
                <a:off x="9383162" y="5227538"/>
                <a:ext cx="1116000" cy="1538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none" lIns="72000" tIns="0" rIns="0" bIns="0" anchor="ctr">
                <a:noAutofit/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r>
                  <a:rPr lang="en-GB" sz="800">
                    <a:solidFill>
                      <a:srgbClr val="404040"/>
                    </a:solidFill>
                  </a:rPr>
                  <a:t>[200 to 300[</a:t>
                </a:r>
              </a:p>
            </p:txBody>
          </p:sp>
          <p:sp>
            <p:nvSpPr>
              <p:cNvPr id="74" name="Etiquette - RangeColorLegend - DARK - Color - 5" hidden="1">
                <a:extLst>
                  <a:ext uri="{FF2B5EF4-FFF2-40B4-BE49-F238E27FC236}">
                    <a16:creationId xmlns:a16="http://schemas.microsoft.com/office/drawing/2014/main" id="{F1C7B88E-71A9-5405-116A-34CE4535961A}"/>
                  </a:ext>
                </a:extLst>
              </p:cNvPr>
              <p:cNvSpPr/>
              <p:nvPr/>
            </p:nvSpPr>
            <p:spPr>
              <a:xfrm>
                <a:off x="9228362" y="5535314"/>
                <a:ext cx="154800" cy="153888"/>
              </a:xfrm>
              <a:prstGeom prst="rect">
                <a:avLst/>
              </a:prstGeom>
              <a:grpFill/>
              <a:ln>
                <a:solidFill>
                  <a:srgbClr val="404040"/>
                </a:solidFill>
              </a:ln>
            </p:spPr>
            <p:txBody>
              <a:bodyPr wrap="square" lIns="0" tIns="0" rIns="0" bIns="0" anchor="ctr">
                <a:noAutofit/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75" name="Etiquette - RangeColorLegend - DARK - Number - 5" hidden="1">
                <a:extLst>
                  <a:ext uri="{FF2B5EF4-FFF2-40B4-BE49-F238E27FC236}">
                    <a16:creationId xmlns:a16="http://schemas.microsoft.com/office/drawing/2014/main" id="{F363E026-E729-0BEB-95D7-648849228941}"/>
                  </a:ext>
                </a:extLst>
              </p:cNvPr>
              <p:cNvSpPr/>
              <p:nvPr/>
            </p:nvSpPr>
            <p:spPr>
              <a:xfrm>
                <a:off x="9383162" y="5535314"/>
                <a:ext cx="1116000" cy="1538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none" lIns="72000" tIns="0" rIns="0" bIns="0" anchor="ctr">
                <a:noAutofit/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r>
                  <a:rPr lang="en-GB" sz="800">
                    <a:solidFill>
                      <a:srgbClr val="404040"/>
                    </a:solidFill>
                  </a:rPr>
                  <a:t>400+</a:t>
                </a:r>
              </a:p>
            </p:txBody>
          </p:sp>
          <p:sp>
            <p:nvSpPr>
              <p:cNvPr id="76" name="Etiquette - RangeColorLegend - DARK - Color - 6" hidden="1">
                <a:extLst>
                  <a:ext uri="{FF2B5EF4-FFF2-40B4-BE49-F238E27FC236}">
                    <a16:creationId xmlns:a16="http://schemas.microsoft.com/office/drawing/2014/main" id="{23A2A3D1-DB7D-109F-67C8-7DC82B6B79CF}"/>
                  </a:ext>
                </a:extLst>
              </p:cNvPr>
              <p:cNvSpPr/>
              <p:nvPr/>
            </p:nvSpPr>
            <p:spPr>
              <a:xfrm>
                <a:off x="9228362" y="5689202"/>
                <a:ext cx="154800" cy="153888"/>
              </a:xfrm>
              <a:prstGeom prst="rect">
                <a:avLst/>
              </a:prstGeom>
              <a:grpFill/>
              <a:ln>
                <a:solidFill>
                  <a:srgbClr val="404040"/>
                </a:solidFill>
              </a:ln>
            </p:spPr>
            <p:txBody>
              <a:bodyPr wrap="square" lIns="0" tIns="0" rIns="0" bIns="0" anchor="ctr">
                <a:noAutofit/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77" name="Etiquette - RangeColorLegend - DARK - Number - 6" hidden="1">
                <a:extLst>
                  <a:ext uri="{FF2B5EF4-FFF2-40B4-BE49-F238E27FC236}">
                    <a16:creationId xmlns:a16="http://schemas.microsoft.com/office/drawing/2014/main" id="{5AE4B876-BEB3-8999-5A78-A7909067B9F1}"/>
                  </a:ext>
                </a:extLst>
              </p:cNvPr>
              <p:cNvSpPr/>
              <p:nvPr/>
            </p:nvSpPr>
            <p:spPr>
              <a:xfrm>
                <a:off x="9383162" y="5689202"/>
                <a:ext cx="1116000" cy="1538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none" lIns="72000" tIns="0" rIns="0" bIns="0" anchor="ctr">
                <a:noAutofit/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r>
                  <a:rPr lang="en-GB" sz="800">
                    <a:solidFill>
                      <a:srgbClr val="404040"/>
                    </a:solidFill>
                  </a:rPr>
                  <a:t>400+</a:t>
                </a:r>
              </a:p>
            </p:txBody>
          </p:sp>
          <p:sp>
            <p:nvSpPr>
              <p:cNvPr id="78" name="Etiquette - RangeColorLegend - DARK - Color - 7" hidden="1">
                <a:extLst>
                  <a:ext uri="{FF2B5EF4-FFF2-40B4-BE49-F238E27FC236}">
                    <a16:creationId xmlns:a16="http://schemas.microsoft.com/office/drawing/2014/main" id="{BFC95C9F-7001-C451-0731-3CE8A1D55F12}"/>
                  </a:ext>
                </a:extLst>
              </p:cNvPr>
              <p:cNvSpPr/>
              <p:nvPr/>
            </p:nvSpPr>
            <p:spPr>
              <a:xfrm>
                <a:off x="9228362" y="5843090"/>
                <a:ext cx="154800" cy="153888"/>
              </a:xfrm>
              <a:prstGeom prst="rect">
                <a:avLst/>
              </a:prstGeom>
              <a:grpFill/>
              <a:ln>
                <a:solidFill>
                  <a:srgbClr val="404040"/>
                </a:solidFill>
              </a:ln>
            </p:spPr>
            <p:txBody>
              <a:bodyPr wrap="square" lIns="0" tIns="0" rIns="0" bIns="0" anchor="ctr">
                <a:noAutofit/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79" name="Etiquette - RangeColorLegend - DARK - Number - 7" hidden="1">
                <a:extLst>
                  <a:ext uri="{FF2B5EF4-FFF2-40B4-BE49-F238E27FC236}">
                    <a16:creationId xmlns:a16="http://schemas.microsoft.com/office/drawing/2014/main" id="{AFFDF977-EFC8-7973-8E1A-79D4436ED003}"/>
                  </a:ext>
                </a:extLst>
              </p:cNvPr>
              <p:cNvSpPr/>
              <p:nvPr/>
            </p:nvSpPr>
            <p:spPr>
              <a:xfrm>
                <a:off x="9383162" y="5843090"/>
                <a:ext cx="1116000" cy="1538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none" lIns="72000" tIns="0" rIns="0" bIns="0" anchor="ctr">
                <a:noAutofit/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r>
                  <a:rPr lang="en-GB" sz="800">
                    <a:solidFill>
                      <a:srgbClr val="404040"/>
                    </a:solidFill>
                  </a:rPr>
                  <a:t>400+</a:t>
                </a:r>
              </a:p>
            </p:txBody>
          </p:sp>
          <p:sp>
            <p:nvSpPr>
              <p:cNvPr id="80" name="Etiquette - RangeColorLegend - DARK - Color - 8" hidden="1">
                <a:extLst>
                  <a:ext uri="{FF2B5EF4-FFF2-40B4-BE49-F238E27FC236}">
                    <a16:creationId xmlns:a16="http://schemas.microsoft.com/office/drawing/2014/main" id="{CEB72F87-EC9C-86A0-9FEB-8FF858BCAC0F}"/>
                  </a:ext>
                </a:extLst>
              </p:cNvPr>
              <p:cNvSpPr/>
              <p:nvPr/>
            </p:nvSpPr>
            <p:spPr>
              <a:xfrm>
                <a:off x="9228362" y="5996978"/>
                <a:ext cx="154800" cy="153888"/>
              </a:xfrm>
              <a:prstGeom prst="rect">
                <a:avLst/>
              </a:prstGeom>
              <a:grpFill/>
              <a:ln>
                <a:solidFill>
                  <a:srgbClr val="404040"/>
                </a:solidFill>
              </a:ln>
            </p:spPr>
            <p:txBody>
              <a:bodyPr wrap="square" lIns="0" tIns="0" rIns="0" bIns="0" anchor="ctr">
                <a:noAutofit/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81" name="Etiquette - RangeColorLegend - DARK - Number - 8" hidden="1">
                <a:extLst>
                  <a:ext uri="{FF2B5EF4-FFF2-40B4-BE49-F238E27FC236}">
                    <a16:creationId xmlns:a16="http://schemas.microsoft.com/office/drawing/2014/main" id="{84138984-6305-D7E6-5AD1-B7EAE6D25EEE}"/>
                  </a:ext>
                </a:extLst>
              </p:cNvPr>
              <p:cNvSpPr/>
              <p:nvPr/>
            </p:nvSpPr>
            <p:spPr>
              <a:xfrm>
                <a:off x="9383162" y="5996978"/>
                <a:ext cx="1116000" cy="1538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none" lIns="72000" tIns="0" rIns="0" bIns="0" anchor="ctr">
                <a:noAutofit/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r>
                  <a:rPr lang="en-GB" sz="800">
                    <a:solidFill>
                      <a:srgbClr val="404040"/>
                    </a:solidFill>
                  </a:rPr>
                  <a:t>400+</a:t>
                </a:r>
              </a:p>
            </p:txBody>
          </p:sp>
          <p:sp>
            <p:nvSpPr>
              <p:cNvPr id="82" name="Etiquette - RangeColorLegend - DARK - Color - 9" hidden="1">
                <a:extLst>
                  <a:ext uri="{FF2B5EF4-FFF2-40B4-BE49-F238E27FC236}">
                    <a16:creationId xmlns:a16="http://schemas.microsoft.com/office/drawing/2014/main" id="{05E8FDF8-2115-7D78-6E79-10368E48D295}"/>
                  </a:ext>
                </a:extLst>
              </p:cNvPr>
              <p:cNvSpPr/>
              <p:nvPr/>
            </p:nvSpPr>
            <p:spPr>
              <a:xfrm>
                <a:off x="9228362" y="6150866"/>
                <a:ext cx="154800" cy="153888"/>
              </a:xfrm>
              <a:prstGeom prst="rect">
                <a:avLst/>
              </a:prstGeom>
              <a:grpFill/>
              <a:ln>
                <a:solidFill>
                  <a:srgbClr val="404040"/>
                </a:solidFill>
              </a:ln>
            </p:spPr>
            <p:txBody>
              <a:bodyPr wrap="square" lIns="0" tIns="0" rIns="0" bIns="0" anchor="ctr">
                <a:noAutofit/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83" name="Etiquette - RangeColorLegend - DARK - Number - 9" hidden="1">
                <a:extLst>
                  <a:ext uri="{FF2B5EF4-FFF2-40B4-BE49-F238E27FC236}">
                    <a16:creationId xmlns:a16="http://schemas.microsoft.com/office/drawing/2014/main" id="{1A7A081F-C8BE-A344-64A5-A34F708C172C}"/>
                  </a:ext>
                </a:extLst>
              </p:cNvPr>
              <p:cNvSpPr/>
              <p:nvPr/>
            </p:nvSpPr>
            <p:spPr>
              <a:xfrm>
                <a:off x="9383162" y="6150866"/>
                <a:ext cx="1116000" cy="1538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none" lIns="72000" tIns="0" rIns="0" bIns="0" anchor="ctr">
                <a:noAutofit/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r>
                  <a:rPr lang="en-GB" sz="800">
                    <a:solidFill>
                      <a:srgbClr val="404040"/>
                    </a:solidFill>
                  </a:rPr>
                  <a:t>400+</a:t>
                </a:r>
              </a:p>
            </p:txBody>
          </p:sp>
          <p:sp>
            <p:nvSpPr>
              <p:cNvPr id="84" name="Etiquette - RangeColorLegend - DARK - Color - 10" hidden="1">
                <a:extLst>
                  <a:ext uri="{FF2B5EF4-FFF2-40B4-BE49-F238E27FC236}">
                    <a16:creationId xmlns:a16="http://schemas.microsoft.com/office/drawing/2014/main" id="{845C36D4-557E-80BA-5A7B-EEDF3EB98C50}"/>
                  </a:ext>
                </a:extLst>
              </p:cNvPr>
              <p:cNvSpPr/>
              <p:nvPr/>
            </p:nvSpPr>
            <p:spPr>
              <a:xfrm>
                <a:off x="9228362" y="6304754"/>
                <a:ext cx="154800" cy="153888"/>
              </a:xfrm>
              <a:prstGeom prst="rect">
                <a:avLst/>
              </a:prstGeom>
              <a:grpFill/>
              <a:ln>
                <a:solidFill>
                  <a:srgbClr val="404040"/>
                </a:solidFill>
              </a:ln>
            </p:spPr>
            <p:txBody>
              <a:bodyPr wrap="square" lIns="0" tIns="0" rIns="0" bIns="0" anchor="ctr">
                <a:noAutofit/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>
                  <a:defRPr/>
                </a:pPr>
                <a:endParaRPr lang="en-GB" sz="800">
                  <a:solidFill>
                    <a:srgbClr val="404040"/>
                  </a:solidFill>
                </a:endParaRPr>
              </a:p>
            </p:txBody>
          </p:sp>
          <p:sp>
            <p:nvSpPr>
              <p:cNvPr id="85" name="Etiquette - RangeColorLegend - DARK - Number - 10" hidden="1">
                <a:extLst>
                  <a:ext uri="{FF2B5EF4-FFF2-40B4-BE49-F238E27FC236}">
                    <a16:creationId xmlns:a16="http://schemas.microsoft.com/office/drawing/2014/main" id="{B392FA37-A28C-57F2-8D39-15F8D734A854}"/>
                  </a:ext>
                </a:extLst>
              </p:cNvPr>
              <p:cNvSpPr/>
              <p:nvPr/>
            </p:nvSpPr>
            <p:spPr>
              <a:xfrm>
                <a:off x="9383162" y="6304754"/>
                <a:ext cx="1116000" cy="1538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none" lIns="72000" tIns="0" rIns="0" bIns="0" anchor="ctr">
                <a:noAutofit/>
              </a:bodyPr>
              <a:lstStyle>
                <a:defPPr>
                  <a:defRPr lang="en-US"/>
                </a:defPPr>
                <a:lvl1pPr marL="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1219170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54">
                  <a:defRPr/>
                </a:pPr>
                <a:r>
                  <a:rPr lang="en-GB" sz="800">
                    <a:solidFill>
                      <a:srgbClr val="404040"/>
                    </a:solidFill>
                  </a:rPr>
                  <a:t>400+</a:t>
                </a:r>
              </a:p>
            </p:txBody>
          </p:sp>
        </p:grpSp>
      </p:grpSp>
      <p:grpSp>
        <p:nvGrpSpPr>
          <p:cNvPr id="148" name="Credit_card5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614C324-13BC-CD34-6D8E-2C07F3277AA8}"/>
              </a:ext>
            </a:extLst>
          </p:cNvPr>
          <p:cNvGrpSpPr>
            <a:grpSpLocks noChangeAspect="1"/>
          </p:cNvGrpSpPr>
          <p:nvPr/>
        </p:nvGrpSpPr>
        <p:grpSpPr>
          <a:xfrm>
            <a:off x="4055307" y="2291536"/>
            <a:ext cx="573067" cy="426329"/>
            <a:chOff x="5894388" y="6157913"/>
            <a:chExt cx="458788" cy="341313"/>
          </a:xfrm>
          <a:solidFill>
            <a:sysClr val="window" lastClr="FFFFFF"/>
          </a:solidFill>
        </p:grpSpPr>
        <p:sp>
          <p:nvSpPr>
            <p:cNvPr id="149" name="Freeform 356">
              <a:extLst>
                <a:ext uri="{FF2B5EF4-FFF2-40B4-BE49-F238E27FC236}">
                  <a16:creationId xmlns:a16="http://schemas.microsoft.com/office/drawing/2014/main" id="{08B7E8F4-F4E0-9F20-FB43-DC8A7436A23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4388" y="6157913"/>
              <a:ext cx="373063" cy="254000"/>
            </a:xfrm>
            <a:custGeom>
              <a:avLst/>
              <a:gdLst>
                <a:gd name="T0" fmla="*/ 281 w 410"/>
                <a:gd name="T1" fmla="*/ 278 h 278"/>
                <a:gd name="T2" fmla="*/ 25 w 410"/>
                <a:gd name="T3" fmla="*/ 278 h 278"/>
                <a:gd name="T4" fmla="*/ 0 w 410"/>
                <a:gd name="T5" fmla="*/ 253 h 278"/>
                <a:gd name="T6" fmla="*/ 0 w 410"/>
                <a:gd name="T7" fmla="*/ 25 h 278"/>
                <a:gd name="T8" fmla="*/ 25 w 410"/>
                <a:gd name="T9" fmla="*/ 0 h 278"/>
                <a:gd name="T10" fmla="*/ 384 w 410"/>
                <a:gd name="T11" fmla="*/ 0 h 278"/>
                <a:gd name="T12" fmla="*/ 410 w 410"/>
                <a:gd name="T13" fmla="*/ 25 h 278"/>
                <a:gd name="T14" fmla="*/ 410 w 410"/>
                <a:gd name="T15" fmla="*/ 157 h 278"/>
                <a:gd name="T16" fmla="*/ 403 w 410"/>
                <a:gd name="T17" fmla="*/ 165 h 278"/>
                <a:gd name="T18" fmla="*/ 395 w 410"/>
                <a:gd name="T19" fmla="*/ 157 h 278"/>
                <a:gd name="T20" fmla="*/ 395 w 410"/>
                <a:gd name="T21" fmla="*/ 25 h 278"/>
                <a:gd name="T22" fmla="*/ 384 w 410"/>
                <a:gd name="T23" fmla="*/ 14 h 278"/>
                <a:gd name="T24" fmla="*/ 25 w 410"/>
                <a:gd name="T25" fmla="*/ 14 h 278"/>
                <a:gd name="T26" fmla="*/ 14 w 410"/>
                <a:gd name="T27" fmla="*/ 25 h 278"/>
                <a:gd name="T28" fmla="*/ 14 w 410"/>
                <a:gd name="T29" fmla="*/ 253 h 278"/>
                <a:gd name="T30" fmla="*/ 25 w 410"/>
                <a:gd name="T31" fmla="*/ 264 h 278"/>
                <a:gd name="T32" fmla="*/ 281 w 410"/>
                <a:gd name="T33" fmla="*/ 264 h 278"/>
                <a:gd name="T34" fmla="*/ 289 w 410"/>
                <a:gd name="T35" fmla="*/ 271 h 278"/>
                <a:gd name="T36" fmla="*/ 281 w 410"/>
                <a:gd name="T37" fmla="*/ 278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10" h="278">
                  <a:moveTo>
                    <a:pt x="281" y="278"/>
                  </a:moveTo>
                  <a:lnTo>
                    <a:pt x="25" y="278"/>
                  </a:lnTo>
                  <a:cubicBezTo>
                    <a:pt x="11" y="278"/>
                    <a:pt x="0" y="267"/>
                    <a:pt x="0" y="253"/>
                  </a:cubicBezTo>
                  <a:lnTo>
                    <a:pt x="0" y="25"/>
                  </a:lnTo>
                  <a:cubicBezTo>
                    <a:pt x="0" y="11"/>
                    <a:pt x="11" y="0"/>
                    <a:pt x="25" y="0"/>
                  </a:cubicBezTo>
                  <a:lnTo>
                    <a:pt x="384" y="0"/>
                  </a:lnTo>
                  <a:cubicBezTo>
                    <a:pt x="398" y="0"/>
                    <a:pt x="410" y="11"/>
                    <a:pt x="410" y="25"/>
                  </a:cubicBezTo>
                  <a:lnTo>
                    <a:pt x="410" y="157"/>
                  </a:lnTo>
                  <a:cubicBezTo>
                    <a:pt x="410" y="162"/>
                    <a:pt x="407" y="165"/>
                    <a:pt x="403" y="165"/>
                  </a:cubicBezTo>
                  <a:cubicBezTo>
                    <a:pt x="399" y="165"/>
                    <a:pt x="395" y="162"/>
                    <a:pt x="395" y="157"/>
                  </a:cubicBezTo>
                  <a:lnTo>
                    <a:pt x="395" y="25"/>
                  </a:lnTo>
                  <a:cubicBezTo>
                    <a:pt x="395" y="19"/>
                    <a:pt x="390" y="14"/>
                    <a:pt x="384" y="14"/>
                  </a:cubicBezTo>
                  <a:lnTo>
                    <a:pt x="25" y="14"/>
                  </a:lnTo>
                  <a:cubicBezTo>
                    <a:pt x="19" y="14"/>
                    <a:pt x="14" y="19"/>
                    <a:pt x="14" y="25"/>
                  </a:cubicBezTo>
                  <a:lnTo>
                    <a:pt x="14" y="253"/>
                  </a:lnTo>
                  <a:cubicBezTo>
                    <a:pt x="14" y="259"/>
                    <a:pt x="19" y="264"/>
                    <a:pt x="25" y="264"/>
                  </a:cubicBezTo>
                  <a:lnTo>
                    <a:pt x="281" y="264"/>
                  </a:lnTo>
                  <a:cubicBezTo>
                    <a:pt x="286" y="264"/>
                    <a:pt x="289" y="267"/>
                    <a:pt x="289" y="271"/>
                  </a:cubicBezTo>
                  <a:cubicBezTo>
                    <a:pt x="289" y="275"/>
                    <a:pt x="286" y="278"/>
                    <a:pt x="281" y="27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fr-FR" sz="1800">
                <a:solidFill>
                  <a:prstClr val="black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150" name="Freeform 357">
              <a:extLst>
                <a:ext uri="{FF2B5EF4-FFF2-40B4-BE49-F238E27FC236}">
                  <a16:creationId xmlns:a16="http://schemas.microsoft.com/office/drawing/2014/main" id="{F7077D5D-0EAE-9094-24A7-C79F2D70A9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4388" y="6196013"/>
              <a:ext cx="373063" cy="14288"/>
            </a:xfrm>
            <a:custGeom>
              <a:avLst/>
              <a:gdLst>
                <a:gd name="T0" fmla="*/ 403 w 410"/>
                <a:gd name="T1" fmla="*/ 15 h 15"/>
                <a:gd name="T2" fmla="*/ 7 w 410"/>
                <a:gd name="T3" fmla="*/ 15 h 15"/>
                <a:gd name="T4" fmla="*/ 0 w 410"/>
                <a:gd name="T5" fmla="*/ 7 h 15"/>
                <a:gd name="T6" fmla="*/ 7 w 410"/>
                <a:gd name="T7" fmla="*/ 0 h 15"/>
                <a:gd name="T8" fmla="*/ 403 w 410"/>
                <a:gd name="T9" fmla="*/ 0 h 15"/>
                <a:gd name="T10" fmla="*/ 410 w 410"/>
                <a:gd name="T11" fmla="*/ 7 h 15"/>
                <a:gd name="T12" fmla="*/ 403 w 410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0" h="15">
                  <a:moveTo>
                    <a:pt x="403" y="15"/>
                  </a:moveTo>
                  <a:lnTo>
                    <a:pt x="7" y="15"/>
                  </a:lnTo>
                  <a:cubicBezTo>
                    <a:pt x="3" y="15"/>
                    <a:pt x="0" y="11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lnTo>
                    <a:pt x="403" y="0"/>
                  </a:lnTo>
                  <a:cubicBezTo>
                    <a:pt x="407" y="0"/>
                    <a:pt x="410" y="3"/>
                    <a:pt x="410" y="7"/>
                  </a:cubicBezTo>
                  <a:cubicBezTo>
                    <a:pt x="410" y="11"/>
                    <a:pt x="407" y="15"/>
                    <a:pt x="403" y="1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fr-FR" sz="1800">
                <a:solidFill>
                  <a:prstClr val="black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151" name="Freeform 358">
              <a:extLst>
                <a:ext uri="{FF2B5EF4-FFF2-40B4-BE49-F238E27FC236}">
                  <a16:creationId xmlns:a16="http://schemas.microsoft.com/office/drawing/2014/main" id="{71FAF0D9-E65B-8FA1-87D1-8599E194C7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4388" y="6248400"/>
              <a:ext cx="373063" cy="12700"/>
            </a:xfrm>
            <a:custGeom>
              <a:avLst/>
              <a:gdLst>
                <a:gd name="T0" fmla="*/ 403 w 410"/>
                <a:gd name="T1" fmla="*/ 15 h 15"/>
                <a:gd name="T2" fmla="*/ 7 w 410"/>
                <a:gd name="T3" fmla="*/ 15 h 15"/>
                <a:gd name="T4" fmla="*/ 0 w 410"/>
                <a:gd name="T5" fmla="*/ 7 h 15"/>
                <a:gd name="T6" fmla="*/ 7 w 410"/>
                <a:gd name="T7" fmla="*/ 0 h 15"/>
                <a:gd name="T8" fmla="*/ 403 w 410"/>
                <a:gd name="T9" fmla="*/ 0 h 15"/>
                <a:gd name="T10" fmla="*/ 410 w 410"/>
                <a:gd name="T11" fmla="*/ 7 h 15"/>
                <a:gd name="T12" fmla="*/ 403 w 410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0" h="15">
                  <a:moveTo>
                    <a:pt x="403" y="15"/>
                  </a:moveTo>
                  <a:lnTo>
                    <a:pt x="7" y="15"/>
                  </a:lnTo>
                  <a:cubicBezTo>
                    <a:pt x="3" y="15"/>
                    <a:pt x="0" y="11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lnTo>
                    <a:pt x="403" y="0"/>
                  </a:lnTo>
                  <a:cubicBezTo>
                    <a:pt x="407" y="0"/>
                    <a:pt x="410" y="3"/>
                    <a:pt x="410" y="7"/>
                  </a:cubicBezTo>
                  <a:cubicBezTo>
                    <a:pt x="410" y="11"/>
                    <a:pt x="407" y="15"/>
                    <a:pt x="403" y="1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fr-FR" sz="1800">
                <a:solidFill>
                  <a:prstClr val="black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152" name="Freeform 359">
              <a:extLst>
                <a:ext uri="{FF2B5EF4-FFF2-40B4-BE49-F238E27FC236}">
                  <a16:creationId xmlns:a16="http://schemas.microsoft.com/office/drawing/2014/main" id="{7BDF9B72-C987-FC2C-9A89-8627585F06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7726" y="6296025"/>
              <a:ext cx="109538" cy="12700"/>
            </a:xfrm>
            <a:custGeom>
              <a:avLst/>
              <a:gdLst>
                <a:gd name="T0" fmla="*/ 113 w 120"/>
                <a:gd name="T1" fmla="*/ 15 h 15"/>
                <a:gd name="T2" fmla="*/ 8 w 120"/>
                <a:gd name="T3" fmla="*/ 15 h 15"/>
                <a:gd name="T4" fmla="*/ 0 w 120"/>
                <a:gd name="T5" fmla="*/ 7 h 15"/>
                <a:gd name="T6" fmla="*/ 8 w 120"/>
                <a:gd name="T7" fmla="*/ 0 h 15"/>
                <a:gd name="T8" fmla="*/ 113 w 120"/>
                <a:gd name="T9" fmla="*/ 0 h 15"/>
                <a:gd name="T10" fmla="*/ 120 w 120"/>
                <a:gd name="T11" fmla="*/ 7 h 15"/>
                <a:gd name="T12" fmla="*/ 113 w 120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5">
                  <a:moveTo>
                    <a:pt x="113" y="15"/>
                  </a:moveTo>
                  <a:lnTo>
                    <a:pt x="8" y="15"/>
                  </a:lnTo>
                  <a:cubicBezTo>
                    <a:pt x="4" y="15"/>
                    <a:pt x="0" y="12"/>
                    <a:pt x="0" y="7"/>
                  </a:cubicBezTo>
                  <a:cubicBezTo>
                    <a:pt x="0" y="3"/>
                    <a:pt x="4" y="0"/>
                    <a:pt x="8" y="0"/>
                  </a:cubicBezTo>
                  <a:lnTo>
                    <a:pt x="113" y="0"/>
                  </a:lnTo>
                  <a:cubicBezTo>
                    <a:pt x="117" y="0"/>
                    <a:pt x="120" y="3"/>
                    <a:pt x="120" y="7"/>
                  </a:cubicBezTo>
                  <a:cubicBezTo>
                    <a:pt x="120" y="12"/>
                    <a:pt x="117" y="15"/>
                    <a:pt x="113" y="1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fr-FR" sz="1800">
                <a:solidFill>
                  <a:prstClr val="black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153" name="Freeform 360">
              <a:extLst>
                <a:ext uri="{FF2B5EF4-FFF2-40B4-BE49-F238E27FC236}">
                  <a16:creationId xmlns:a16="http://schemas.microsoft.com/office/drawing/2014/main" id="{74A6F8CA-DA00-3D02-3AF5-6FF12E2A4AD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7726" y="6335713"/>
              <a:ext cx="109538" cy="14288"/>
            </a:xfrm>
            <a:custGeom>
              <a:avLst/>
              <a:gdLst>
                <a:gd name="T0" fmla="*/ 113 w 120"/>
                <a:gd name="T1" fmla="*/ 15 h 15"/>
                <a:gd name="T2" fmla="*/ 8 w 120"/>
                <a:gd name="T3" fmla="*/ 15 h 15"/>
                <a:gd name="T4" fmla="*/ 0 w 120"/>
                <a:gd name="T5" fmla="*/ 7 h 15"/>
                <a:gd name="T6" fmla="*/ 8 w 120"/>
                <a:gd name="T7" fmla="*/ 0 h 15"/>
                <a:gd name="T8" fmla="*/ 113 w 120"/>
                <a:gd name="T9" fmla="*/ 0 h 15"/>
                <a:gd name="T10" fmla="*/ 120 w 120"/>
                <a:gd name="T11" fmla="*/ 7 h 15"/>
                <a:gd name="T12" fmla="*/ 113 w 120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5">
                  <a:moveTo>
                    <a:pt x="113" y="15"/>
                  </a:moveTo>
                  <a:lnTo>
                    <a:pt x="8" y="15"/>
                  </a:lnTo>
                  <a:cubicBezTo>
                    <a:pt x="4" y="15"/>
                    <a:pt x="0" y="11"/>
                    <a:pt x="0" y="7"/>
                  </a:cubicBezTo>
                  <a:cubicBezTo>
                    <a:pt x="0" y="3"/>
                    <a:pt x="4" y="0"/>
                    <a:pt x="8" y="0"/>
                  </a:cubicBezTo>
                  <a:lnTo>
                    <a:pt x="113" y="0"/>
                  </a:lnTo>
                  <a:cubicBezTo>
                    <a:pt x="117" y="0"/>
                    <a:pt x="120" y="3"/>
                    <a:pt x="120" y="7"/>
                  </a:cubicBezTo>
                  <a:cubicBezTo>
                    <a:pt x="120" y="11"/>
                    <a:pt x="117" y="15"/>
                    <a:pt x="113" y="1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fr-FR" sz="1800">
                <a:solidFill>
                  <a:prstClr val="black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154" name="Freeform 361">
              <a:extLst>
                <a:ext uri="{FF2B5EF4-FFF2-40B4-BE49-F238E27FC236}">
                  <a16:creationId xmlns:a16="http://schemas.microsoft.com/office/drawing/2014/main" id="{8330CDB7-FBBF-DBA6-2DE6-5E0E98E5C60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626" y="6286500"/>
              <a:ext cx="71438" cy="69850"/>
            </a:xfrm>
            <a:custGeom>
              <a:avLst/>
              <a:gdLst>
                <a:gd name="T0" fmla="*/ 30 w 79"/>
                <a:gd name="T1" fmla="*/ 77 h 77"/>
                <a:gd name="T2" fmla="*/ 27 w 79"/>
                <a:gd name="T3" fmla="*/ 77 h 77"/>
                <a:gd name="T4" fmla="*/ 0 w 79"/>
                <a:gd name="T5" fmla="*/ 39 h 77"/>
                <a:gd name="T6" fmla="*/ 40 w 79"/>
                <a:gd name="T7" fmla="*/ 0 h 77"/>
                <a:gd name="T8" fmla="*/ 78 w 79"/>
                <a:gd name="T9" fmla="*/ 30 h 77"/>
                <a:gd name="T10" fmla="*/ 73 w 79"/>
                <a:gd name="T11" fmla="*/ 39 h 77"/>
                <a:gd name="T12" fmla="*/ 64 w 79"/>
                <a:gd name="T13" fmla="*/ 33 h 77"/>
                <a:gd name="T14" fmla="*/ 40 w 79"/>
                <a:gd name="T15" fmla="*/ 15 h 77"/>
                <a:gd name="T16" fmla="*/ 15 w 79"/>
                <a:gd name="T17" fmla="*/ 39 h 77"/>
                <a:gd name="T18" fmla="*/ 32 w 79"/>
                <a:gd name="T19" fmla="*/ 63 h 77"/>
                <a:gd name="T20" fmla="*/ 37 w 79"/>
                <a:gd name="T21" fmla="*/ 72 h 77"/>
                <a:gd name="T22" fmla="*/ 30 w 79"/>
                <a:gd name="T2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9" h="77">
                  <a:moveTo>
                    <a:pt x="30" y="77"/>
                  </a:moveTo>
                  <a:cubicBezTo>
                    <a:pt x="29" y="77"/>
                    <a:pt x="28" y="77"/>
                    <a:pt x="27" y="77"/>
                  </a:cubicBezTo>
                  <a:cubicBezTo>
                    <a:pt x="11" y="72"/>
                    <a:pt x="0" y="57"/>
                    <a:pt x="0" y="39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58" y="0"/>
                    <a:pt x="73" y="12"/>
                    <a:pt x="78" y="30"/>
                  </a:cubicBezTo>
                  <a:cubicBezTo>
                    <a:pt x="79" y="34"/>
                    <a:pt x="76" y="38"/>
                    <a:pt x="73" y="39"/>
                  </a:cubicBezTo>
                  <a:cubicBezTo>
                    <a:pt x="69" y="40"/>
                    <a:pt x="65" y="37"/>
                    <a:pt x="64" y="33"/>
                  </a:cubicBezTo>
                  <a:cubicBezTo>
                    <a:pt x="61" y="22"/>
                    <a:pt x="51" y="15"/>
                    <a:pt x="40" y="15"/>
                  </a:cubicBezTo>
                  <a:cubicBezTo>
                    <a:pt x="26" y="15"/>
                    <a:pt x="15" y="26"/>
                    <a:pt x="15" y="39"/>
                  </a:cubicBezTo>
                  <a:cubicBezTo>
                    <a:pt x="15" y="50"/>
                    <a:pt x="22" y="60"/>
                    <a:pt x="32" y="63"/>
                  </a:cubicBezTo>
                  <a:cubicBezTo>
                    <a:pt x="36" y="64"/>
                    <a:pt x="38" y="68"/>
                    <a:pt x="37" y="72"/>
                  </a:cubicBezTo>
                  <a:cubicBezTo>
                    <a:pt x="36" y="75"/>
                    <a:pt x="33" y="77"/>
                    <a:pt x="30" y="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fr-FR" sz="1800">
                <a:solidFill>
                  <a:prstClr val="black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155" name="Freeform 362">
              <a:extLst>
                <a:ext uri="{FF2B5EF4-FFF2-40B4-BE49-F238E27FC236}">
                  <a16:creationId xmlns:a16="http://schemas.microsoft.com/office/drawing/2014/main" id="{C664A2FD-83C2-FF26-5893-DA3903DFEE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69026" y="6313488"/>
              <a:ext cx="184150" cy="185738"/>
            </a:xfrm>
            <a:custGeom>
              <a:avLst/>
              <a:gdLst>
                <a:gd name="T0" fmla="*/ 102 w 203"/>
                <a:gd name="T1" fmla="*/ 15 h 204"/>
                <a:gd name="T2" fmla="*/ 14 w 203"/>
                <a:gd name="T3" fmla="*/ 102 h 204"/>
                <a:gd name="T4" fmla="*/ 102 w 203"/>
                <a:gd name="T5" fmla="*/ 189 h 204"/>
                <a:gd name="T6" fmla="*/ 189 w 203"/>
                <a:gd name="T7" fmla="*/ 102 h 204"/>
                <a:gd name="T8" fmla="*/ 102 w 203"/>
                <a:gd name="T9" fmla="*/ 15 h 204"/>
                <a:gd name="T10" fmla="*/ 102 w 203"/>
                <a:gd name="T11" fmla="*/ 204 h 204"/>
                <a:gd name="T12" fmla="*/ 0 w 203"/>
                <a:gd name="T13" fmla="*/ 102 h 204"/>
                <a:gd name="T14" fmla="*/ 102 w 203"/>
                <a:gd name="T15" fmla="*/ 0 h 204"/>
                <a:gd name="T16" fmla="*/ 203 w 203"/>
                <a:gd name="T17" fmla="*/ 102 h 204"/>
                <a:gd name="T18" fmla="*/ 102 w 203"/>
                <a:gd name="T19" fmla="*/ 204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3" h="204">
                  <a:moveTo>
                    <a:pt x="102" y="15"/>
                  </a:moveTo>
                  <a:cubicBezTo>
                    <a:pt x="53" y="15"/>
                    <a:pt x="14" y="54"/>
                    <a:pt x="14" y="102"/>
                  </a:cubicBezTo>
                  <a:cubicBezTo>
                    <a:pt x="14" y="150"/>
                    <a:pt x="53" y="189"/>
                    <a:pt x="102" y="189"/>
                  </a:cubicBezTo>
                  <a:cubicBezTo>
                    <a:pt x="150" y="189"/>
                    <a:pt x="189" y="150"/>
                    <a:pt x="189" y="102"/>
                  </a:cubicBezTo>
                  <a:cubicBezTo>
                    <a:pt x="189" y="54"/>
                    <a:pt x="150" y="15"/>
                    <a:pt x="102" y="15"/>
                  </a:cubicBezTo>
                  <a:close/>
                  <a:moveTo>
                    <a:pt x="102" y="204"/>
                  </a:moveTo>
                  <a:cubicBezTo>
                    <a:pt x="45" y="204"/>
                    <a:pt x="0" y="158"/>
                    <a:pt x="0" y="102"/>
                  </a:cubicBezTo>
                  <a:cubicBezTo>
                    <a:pt x="0" y="46"/>
                    <a:pt x="45" y="0"/>
                    <a:pt x="102" y="0"/>
                  </a:cubicBezTo>
                  <a:cubicBezTo>
                    <a:pt x="158" y="0"/>
                    <a:pt x="203" y="46"/>
                    <a:pt x="203" y="102"/>
                  </a:cubicBezTo>
                  <a:cubicBezTo>
                    <a:pt x="203" y="158"/>
                    <a:pt x="158" y="204"/>
                    <a:pt x="102" y="20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fr-FR" sz="1800">
                <a:solidFill>
                  <a:prstClr val="black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156" name="Freeform 363">
              <a:extLst>
                <a:ext uri="{FF2B5EF4-FFF2-40B4-BE49-F238E27FC236}">
                  <a16:creationId xmlns:a16="http://schemas.microsoft.com/office/drawing/2014/main" id="{9DB465DF-55D4-FF84-8ADC-A95661E8CC7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1888" y="6372225"/>
              <a:ext cx="98425" cy="66675"/>
            </a:xfrm>
            <a:custGeom>
              <a:avLst/>
              <a:gdLst>
                <a:gd name="T0" fmla="*/ 43 w 109"/>
                <a:gd name="T1" fmla="*/ 73 h 73"/>
                <a:gd name="T2" fmla="*/ 43 w 109"/>
                <a:gd name="T3" fmla="*/ 73 h 73"/>
                <a:gd name="T4" fmla="*/ 37 w 109"/>
                <a:gd name="T5" fmla="*/ 71 h 73"/>
                <a:gd name="T6" fmla="*/ 3 w 109"/>
                <a:gd name="T7" fmla="*/ 37 h 73"/>
                <a:gd name="T8" fmla="*/ 3 w 109"/>
                <a:gd name="T9" fmla="*/ 27 h 73"/>
                <a:gd name="T10" fmla="*/ 13 w 109"/>
                <a:gd name="T11" fmla="*/ 27 h 73"/>
                <a:gd name="T12" fmla="*/ 43 w 109"/>
                <a:gd name="T13" fmla="*/ 56 h 73"/>
                <a:gd name="T14" fmla="*/ 96 w 109"/>
                <a:gd name="T15" fmla="*/ 3 h 73"/>
                <a:gd name="T16" fmla="*/ 106 w 109"/>
                <a:gd name="T17" fmla="*/ 3 h 73"/>
                <a:gd name="T18" fmla="*/ 106 w 109"/>
                <a:gd name="T19" fmla="*/ 13 h 73"/>
                <a:gd name="T20" fmla="*/ 48 w 109"/>
                <a:gd name="T21" fmla="*/ 71 h 73"/>
                <a:gd name="T22" fmla="*/ 43 w 109"/>
                <a:gd name="T23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73">
                  <a:moveTo>
                    <a:pt x="43" y="73"/>
                  </a:moveTo>
                  <a:lnTo>
                    <a:pt x="43" y="73"/>
                  </a:lnTo>
                  <a:cubicBezTo>
                    <a:pt x="41" y="73"/>
                    <a:pt x="39" y="73"/>
                    <a:pt x="37" y="71"/>
                  </a:cubicBezTo>
                  <a:lnTo>
                    <a:pt x="3" y="37"/>
                  </a:lnTo>
                  <a:cubicBezTo>
                    <a:pt x="0" y="34"/>
                    <a:pt x="0" y="29"/>
                    <a:pt x="3" y="27"/>
                  </a:cubicBezTo>
                  <a:cubicBezTo>
                    <a:pt x="6" y="24"/>
                    <a:pt x="10" y="24"/>
                    <a:pt x="13" y="27"/>
                  </a:cubicBezTo>
                  <a:lnTo>
                    <a:pt x="43" y="56"/>
                  </a:lnTo>
                  <a:lnTo>
                    <a:pt x="96" y="3"/>
                  </a:lnTo>
                  <a:cubicBezTo>
                    <a:pt x="99" y="0"/>
                    <a:pt x="103" y="0"/>
                    <a:pt x="106" y="3"/>
                  </a:cubicBezTo>
                  <a:cubicBezTo>
                    <a:pt x="109" y="5"/>
                    <a:pt x="109" y="10"/>
                    <a:pt x="106" y="13"/>
                  </a:cubicBezTo>
                  <a:lnTo>
                    <a:pt x="48" y="71"/>
                  </a:lnTo>
                  <a:cubicBezTo>
                    <a:pt x="46" y="73"/>
                    <a:pt x="45" y="73"/>
                    <a:pt x="43" y="7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fr-FR" sz="1800">
                <a:solidFill>
                  <a:prstClr val="black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  <a:sym typeface="+mn-lt"/>
              </a:endParaRPr>
            </a:p>
          </p:txBody>
        </p:sp>
      </p:grpSp>
      <p:sp>
        <p:nvSpPr>
          <p:cNvPr id="157" name="CuadroTexto 29">
            <a:extLst>
              <a:ext uri="{FF2B5EF4-FFF2-40B4-BE49-F238E27FC236}">
                <a16:creationId xmlns:a16="http://schemas.microsoft.com/office/drawing/2014/main" id="{7A0657F4-FBD1-ABC6-521B-648E30D0739F}"/>
              </a:ext>
            </a:extLst>
          </p:cNvPr>
          <p:cNvSpPr txBox="1"/>
          <p:nvPr/>
        </p:nvSpPr>
        <p:spPr>
          <a:xfrm>
            <a:off x="1444086" y="3167753"/>
            <a:ext cx="146211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defRPr/>
            </a:pPr>
            <a:r>
              <a:rPr lang="en-GB" sz="3200" b="1">
                <a:solidFill>
                  <a:srgbClr val="8716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</a:t>
            </a:r>
          </a:p>
        </p:txBody>
      </p:sp>
      <p:sp>
        <p:nvSpPr>
          <p:cNvPr id="158" name="CuadroTexto 50">
            <a:extLst>
              <a:ext uri="{FF2B5EF4-FFF2-40B4-BE49-F238E27FC236}">
                <a16:creationId xmlns:a16="http://schemas.microsoft.com/office/drawing/2014/main" id="{A9AA9710-6CD4-5083-32B5-5006993043EB}"/>
              </a:ext>
            </a:extLst>
          </p:cNvPr>
          <p:cNvSpPr txBox="1"/>
          <p:nvPr/>
        </p:nvSpPr>
        <p:spPr>
          <a:xfrm>
            <a:off x="1454073" y="3842037"/>
            <a:ext cx="2263479" cy="615553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defRPr/>
            </a:pPr>
            <a:r>
              <a:rPr lang="en-GB" sz="1600" b="1">
                <a:solidFill>
                  <a:prstClr val="black"/>
                </a:solidFill>
                <a:latin typeface="Arial"/>
                <a:cs typeface="Arial"/>
              </a:rPr>
              <a:t>Countries where ESCs are issued</a:t>
            </a:r>
          </a:p>
        </p:txBody>
      </p:sp>
      <p:cxnSp>
        <p:nvCxnSpPr>
          <p:cNvPr id="159" name="Conector recto 52">
            <a:extLst>
              <a:ext uri="{FF2B5EF4-FFF2-40B4-BE49-F238E27FC236}">
                <a16:creationId xmlns:a16="http://schemas.microsoft.com/office/drawing/2014/main" id="{60CF5F3F-EDC3-F2B0-2093-A78909478AB9}"/>
              </a:ext>
            </a:extLst>
          </p:cNvPr>
          <p:cNvCxnSpPr>
            <a:cxnSpLocks/>
          </p:cNvCxnSpPr>
          <p:nvPr/>
        </p:nvCxnSpPr>
        <p:spPr>
          <a:xfrm>
            <a:off x="1444084" y="3836328"/>
            <a:ext cx="2121712" cy="0"/>
          </a:xfrm>
          <a:prstGeom prst="line">
            <a:avLst/>
          </a:prstGeom>
          <a:noFill/>
          <a:ln w="28575" cap="flat" cmpd="sng" algn="ctr">
            <a:solidFill>
              <a:srgbClr val="871664"/>
            </a:solidFill>
            <a:prstDash val="solid"/>
            <a:miter lim="800000"/>
          </a:ln>
          <a:effectLst/>
        </p:spPr>
      </p:cxnSp>
      <p:pic>
        <p:nvPicPr>
          <p:cNvPr id="160" name="Graphic 159" descr="Globe outline">
            <a:extLst>
              <a:ext uri="{FF2B5EF4-FFF2-40B4-BE49-F238E27FC236}">
                <a16:creationId xmlns:a16="http://schemas.microsoft.com/office/drawing/2014/main" id="{6D9399E1-C221-71BA-5FF6-AEB079FD7E2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74852" y="3496732"/>
            <a:ext cx="615553" cy="615553"/>
          </a:xfrm>
          <a:prstGeom prst="rect">
            <a:avLst/>
          </a:prstGeom>
        </p:spPr>
      </p:pic>
      <p:sp>
        <p:nvSpPr>
          <p:cNvPr id="161" name="CuadroTexto 12">
            <a:extLst>
              <a:ext uri="{FF2B5EF4-FFF2-40B4-BE49-F238E27FC236}">
                <a16:creationId xmlns:a16="http://schemas.microsoft.com/office/drawing/2014/main" id="{B8847180-24C5-6EFE-2589-10BFBA5A840B}"/>
              </a:ext>
            </a:extLst>
          </p:cNvPr>
          <p:cNvSpPr txBox="1"/>
          <p:nvPr/>
        </p:nvSpPr>
        <p:spPr>
          <a:xfrm>
            <a:off x="2714590" y="2096739"/>
            <a:ext cx="9463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defRPr/>
            </a:pPr>
            <a:r>
              <a:rPr lang="en-GB" sz="16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32%*</a:t>
            </a:r>
          </a:p>
        </p:txBody>
      </p:sp>
      <p:sp>
        <p:nvSpPr>
          <p:cNvPr id="162" name="CuadroTexto 12">
            <a:extLst>
              <a:ext uri="{FF2B5EF4-FFF2-40B4-BE49-F238E27FC236}">
                <a16:creationId xmlns:a16="http://schemas.microsoft.com/office/drawing/2014/main" id="{CCCBE97F-04AE-DBEA-47D0-7AEA6335FCD9}"/>
              </a:ext>
            </a:extLst>
          </p:cNvPr>
          <p:cNvSpPr txBox="1"/>
          <p:nvPr/>
        </p:nvSpPr>
        <p:spPr>
          <a:xfrm>
            <a:off x="6108120" y="2082313"/>
            <a:ext cx="9463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defRPr/>
            </a:pPr>
            <a:r>
              <a:rPr lang="en-GB" sz="1600" b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7%*</a:t>
            </a:r>
          </a:p>
        </p:txBody>
      </p:sp>
      <p:sp>
        <p:nvSpPr>
          <p:cNvPr id="163" name="CuadroTexto 12">
            <a:extLst>
              <a:ext uri="{FF2B5EF4-FFF2-40B4-BE49-F238E27FC236}">
                <a16:creationId xmlns:a16="http://schemas.microsoft.com/office/drawing/2014/main" id="{B0D013BC-CB9B-D130-4754-92EF02977CC4}"/>
              </a:ext>
            </a:extLst>
          </p:cNvPr>
          <p:cNvSpPr txBox="1"/>
          <p:nvPr/>
        </p:nvSpPr>
        <p:spPr>
          <a:xfrm>
            <a:off x="6108120" y="3432394"/>
            <a:ext cx="9463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defRPr/>
            </a:pPr>
            <a:r>
              <a:rPr lang="en-GB" sz="16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52%*</a:t>
            </a:r>
          </a:p>
        </p:txBody>
      </p:sp>
      <p:sp>
        <p:nvSpPr>
          <p:cNvPr id="164" name="CuadroTexto 12">
            <a:extLst>
              <a:ext uri="{FF2B5EF4-FFF2-40B4-BE49-F238E27FC236}">
                <a16:creationId xmlns:a16="http://schemas.microsoft.com/office/drawing/2014/main" id="{7E488B27-E30F-D9B3-1D18-FD4A55F2A7FA}"/>
              </a:ext>
            </a:extLst>
          </p:cNvPr>
          <p:cNvSpPr txBox="1"/>
          <p:nvPr/>
        </p:nvSpPr>
        <p:spPr>
          <a:xfrm>
            <a:off x="2672946" y="3424642"/>
            <a:ext cx="9463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defRPr/>
            </a:pPr>
            <a:r>
              <a:rPr lang="en-GB" sz="1600" b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20%*</a:t>
            </a:r>
          </a:p>
        </p:txBody>
      </p:sp>
      <p:sp>
        <p:nvSpPr>
          <p:cNvPr id="165" name="CuadroTexto 1">
            <a:extLst>
              <a:ext uri="{FF2B5EF4-FFF2-40B4-BE49-F238E27FC236}">
                <a16:creationId xmlns:a16="http://schemas.microsoft.com/office/drawing/2014/main" id="{C747184F-6536-2CD3-D089-6F732A3FE385}"/>
              </a:ext>
            </a:extLst>
          </p:cNvPr>
          <p:cNvSpPr txBox="1"/>
          <p:nvPr/>
        </p:nvSpPr>
        <p:spPr>
          <a:xfrm>
            <a:off x="774852" y="5459524"/>
            <a:ext cx="7900490" cy="502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defRPr/>
            </a:pPr>
            <a:r>
              <a:rPr lang="en-GB" sz="1333" i="1" dirty="0">
                <a:latin typeface="Arial" panose="020B0604020202020204" pitchFamily="34" charset="0"/>
                <a:cs typeface="Arial" panose="020B0604020202020204" pitchFamily="34" charset="0"/>
              </a:rPr>
              <a:t>* Compared to Nov 2024, after the launch of the new ESC Router. Data extracted on 22 Sep 2025.</a:t>
            </a:r>
          </a:p>
          <a:p>
            <a:pPr marL="228594" indent="-228594" defTabSz="914354">
              <a:buFont typeface="Arial" panose="020B0604020202020204" pitchFamily="34" charset="0"/>
              <a:buChar char="•"/>
              <a:defRPr/>
            </a:pPr>
            <a:endParaRPr lang="en-GB" sz="1333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92435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878360-4CB1-2781-D24C-E92FAB53E1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to 15" hidden="1">
            <a:extLst>
              <a:ext uri="{FF2B5EF4-FFF2-40B4-BE49-F238E27FC236}">
                <a16:creationId xmlns:a16="http://schemas.microsoft.com/office/drawing/2014/main" id="{CAAC88CD-D3BE-CEB2-6CD7-E1C8672D47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95" imgH="394" progId="TCLayout.ActiveDocument.1">
                  <p:embed/>
                </p:oleObj>
              </mc:Choice>
              <mc:Fallback>
                <p:oleObj name="Diapositiva de think-cell" r:id="rId5" imgW="395" imgH="394" progId="TCLayout.ActiveDocument.1">
                  <p:embed/>
                  <p:pic>
                    <p:nvPicPr>
                      <p:cNvPr id="16" name="Objeto 15" hidden="1">
                        <a:extLst>
                          <a:ext uri="{FF2B5EF4-FFF2-40B4-BE49-F238E27FC236}">
                            <a16:creationId xmlns:a16="http://schemas.microsoft.com/office/drawing/2014/main" id="{CAAC88CD-D3BE-CEB2-6CD7-E1C8672D47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5994C82F-6584-01EC-E6E6-6E11EAC99966}"/>
              </a:ext>
            </a:extLst>
          </p:cNvPr>
          <p:cNvSpPr/>
          <p:nvPr/>
        </p:nvSpPr>
        <p:spPr>
          <a:xfrm>
            <a:off x="-9145" y="1933902"/>
            <a:ext cx="6587711" cy="1291019"/>
          </a:xfrm>
          <a:prstGeom prst="rect">
            <a:avLst/>
          </a:prstGeom>
          <a:solidFill>
            <a:srgbClr val="DDF3FF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44" name="Grupo 143">
            <a:extLst>
              <a:ext uri="{FF2B5EF4-FFF2-40B4-BE49-F238E27FC236}">
                <a16:creationId xmlns:a16="http://schemas.microsoft.com/office/drawing/2014/main" id="{11EBE4F1-F2DD-EFA0-3919-8A969B879A32}"/>
              </a:ext>
            </a:extLst>
          </p:cNvPr>
          <p:cNvGrpSpPr/>
          <p:nvPr/>
        </p:nvGrpSpPr>
        <p:grpSpPr>
          <a:xfrm>
            <a:off x="456318" y="2136491"/>
            <a:ext cx="2697286" cy="932368"/>
            <a:chOff x="65224" y="2129732"/>
            <a:chExt cx="2697286" cy="932368"/>
          </a:xfrm>
        </p:grpSpPr>
        <p:sp>
          <p:nvSpPr>
            <p:cNvPr id="5" name="CuadroTexto 1058">
              <a:extLst>
                <a:ext uri="{FF2B5EF4-FFF2-40B4-BE49-F238E27FC236}">
                  <a16:creationId xmlns:a16="http://schemas.microsoft.com/office/drawing/2014/main" id="{BF252557-36EF-80DF-A0A5-3ABF5606D60A}"/>
                </a:ext>
              </a:extLst>
            </p:cNvPr>
            <p:cNvSpPr txBox="1"/>
            <p:nvPr/>
          </p:nvSpPr>
          <p:spPr>
            <a:xfrm>
              <a:off x="736387" y="2508102"/>
              <a:ext cx="1398913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ea typeface="+mn-ea"/>
                </a:rPr>
                <a:t>Organisations registered in the ESC-R  </a:t>
              </a:r>
            </a:p>
          </p:txBody>
        </p:sp>
        <p:sp>
          <p:nvSpPr>
            <p:cNvPr id="9" name="CuadroTexto 1072">
              <a:extLst>
                <a:ext uri="{FF2B5EF4-FFF2-40B4-BE49-F238E27FC236}">
                  <a16:creationId xmlns:a16="http://schemas.microsoft.com/office/drawing/2014/main" id="{7B0608D4-2D0D-5422-999F-755F31C15819}"/>
                </a:ext>
              </a:extLst>
            </p:cNvPr>
            <p:cNvSpPr txBox="1"/>
            <p:nvPr/>
          </p:nvSpPr>
          <p:spPr>
            <a:xfrm>
              <a:off x="65224" y="2129732"/>
              <a:ext cx="2697286" cy="30777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marR="0" lvl="0" indent="0" algn="ctr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/>
              </a:pPr>
              <a:r>
                <a:rPr lang="en-GB" b="1">
                  <a:solidFill>
                    <a:srgbClr val="004494"/>
                  </a:solidFill>
                </a:rPr>
                <a:t>5</a:t>
              </a:r>
              <a:endParaRPr lang="en-GB" sz="1400" b="1" kern="0">
                <a:solidFill>
                  <a:srgbClr val="004494"/>
                </a:solidFill>
                <a:cs typeface="Arial"/>
              </a:endParaRPr>
            </a:p>
          </p:txBody>
        </p:sp>
        <p:cxnSp>
          <p:nvCxnSpPr>
            <p:cNvPr id="10" name="Conector recto 1075">
              <a:extLst>
                <a:ext uri="{FF2B5EF4-FFF2-40B4-BE49-F238E27FC236}">
                  <a16:creationId xmlns:a16="http://schemas.microsoft.com/office/drawing/2014/main" id="{253EFF51-F705-5405-A2DD-4A4BFF4C2C94}"/>
                </a:ext>
              </a:extLst>
            </p:cNvPr>
            <p:cNvCxnSpPr>
              <a:cxnSpLocks/>
            </p:cNvCxnSpPr>
            <p:nvPr/>
          </p:nvCxnSpPr>
          <p:spPr>
            <a:xfrm>
              <a:off x="716686" y="2470886"/>
              <a:ext cx="1374662" cy="0"/>
            </a:xfrm>
            <a:prstGeom prst="line">
              <a:avLst/>
            </a:prstGeom>
            <a:noFill/>
            <a:ln w="19050" cap="flat" cmpd="sng" algn="ctr">
              <a:solidFill>
                <a:srgbClr val="004494"/>
              </a:solidFill>
              <a:prstDash val="solid"/>
              <a:miter lim="800000"/>
            </a:ln>
            <a:effectLst/>
          </p:spPr>
        </p:cxn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D6470453-E003-F6ED-80BC-757BD00EAF3D}"/>
                </a:ext>
              </a:extLst>
            </p:cNvPr>
            <p:cNvGrpSpPr/>
            <p:nvPr/>
          </p:nvGrpSpPr>
          <p:grpSpPr>
            <a:xfrm>
              <a:off x="431391" y="2265921"/>
              <a:ext cx="473386" cy="424890"/>
              <a:chOff x="348366" y="6017764"/>
              <a:chExt cx="637471" cy="565060"/>
            </a:xfrm>
          </p:grpSpPr>
          <p:sp>
            <p:nvSpPr>
              <p:cNvPr id="131" name="Elipse 1060">
                <a:extLst>
                  <a:ext uri="{FF2B5EF4-FFF2-40B4-BE49-F238E27FC236}">
                    <a16:creationId xmlns:a16="http://schemas.microsoft.com/office/drawing/2014/main" id="{5096E580-F052-F433-C454-5DC17FB93436}"/>
                  </a:ext>
                </a:extLst>
              </p:cNvPr>
              <p:cNvSpPr/>
              <p:nvPr/>
            </p:nvSpPr>
            <p:spPr>
              <a:xfrm>
                <a:off x="348366" y="6017764"/>
                <a:ext cx="637471" cy="565060"/>
              </a:xfrm>
              <a:prstGeom prst="ellipse">
                <a:avLst/>
              </a:prstGeom>
              <a:solidFill>
                <a:srgbClr val="004494"/>
              </a:solidFill>
              <a:ln w="12700" cap="flat" cmpd="sng" algn="ctr">
                <a:solidFill>
                  <a:srgbClr val="00449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132" name="Credit_card5" descr="{&quot;Key&quot;:&quot;POWER_USER_SHAPE_ICON&quot;,&quot;Value&quot;:&quot;POWER_USER_SHAPE_ICON_STYLE_1&quot;}">
                <a:extLst>
                  <a:ext uri="{FF2B5EF4-FFF2-40B4-BE49-F238E27FC236}">
                    <a16:creationId xmlns:a16="http://schemas.microsoft.com/office/drawing/2014/main" id="{71E1EF83-5DD7-01CA-BF6D-036A709AADB2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70864" y="6151554"/>
                <a:ext cx="457534" cy="340380"/>
                <a:chOff x="5894388" y="6157913"/>
                <a:chExt cx="458788" cy="341313"/>
              </a:xfrm>
              <a:solidFill>
                <a:sysClr val="window" lastClr="FFFFFF"/>
              </a:solidFill>
            </p:grpSpPr>
            <p:sp>
              <p:nvSpPr>
                <p:cNvPr id="133" name="Freeform 356">
                  <a:extLst>
                    <a:ext uri="{FF2B5EF4-FFF2-40B4-BE49-F238E27FC236}">
                      <a16:creationId xmlns:a16="http://schemas.microsoft.com/office/drawing/2014/main" id="{27D32E05-36DD-3F75-789C-3DF914677A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94388" y="6157913"/>
                  <a:ext cx="373063" cy="254000"/>
                </a:xfrm>
                <a:custGeom>
                  <a:avLst/>
                  <a:gdLst>
                    <a:gd name="T0" fmla="*/ 281 w 410"/>
                    <a:gd name="T1" fmla="*/ 278 h 278"/>
                    <a:gd name="T2" fmla="*/ 25 w 410"/>
                    <a:gd name="T3" fmla="*/ 278 h 278"/>
                    <a:gd name="T4" fmla="*/ 0 w 410"/>
                    <a:gd name="T5" fmla="*/ 253 h 278"/>
                    <a:gd name="T6" fmla="*/ 0 w 410"/>
                    <a:gd name="T7" fmla="*/ 25 h 278"/>
                    <a:gd name="T8" fmla="*/ 25 w 410"/>
                    <a:gd name="T9" fmla="*/ 0 h 278"/>
                    <a:gd name="T10" fmla="*/ 384 w 410"/>
                    <a:gd name="T11" fmla="*/ 0 h 278"/>
                    <a:gd name="T12" fmla="*/ 410 w 410"/>
                    <a:gd name="T13" fmla="*/ 25 h 278"/>
                    <a:gd name="T14" fmla="*/ 410 w 410"/>
                    <a:gd name="T15" fmla="*/ 157 h 278"/>
                    <a:gd name="T16" fmla="*/ 403 w 410"/>
                    <a:gd name="T17" fmla="*/ 165 h 278"/>
                    <a:gd name="T18" fmla="*/ 395 w 410"/>
                    <a:gd name="T19" fmla="*/ 157 h 278"/>
                    <a:gd name="T20" fmla="*/ 395 w 410"/>
                    <a:gd name="T21" fmla="*/ 25 h 278"/>
                    <a:gd name="T22" fmla="*/ 384 w 410"/>
                    <a:gd name="T23" fmla="*/ 14 h 278"/>
                    <a:gd name="T24" fmla="*/ 25 w 410"/>
                    <a:gd name="T25" fmla="*/ 14 h 278"/>
                    <a:gd name="T26" fmla="*/ 14 w 410"/>
                    <a:gd name="T27" fmla="*/ 25 h 278"/>
                    <a:gd name="T28" fmla="*/ 14 w 410"/>
                    <a:gd name="T29" fmla="*/ 253 h 278"/>
                    <a:gd name="T30" fmla="*/ 25 w 410"/>
                    <a:gd name="T31" fmla="*/ 264 h 278"/>
                    <a:gd name="T32" fmla="*/ 281 w 410"/>
                    <a:gd name="T33" fmla="*/ 264 h 278"/>
                    <a:gd name="T34" fmla="*/ 289 w 410"/>
                    <a:gd name="T35" fmla="*/ 271 h 278"/>
                    <a:gd name="T36" fmla="*/ 281 w 410"/>
                    <a:gd name="T37" fmla="*/ 278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410" h="278">
                      <a:moveTo>
                        <a:pt x="281" y="278"/>
                      </a:moveTo>
                      <a:lnTo>
                        <a:pt x="25" y="278"/>
                      </a:lnTo>
                      <a:cubicBezTo>
                        <a:pt x="11" y="278"/>
                        <a:pt x="0" y="267"/>
                        <a:pt x="0" y="253"/>
                      </a:cubicBezTo>
                      <a:lnTo>
                        <a:pt x="0" y="25"/>
                      </a:lnTo>
                      <a:cubicBezTo>
                        <a:pt x="0" y="11"/>
                        <a:pt x="11" y="0"/>
                        <a:pt x="25" y="0"/>
                      </a:cubicBezTo>
                      <a:lnTo>
                        <a:pt x="384" y="0"/>
                      </a:lnTo>
                      <a:cubicBezTo>
                        <a:pt x="398" y="0"/>
                        <a:pt x="410" y="11"/>
                        <a:pt x="410" y="25"/>
                      </a:cubicBezTo>
                      <a:lnTo>
                        <a:pt x="410" y="157"/>
                      </a:lnTo>
                      <a:cubicBezTo>
                        <a:pt x="410" y="162"/>
                        <a:pt x="407" y="165"/>
                        <a:pt x="403" y="165"/>
                      </a:cubicBezTo>
                      <a:cubicBezTo>
                        <a:pt x="399" y="165"/>
                        <a:pt x="395" y="162"/>
                        <a:pt x="395" y="157"/>
                      </a:cubicBezTo>
                      <a:lnTo>
                        <a:pt x="395" y="25"/>
                      </a:lnTo>
                      <a:cubicBezTo>
                        <a:pt x="395" y="19"/>
                        <a:pt x="390" y="14"/>
                        <a:pt x="384" y="14"/>
                      </a:cubicBezTo>
                      <a:lnTo>
                        <a:pt x="25" y="14"/>
                      </a:lnTo>
                      <a:cubicBezTo>
                        <a:pt x="19" y="14"/>
                        <a:pt x="14" y="19"/>
                        <a:pt x="14" y="25"/>
                      </a:cubicBezTo>
                      <a:lnTo>
                        <a:pt x="14" y="253"/>
                      </a:lnTo>
                      <a:cubicBezTo>
                        <a:pt x="14" y="259"/>
                        <a:pt x="19" y="264"/>
                        <a:pt x="25" y="264"/>
                      </a:cubicBezTo>
                      <a:lnTo>
                        <a:pt x="281" y="264"/>
                      </a:lnTo>
                      <a:cubicBezTo>
                        <a:pt x="286" y="264"/>
                        <a:pt x="289" y="267"/>
                        <a:pt x="289" y="271"/>
                      </a:cubicBezTo>
                      <a:cubicBezTo>
                        <a:pt x="289" y="275"/>
                        <a:pt x="286" y="278"/>
                        <a:pt x="281" y="278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4" name="Freeform 357">
                  <a:extLst>
                    <a:ext uri="{FF2B5EF4-FFF2-40B4-BE49-F238E27FC236}">
                      <a16:creationId xmlns:a16="http://schemas.microsoft.com/office/drawing/2014/main" id="{02D3E5B1-9FAB-BAA4-9376-067B2665DD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94388" y="6196013"/>
                  <a:ext cx="373063" cy="14288"/>
                </a:xfrm>
                <a:custGeom>
                  <a:avLst/>
                  <a:gdLst>
                    <a:gd name="T0" fmla="*/ 403 w 410"/>
                    <a:gd name="T1" fmla="*/ 15 h 15"/>
                    <a:gd name="T2" fmla="*/ 7 w 410"/>
                    <a:gd name="T3" fmla="*/ 15 h 15"/>
                    <a:gd name="T4" fmla="*/ 0 w 410"/>
                    <a:gd name="T5" fmla="*/ 7 h 15"/>
                    <a:gd name="T6" fmla="*/ 7 w 410"/>
                    <a:gd name="T7" fmla="*/ 0 h 15"/>
                    <a:gd name="T8" fmla="*/ 403 w 410"/>
                    <a:gd name="T9" fmla="*/ 0 h 15"/>
                    <a:gd name="T10" fmla="*/ 410 w 410"/>
                    <a:gd name="T11" fmla="*/ 7 h 15"/>
                    <a:gd name="T12" fmla="*/ 403 w 410"/>
                    <a:gd name="T13" fmla="*/ 1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10" h="15">
                      <a:moveTo>
                        <a:pt x="403" y="15"/>
                      </a:moveTo>
                      <a:lnTo>
                        <a:pt x="7" y="15"/>
                      </a:lnTo>
                      <a:cubicBezTo>
                        <a:pt x="3" y="15"/>
                        <a:pt x="0" y="11"/>
                        <a:pt x="0" y="7"/>
                      </a:cubicBezTo>
                      <a:cubicBezTo>
                        <a:pt x="0" y="3"/>
                        <a:pt x="3" y="0"/>
                        <a:pt x="7" y="0"/>
                      </a:cubicBezTo>
                      <a:lnTo>
                        <a:pt x="403" y="0"/>
                      </a:lnTo>
                      <a:cubicBezTo>
                        <a:pt x="407" y="0"/>
                        <a:pt x="410" y="3"/>
                        <a:pt x="410" y="7"/>
                      </a:cubicBezTo>
                      <a:cubicBezTo>
                        <a:pt x="410" y="11"/>
                        <a:pt x="407" y="15"/>
                        <a:pt x="403" y="15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7" name="Freeform 358">
                  <a:extLst>
                    <a:ext uri="{FF2B5EF4-FFF2-40B4-BE49-F238E27FC236}">
                      <a16:creationId xmlns:a16="http://schemas.microsoft.com/office/drawing/2014/main" id="{9D5C3BFD-04C9-6FE5-0FF0-CDDE1331B3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94388" y="6248400"/>
                  <a:ext cx="373063" cy="12700"/>
                </a:xfrm>
                <a:custGeom>
                  <a:avLst/>
                  <a:gdLst>
                    <a:gd name="T0" fmla="*/ 403 w 410"/>
                    <a:gd name="T1" fmla="*/ 15 h 15"/>
                    <a:gd name="T2" fmla="*/ 7 w 410"/>
                    <a:gd name="T3" fmla="*/ 15 h 15"/>
                    <a:gd name="T4" fmla="*/ 0 w 410"/>
                    <a:gd name="T5" fmla="*/ 7 h 15"/>
                    <a:gd name="T6" fmla="*/ 7 w 410"/>
                    <a:gd name="T7" fmla="*/ 0 h 15"/>
                    <a:gd name="T8" fmla="*/ 403 w 410"/>
                    <a:gd name="T9" fmla="*/ 0 h 15"/>
                    <a:gd name="T10" fmla="*/ 410 w 410"/>
                    <a:gd name="T11" fmla="*/ 7 h 15"/>
                    <a:gd name="T12" fmla="*/ 403 w 410"/>
                    <a:gd name="T13" fmla="*/ 1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10" h="15">
                      <a:moveTo>
                        <a:pt x="403" y="15"/>
                      </a:moveTo>
                      <a:lnTo>
                        <a:pt x="7" y="15"/>
                      </a:lnTo>
                      <a:cubicBezTo>
                        <a:pt x="3" y="15"/>
                        <a:pt x="0" y="11"/>
                        <a:pt x="0" y="7"/>
                      </a:cubicBezTo>
                      <a:cubicBezTo>
                        <a:pt x="0" y="3"/>
                        <a:pt x="3" y="0"/>
                        <a:pt x="7" y="0"/>
                      </a:cubicBezTo>
                      <a:lnTo>
                        <a:pt x="403" y="0"/>
                      </a:lnTo>
                      <a:cubicBezTo>
                        <a:pt x="407" y="0"/>
                        <a:pt x="410" y="3"/>
                        <a:pt x="410" y="7"/>
                      </a:cubicBezTo>
                      <a:cubicBezTo>
                        <a:pt x="410" y="11"/>
                        <a:pt x="407" y="15"/>
                        <a:pt x="403" y="15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6" name="Freeform 359">
                  <a:extLst>
                    <a:ext uri="{FF2B5EF4-FFF2-40B4-BE49-F238E27FC236}">
                      <a16:creationId xmlns:a16="http://schemas.microsoft.com/office/drawing/2014/main" id="{6632C4A7-F633-3094-86B1-3B2F677EDED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27726" y="6296025"/>
                  <a:ext cx="109538" cy="12700"/>
                </a:xfrm>
                <a:custGeom>
                  <a:avLst/>
                  <a:gdLst>
                    <a:gd name="T0" fmla="*/ 113 w 120"/>
                    <a:gd name="T1" fmla="*/ 15 h 15"/>
                    <a:gd name="T2" fmla="*/ 8 w 120"/>
                    <a:gd name="T3" fmla="*/ 15 h 15"/>
                    <a:gd name="T4" fmla="*/ 0 w 120"/>
                    <a:gd name="T5" fmla="*/ 7 h 15"/>
                    <a:gd name="T6" fmla="*/ 8 w 120"/>
                    <a:gd name="T7" fmla="*/ 0 h 15"/>
                    <a:gd name="T8" fmla="*/ 113 w 120"/>
                    <a:gd name="T9" fmla="*/ 0 h 15"/>
                    <a:gd name="T10" fmla="*/ 120 w 120"/>
                    <a:gd name="T11" fmla="*/ 7 h 15"/>
                    <a:gd name="T12" fmla="*/ 113 w 120"/>
                    <a:gd name="T13" fmla="*/ 1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0" h="15">
                      <a:moveTo>
                        <a:pt x="113" y="15"/>
                      </a:moveTo>
                      <a:lnTo>
                        <a:pt x="8" y="15"/>
                      </a:lnTo>
                      <a:cubicBezTo>
                        <a:pt x="4" y="15"/>
                        <a:pt x="0" y="12"/>
                        <a:pt x="0" y="7"/>
                      </a:cubicBezTo>
                      <a:cubicBezTo>
                        <a:pt x="0" y="3"/>
                        <a:pt x="4" y="0"/>
                        <a:pt x="8" y="0"/>
                      </a:cubicBezTo>
                      <a:lnTo>
                        <a:pt x="113" y="0"/>
                      </a:lnTo>
                      <a:cubicBezTo>
                        <a:pt x="117" y="0"/>
                        <a:pt x="120" y="3"/>
                        <a:pt x="120" y="7"/>
                      </a:cubicBezTo>
                      <a:cubicBezTo>
                        <a:pt x="120" y="12"/>
                        <a:pt x="117" y="15"/>
                        <a:pt x="113" y="15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7" name="Freeform 360">
                  <a:extLst>
                    <a:ext uri="{FF2B5EF4-FFF2-40B4-BE49-F238E27FC236}">
                      <a16:creationId xmlns:a16="http://schemas.microsoft.com/office/drawing/2014/main" id="{403FFCC3-3216-32A9-589D-DE0E49D7FC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27726" y="6335713"/>
                  <a:ext cx="109538" cy="14288"/>
                </a:xfrm>
                <a:custGeom>
                  <a:avLst/>
                  <a:gdLst>
                    <a:gd name="T0" fmla="*/ 113 w 120"/>
                    <a:gd name="T1" fmla="*/ 15 h 15"/>
                    <a:gd name="T2" fmla="*/ 8 w 120"/>
                    <a:gd name="T3" fmla="*/ 15 h 15"/>
                    <a:gd name="T4" fmla="*/ 0 w 120"/>
                    <a:gd name="T5" fmla="*/ 7 h 15"/>
                    <a:gd name="T6" fmla="*/ 8 w 120"/>
                    <a:gd name="T7" fmla="*/ 0 h 15"/>
                    <a:gd name="T8" fmla="*/ 113 w 120"/>
                    <a:gd name="T9" fmla="*/ 0 h 15"/>
                    <a:gd name="T10" fmla="*/ 120 w 120"/>
                    <a:gd name="T11" fmla="*/ 7 h 15"/>
                    <a:gd name="T12" fmla="*/ 113 w 120"/>
                    <a:gd name="T13" fmla="*/ 1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0" h="15">
                      <a:moveTo>
                        <a:pt x="113" y="15"/>
                      </a:moveTo>
                      <a:lnTo>
                        <a:pt x="8" y="15"/>
                      </a:lnTo>
                      <a:cubicBezTo>
                        <a:pt x="4" y="15"/>
                        <a:pt x="0" y="11"/>
                        <a:pt x="0" y="7"/>
                      </a:cubicBezTo>
                      <a:cubicBezTo>
                        <a:pt x="0" y="3"/>
                        <a:pt x="4" y="0"/>
                        <a:pt x="8" y="0"/>
                      </a:cubicBezTo>
                      <a:lnTo>
                        <a:pt x="113" y="0"/>
                      </a:lnTo>
                      <a:cubicBezTo>
                        <a:pt x="117" y="0"/>
                        <a:pt x="120" y="3"/>
                        <a:pt x="120" y="7"/>
                      </a:cubicBezTo>
                      <a:cubicBezTo>
                        <a:pt x="120" y="11"/>
                        <a:pt x="117" y="15"/>
                        <a:pt x="113" y="15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8" name="Freeform 361">
                  <a:extLst>
                    <a:ext uri="{FF2B5EF4-FFF2-40B4-BE49-F238E27FC236}">
                      <a16:creationId xmlns:a16="http://schemas.microsoft.com/office/drawing/2014/main" id="{425EB2E4-9E9C-58CA-9211-F9488B95B6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43626" y="6286500"/>
                  <a:ext cx="71438" cy="69850"/>
                </a:xfrm>
                <a:custGeom>
                  <a:avLst/>
                  <a:gdLst>
                    <a:gd name="T0" fmla="*/ 30 w 79"/>
                    <a:gd name="T1" fmla="*/ 77 h 77"/>
                    <a:gd name="T2" fmla="*/ 27 w 79"/>
                    <a:gd name="T3" fmla="*/ 77 h 77"/>
                    <a:gd name="T4" fmla="*/ 0 w 79"/>
                    <a:gd name="T5" fmla="*/ 39 h 77"/>
                    <a:gd name="T6" fmla="*/ 40 w 79"/>
                    <a:gd name="T7" fmla="*/ 0 h 77"/>
                    <a:gd name="T8" fmla="*/ 78 w 79"/>
                    <a:gd name="T9" fmla="*/ 30 h 77"/>
                    <a:gd name="T10" fmla="*/ 73 w 79"/>
                    <a:gd name="T11" fmla="*/ 39 h 77"/>
                    <a:gd name="T12" fmla="*/ 64 w 79"/>
                    <a:gd name="T13" fmla="*/ 33 h 77"/>
                    <a:gd name="T14" fmla="*/ 40 w 79"/>
                    <a:gd name="T15" fmla="*/ 15 h 77"/>
                    <a:gd name="T16" fmla="*/ 15 w 79"/>
                    <a:gd name="T17" fmla="*/ 39 h 77"/>
                    <a:gd name="T18" fmla="*/ 32 w 79"/>
                    <a:gd name="T19" fmla="*/ 63 h 77"/>
                    <a:gd name="T20" fmla="*/ 37 w 79"/>
                    <a:gd name="T21" fmla="*/ 72 h 77"/>
                    <a:gd name="T22" fmla="*/ 30 w 79"/>
                    <a:gd name="T23" fmla="*/ 77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9" h="77">
                      <a:moveTo>
                        <a:pt x="30" y="77"/>
                      </a:moveTo>
                      <a:cubicBezTo>
                        <a:pt x="29" y="77"/>
                        <a:pt x="28" y="77"/>
                        <a:pt x="27" y="77"/>
                      </a:cubicBezTo>
                      <a:cubicBezTo>
                        <a:pt x="11" y="72"/>
                        <a:pt x="0" y="57"/>
                        <a:pt x="0" y="39"/>
                      </a:cubicBezTo>
                      <a:cubicBezTo>
                        <a:pt x="0" y="18"/>
                        <a:pt x="18" y="0"/>
                        <a:pt x="40" y="0"/>
                      </a:cubicBezTo>
                      <a:cubicBezTo>
                        <a:pt x="58" y="0"/>
                        <a:pt x="73" y="12"/>
                        <a:pt x="78" y="30"/>
                      </a:cubicBezTo>
                      <a:cubicBezTo>
                        <a:pt x="79" y="34"/>
                        <a:pt x="76" y="38"/>
                        <a:pt x="73" y="39"/>
                      </a:cubicBezTo>
                      <a:cubicBezTo>
                        <a:pt x="69" y="40"/>
                        <a:pt x="65" y="37"/>
                        <a:pt x="64" y="33"/>
                      </a:cubicBezTo>
                      <a:cubicBezTo>
                        <a:pt x="61" y="22"/>
                        <a:pt x="51" y="15"/>
                        <a:pt x="40" y="15"/>
                      </a:cubicBezTo>
                      <a:cubicBezTo>
                        <a:pt x="26" y="15"/>
                        <a:pt x="15" y="26"/>
                        <a:pt x="15" y="39"/>
                      </a:cubicBezTo>
                      <a:cubicBezTo>
                        <a:pt x="15" y="50"/>
                        <a:pt x="22" y="60"/>
                        <a:pt x="32" y="63"/>
                      </a:cubicBezTo>
                      <a:cubicBezTo>
                        <a:pt x="36" y="64"/>
                        <a:pt x="38" y="68"/>
                        <a:pt x="37" y="72"/>
                      </a:cubicBezTo>
                      <a:cubicBezTo>
                        <a:pt x="36" y="75"/>
                        <a:pt x="33" y="77"/>
                        <a:pt x="30" y="77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9" name="Freeform 362">
                  <a:extLst>
                    <a:ext uri="{FF2B5EF4-FFF2-40B4-BE49-F238E27FC236}">
                      <a16:creationId xmlns:a16="http://schemas.microsoft.com/office/drawing/2014/main" id="{F909B9C8-2B26-6C13-CF97-33FFE21AB69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169026" y="6313488"/>
                  <a:ext cx="184150" cy="185738"/>
                </a:xfrm>
                <a:custGeom>
                  <a:avLst/>
                  <a:gdLst>
                    <a:gd name="T0" fmla="*/ 102 w 203"/>
                    <a:gd name="T1" fmla="*/ 15 h 204"/>
                    <a:gd name="T2" fmla="*/ 14 w 203"/>
                    <a:gd name="T3" fmla="*/ 102 h 204"/>
                    <a:gd name="T4" fmla="*/ 102 w 203"/>
                    <a:gd name="T5" fmla="*/ 189 h 204"/>
                    <a:gd name="T6" fmla="*/ 189 w 203"/>
                    <a:gd name="T7" fmla="*/ 102 h 204"/>
                    <a:gd name="T8" fmla="*/ 102 w 203"/>
                    <a:gd name="T9" fmla="*/ 15 h 204"/>
                    <a:gd name="T10" fmla="*/ 102 w 203"/>
                    <a:gd name="T11" fmla="*/ 204 h 204"/>
                    <a:gd name="T12" fmla="*/ 0 w 203"/>
                    <a:gd name="T13" fmla="*/ 102 h 204"/>
                    <a:gd name="T14" fmla="*/ 102 w 203"/>
                    <a:gd name="T15" fmla="*/ 0 h 204"/>
                    <a:gd name="T16" fmla="*/ 203 w 203"/>
                    <a:gd name="T17" fmla="*/ 102 h 204"/>
                    <a:gd name="T18" fmla="*/ 102 w 203"/>
                    <a:gd name="T19" fmla="*/ 204 h 2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03" h="204">
                      <a:moveTo>
                        <a:pt x="102" y="15"/>
                      </a:moveTo>
                      <a:cubicBezTo>
                        <a:pt x="53" y="15"/>
                        <a:pt x="14" y="54"/>
                        <a:pt x="14" y="102"/>
                      </a:cubicBezTo>
                      <a:cubicBezTo>
                        <a:pt x="14" y="150"/>
                        <a:pt x="53" y="189"/>
                        <a:pt x="102" y="189"/>
                      </a:cubicBezTo>
                      <a:cubicBezTo>
                        <a:pt x="150" y="189"/>
                        <a:pt x="189" y="150"/>
                        <a:pt x="189" y="102"/>
                      </a:cubicBezTo>
                      <a:cubicBezTo>
                        <a:pt x="189" y="54"/>
                        <a:pt x="150" y="15"/>
                        <a:pt x="102" y="15"/>
                      </a:cubicBezTo>
                      <a:close/>
                      <a:moveTo>
                        <a:pt x="102" y="204"/>
                      </a:moveTo>
                      <a:cubicBezTo>
                        <a:pt x="45" y="204"/>
                        <a:pt x="0" y="158"/>
                        <a:pt x="0" y="102"/>
                      </a:cubicBezTo>
                      <a:cubicBezTo>
                        <a:pt x="0" y="46"/>
                        <a:pt x="45" y="0"/>
                        <a:pt x="102" y="0"/>
                      </a:cubicBezTo>
                      <a:cubicBezTo>
                        <a:pt x="158" y="0"/>
                        <a:pt x="203" y="46"/>
                        <a:pt x="203" y="102"/>
                      </a:cubicBezTo>
                      <a:cubicBezTo>
                        <a:pt x="203" y="158"/>
                        <a:pt x="158" y="204"/>
                        <a:pt x="102" y="204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80" name="Freeform 363">
                  <a:extLst>
                    <a:ext uri="{FF2B5EF4-FFF2-40B4-BE49-F238E27FC236}">
                      <a16:creationId xmlns:a16="http://schemas.microsoft.com/office/drawing/2014/main" id="{B1413A1E-E30E-6BC5-6263-15D394532A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11888" y="6372225"/>
                  <a:ext cx="98425" cy="66675"/>
                </a:xfrm>
                <a:custGeom>
                  <a:avLst/>
                  <a:gdLst>
                    <a:gd name="T0" fmla="*/ 43 w 109"/>
                    <a:gd name="T1" fmla="*/ 73 h 73"/>
                    <a:gd name="T2" fmla="*/ 43 w 109"/>
                    <a:gd name="T3" fmla="*/ 73 h 73"/>
                    <a:gd name="T4" fmla="*/ 37 w 109"/>
                    <a:gd name="T5" fmla="*/ 71 h 73"/>
                    <a:gd name="T6" fmla="*/ 3 w 109"/>
                    <a:gd name="T7" fmla="*/ 37 h 73"/>
                    <a:gd name="T8" fmla="*/ 3 w 109"/>
                    <a:gd name="T9" fmla="*/ 27 h 73"/>
                    <a:gd name="T10" fmla="*/ 13 w 109"/>
                    <a:gd name="T11" fmla="*/ 27 h 73"/>
                    <a:gd name="T12" fmla="*/ 43 w 109"/>
                    <a:gd name="T13" fmla="*/ 56 h 73"/>
                    <a:gd name="T14" fmla="*/ 96 w 109"/>
                    <a:gd name="T15" fmla="*/ 3 h 73"/>
                    <a:gd name="T16" fmla="*/ 106 w 109"/>
                    <a:gd name="T17" fmla="*/ 3 h 73"/>
                    <a:gd name="T18" fmla="*/ 106 w 109"/>
                    <a:gd name="T19" fmla="*/ 13 h 73"/>
                    <a:gd name="T20" fmla="*/ 48 w 109"/>
                    <a:gd name="T21" fmla="*/ 71 h 73"/>
                    <a:gd name="T22" fmla="*/ 43 w 109"/>
                    <a:gd name="T23" fmla="*/ 73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09" h="73">
                      <a:moveTo>
                        <a:pt x="43" y="73"/>
                      </a:moveTo>
                      <a:lnTo>
                        <a:pt x="43" y="73"/>
                      </a:lnTo>
                      <a:cubicBezTo>
                        <a:pt x="41" y="73"/>
                        <a:pt x="39" y="73"/>
                        <a:pt x="37" y="71"/>
                      </a:cubicBezTo>
                      <a:lnTo>
                        <a:pt x="3" y="37"/>
                      </a:lnTo>
                      <a:cubicBezTo>
                        <a:pt x="0" y="34"/>
                        <a:pt x="0" y="29"/>
                        <a:pt x="3" y="27"/>
                      </a:cubicBezTo>
                      <a:cubicBezTo>
                        <a:pt x="6" y="24"/>
                        <a:pt x="10" y="24"/>
                        <a:pt x="13" y="27"/>
                      </a:cubicBezTo>
                      <a:lnTo>
                        <a:pt x="43" y="56"/>
                      </a:lnTo>
                      <a:lnTo>
                        <a:pt x="96" y="3"/>
                      </a:lnTo>
                      <a:cubicBezTo>
                        <a:pt x="99" y="0"/>
                        <a:pt x="103" y="0"/>
                        <a:pt x="106" y="3"/>
                      </a:cubicBezTo>
                      <a:cubicBezTo>
                        <a:pt x="109" y="5"/>
                        <a:pt x="109" y="10"/>
                        <a:pt x="106" y="13"/>
                      </a:cubicBezTo>
                      <a:lnTo>
                        <a:pt x="48" y="71"/>
                      </a:lnTo>
                      <a:cubicBezTo>
                        <a:pt x="46" y="73"/>
                        <a:pt x="45" y="73"/>
                        <a:pt x="43" y="73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143" name="Grupo 142">
            <a:extLst>
              <a:ext uri="{FF2B5EF4-FFF2-40B4-BE49-F238E27FC236}">
                <a16:creationId xmlns:a16="http://schemas.microsoft.com/office/drawing/2014/main" id="{6BE5D831-C64A-6217-7E33-505CBBCCE731}"/>
              </a:ext>
            </a:extLst>
          </p:cNvPr>
          <p:cNvGrpSpPr/>
          <p:nvPr/>
        </p:nvGrpSpPr>
        <p:grpSpPr>
          <a:xfrm>
            <a:off x="4736062" y="2123421"/>
            <a:ext cx="1646588" cy="996252"/>
            <a:chOff x="5373160" y="2114295"/>
            <a:chExt cx="1646588" cy="996252"/>
          </a:xfrm>
        </p:grpSpPr>
        <p:sp>
          <p:nvSpPr>
            <p:cNvPr id="17" name="CuadroTexto 1073">
              <a:extLst>
                <a:ext uri="{FF2B5EF4-FFF2-40B4-BE49-F238E27FC236}">
                  <a16:creationId xmlns:a16="http://schemas.microsoft.com/office/drawing/2014/main" id="{AEE459E0-92BC-4DB5-B02C-4AE72EC83A3D}"/>
                </a:ext>
              </a:extLst>
            </p:cNvPr>
            <p:cNvSpPr txBox="1"/>
            <p:nvPr/>
          </p:nvSpPr>
          <p:spPr>
            <a:xfrm>
              <a:off x="5969986" y="2114295"/>
              <a:ext cx="910064" cy="30777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400" b="1" kern="0">
                  <a:solidFill>
                    <a:schemeClr val="accent4">
                      <a:lumMod val="75000"/>
                    </a:schemeClr>
                  </a:solidFill>
                  <a:latin typeface="Arial"/>
                  <a:cs typeface="Arial"/>
                </a:rPr>
                <a:t>4</a:t>
              </a:r>
              <a:endParaRPr kumimoji="0" lang="en-GB" sz="1400" b="1" i="0" u="none" strike="noStrike" kern="0" cap="none" spc="0" normalizeH="0" baseline="0" noProof="0">
                <a:ln>
                  <a:noFill/>
                </a:ln>
                <a:solidFill>
                  <a:schemeClr val="accent4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8" name="CuadroTexto 1074">
              <a:extLst>
                <a:ext uri="{FF2B5EF4-FFF2-40B4-BE49-F238E27FC236}">
                  <a16:creationId xmlns:a16="http://schemas.microsoft.com/office/drawing/2014/main" id="{142A628D-02C4-4916-CCE5-836A90C2627C}"/>
                </a:ext>
              </a:extLst>
            </p:cNvPr>
            <p:cNvSpPr txBox="1"/>
            <p:nvPr/>
          </p:nvSpPr>
          <p:spPr>
            <a:xfrm>
              <a:off x="5888732" y="2556549"/>
              <a:ext cx="1075999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>
                <a:defRPr/>
              </a:pPr>
              <a:r>
                <a:rPr lang="en-GB" sz="1000" b="1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/>
                  <a:cs typeface="Arial"/>
                </a:rPr>
                <a:t>Total ESCs issued in Cyprus</a:t>
              </a:r>
              <a:endParaRPr lang="en-GB" sz="1000" b="1" i="0" u="none" strike="noStrike" kern="0" cap="none" spc="0" normalizeH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cxnSp>
          <p:nvCxnSpPr>
            <p:cNvPr id="21" name="Conector recto 263">
              <a:extLst>
                <a:ext uri="{FF2B5EF4-FFF2-40B4-BE49-F238E27FC236}">
                  <a16:creationId xmlns:a16="http://schemas.microsoft.com/office/drawing/2014/main" id="{B4542A89-4806-0AB3-B1DE-284B96F3C1C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644548" y="2443035"/>
              <a:ext cx="1375200" cy="0"/>
            </a:xfrm>
            <a:prstGeom prst="line">
              <a:avLst/>
            </a:prstGeom>
            <a:noFill/>
            <a:ln w="19050" cap="flat" cmpd="sng" algn="ctr">
              <a:solidFill>
                <a:schemeClr val="accent4">
                  <a:lumMod val="75000"/>
                </a:schemeClr>
              </a:solidFill>
              <a:prstDash val="solid"/>
              <a:miter lim="800000"/>
            </a:ln>
            <a:effectLst/>
          </p:spPr>
        </p:cxnSp>
        <p:sp>
          <p:nvSpPr>
            <p:cNvPr id="182" name="Elipse 264">
              <a:extLst>
                <a:ext uri="{FF2B5EF4-FFF2-40B4-BE49-F238E27FC236}">
                  <a16:creationId xmlns:a16="http://schemas.microsoft.com/office/drawing/2014/main" id="{8CEFFAA7-8F40-1D22-563B-169CEA9D0129}"/>
                </a:ext>
              </a:extLst>
            </p:cNvPr>
            <p:cNvSpPr/>
            <p:nvPr/>
          </p:nvSpPr>
          <p:spPr>
            <a:xfrm>
              <a:off x="5373160" y="2177123"/>
              <a:ext cx="474427" cy="447173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 w="12700" cap="flat" cmpd="sng" algn="ctr">
              <a:solidFill>
                <a:schemeClr val="accent4">
                  <a:lumMod val="75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83" name="Focus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32F948AA-C9EF-49D0-7DBE-8E2D5C9C3FC2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 bwMode="auto">
            <a:xfrm flipH="1">
              <a:off x="5483446" y="2262790"/>
              <a:ext cx="260165" cy="277073"/>
              <a:chOff x="2676" y="994"/>
              <a:chExt cx="2251" cy="2256"/>
            </a:xfrm>
            <a:solidFill>
              <a:srgbClr val="FFFFFF"/>
            </a:solidFill>
          </p:grpSpPr>
          <p:sp>
            <p:nvSpPr>
              <p:cNvPr id="184" name="Freeform 117">
                <a:extLst>
                  <a:ext uri="{FF2B5EF4-FFF2-40B4-BE49-F238E27FC236}">
                    <a16:creationId xmlns:a16="http://schemas.microsoft.com/office/drawing/2014/main" id="{CD346581-9554-5880-CE89-EBBB4BA50B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6" y="994"/>
                <a:ext cx="727" cy="728"/>
              </a:xfrm>
              <a:custGeom>
                <a:avLst/>
                <a:gdLst>
                  <a:gd name="T0" fmla="*/ 158 w 183"/>
                  <a:gd name="T1" fmla="*/ 0 h 183"/>
                  <a:gd name="T2" fmla="*/ 25 w 183"/>
                  <a:gd name="T3" fmla="*/ 0 h 183"/>
                  <a:gd name="T4" fmla="*/ 0 w 183"/>
                  <a:gd name="T5" fmla="*/ 25 h 183"/>
                  <a:gd name="T6" fmla="*/ 0 w 183"/>
                  <a:gd name="T7" fmla="*/ 158 h 183"/>
                  <a:gd name="T8" fmla="*/ 25 w 183"/>
                  <a:gd name="T9" fmla="*/ 183 h 183"/>
                  <a:gd name="T10" fmla="*/ 50 w 183"/>
                  <a:gd name="T11" fmla="*/ 158 h 183"/>
                  <a:gd name="T12" fmla="*/ 50 w 183"/>
                  <a:gd name="T13" fmla="*/ 50 h 183"/>
                  <a:gd name="T14" fmla="*/ 158 w 183"/>
                  <a:gd name="T15" fmla="*/ 50 h 183"/>
                  <a:gd name="T16" fmla="*/ 183 w 183"/>
                  <a:gd name="T17" fmla="*/ 25 h 183"/>
                  <a:gd name="T18" fmla="*/ 158 w 183"/>
                  <a:gd name="T19" fmla="*/ 0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3" h="183">
                    <a:moveTo>
                      <a:pt x="158" y="0"/>
                    </a:moveTo>
                    <a:lnTo>
                      <a:pt x="25" y="0"/>
                    </a:lnTo>
                    <a:cubicBezTo>
                      <a:pt x="11" y="0"/>
                      <a:pt x="0" y="11"/>
                      <a:pt x="0" y="25"/>
                    </a:cubicBezTo>
                    <a:lnTo>
                      <a:pt x="0" y="158"/>
                    </a:lnTo>
                    <a:cubicBezTo>
                      <a:pt x="0" y="172"/>
                      <a:pt x="11" y="183"/>
                      <a:pt x="25" y="183"/>
                    </a:cubicBezTo>
                    <a:cubicBezTo>
                      <a:pt x="39" y="183"/>
                      <a:pt x="50" y="172"/>
                      <a:pt x="50" y="158"/>
                    </a:cubicBezTo>
                    <a:lnTo>
                      <a:pt x="50" y="50"/>
                    </a:lnTo>
                    <a:lnTo>
                      <a:pt x="158" y="50"/>
                    </a:lnTo>
                    <a:cubicBezTo>
                      <a:pt x="172" y="50"/>
                      <a:pt x="183" y="39"/>
                      <a:pt x="183" y="25"/>
                    </a:cubicBezTo>
                    <a:cubicBezTo>
                      <a:pt x="183" y="11"/>
                      <a:pt x="172" y="0"/>
                      <a:pt x="158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5" name="Freeform 118">
                <a:extLst>
                  <a:ext uri="{FF2B5EF4-FFF2-40B4-BE49-F238E27FC236}">
                    <a16:creationId xmlns:a16="http://schemas.microsoft.com/office/drawing/2014/main" id="{CC84C625-B9AE-42F0-C619-C2FEF5E9C8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7" y="994"/>
                <a:ext cx="730" cy="728"/>
              </a:xfrm>
              <a:custGeom>
                <a:avLst/>
                <a:gdLst>
                  <a:gd name="T0" fmla="*/ 184 w 184"/>
                  <a:gd name="T1" fmla="*/ 25 h 183"/>
                  <a:gd name="T2" fmla="*/ 159 w 184"/>
                  <a:gd name="T3" fmla="*/ 0 h 183"/>
                  <a:gd name="T4" fmla="*/ 25 w 184"/>
                  <a:gd name="T5" fmla="*/ 0 h 183"/>
                  <a:gd name="T6" fmla="*/ 0 w 184"/>
                  <a:gd name="T7" fmla="*/ 25 h 183"/>
                  <a:gd name="T8" fmla="*/ 25 w 184"/>
                  <a:gd name="T9" fmla="*/ 50 h 183"/>
                  <a:gd name="T10" fmla="*/ 134 w 184"/>
                  <a:gd name="T11" fmla="*/ 50 h 183"/>
                  <a:gd name="T12" fmla="*/ 134 w 184"/>
                  <a:gd name="T13" fmla="*/ 158 h 183"/>
                  <a:gd name="T14" fmla="*/ 159 w 184"/>
                  <a:gd name="T15" fmla="*/ 183 h 183"/>
                  <a:gd name="T16" fmla="*/ 184 w 184"/>
                  <a:gd name="T17" fmla="*/ 158 h 183"/>
                  <a:gd name="T18" fmla="*/ 184 w 184"/>
                  <a:gd name="T19" fmla="*/ 25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4" h="183">
                    <a:moveTo>
                      <a:pt x="184" y="25"/>
                    </a:moveTo>
                    <a:cubicBezTo>
                      <a:pt x="184" y="11"/>
                      <a:pt x="172" y="0"/>
                      <a:pt x="159" y="0"/>
                    </a:cubicBezTo>
                    <a:lnTo>
                      <a:pt x="25" y="0"/>
                    </a:lnTo>
                    <a:cubicBezTo>
                      <a:pt x="12" y="0"/>
                      <a:pt x="0" y="11"/>
                      <a:pt x="0" y="25"/>
                    </a:cubicBezTo>
                    <a:cubicBezTo>
                      <a:pt x="0" y="39"/>
                      <a:pt x="12" y="50"/>
                      <a:pt x="25" y="50"/>
                    </a:cubicBezTo>
                    <a:lnTo>
                      <a:pt x="134" y="50"/>
                    </a:lnTo>
                    <a:lnTo>
                      <a:pt x="134" y="158"/>
                    </a:lnTo>
                    <a:cubicBezTo>
                      <a:pt x="134" y="172"/>
                      <a:pt x="145" y="183"/>
                      <a:pt x="159" y="183"/>
                    </a:cubicBezTo>
                    <a:cubicBezTo>
                      <a:pt x="172" y="183"/>
                      <a:pt x="184" y="172"/>
                      <a:pt x="184" y="158"/>
                    </a:cubicBezTo>
                    <a:lnTo>
                      <a:pt x="184" y="2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6" name="Freeform 119">
                <a:extLst>
                  <a:ext uri="{FF2B5EF4-FFF2-40B4-BE49-F238E27FC236}">
                    <a16:creationId xmlns:a16="http://schemas.microsoft.com/office/drawing/2014/main" id="{E487EF0B-4597-DA4E-0A2F-216FB3923D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7" y="2518"/>
                <a:ext cx="730" cy="732"/>
              </a:xfrm>
              <a:custGeom>
                <a:avLst/>
                <a:gdLst>
                  <a:gd name="T0" fmla="*/ 159 w 184"/>
                  <a:gd name="T1" fmla="*/ 0 h 184"/>
                  <a:gd name="T2" fmla="*/ 134 w 184"/>
                  <a:gd name="T3" fmla="*/ 25 h 184"/>
                  <a:gd name="T4" fmla="*/ 134 w 184"/>
                  <a:gd name="T5" fmla="*/ 134 h 184"/>
                  <a:gd name="T6" fmla="*/ 25 w 184"/>
                  <a:gd name="T7" fmla="*/ 134 h 184"/>
                  <a:gd name="T8" fmla="*/ 0 w 184"/>
                  <a:gd name="T9" fmla="*/ 159 h 184"/>
                  <a:gd name="T10" fmla="*/ 25 w 184"/>
                  <a:gd name="T11" fmla="*/ 184 h 184"/>
                  <a:gd name="T12" fmla="*/ 159 w 184"/>
                  <a:gd name="T13" fmla="*/ 184 h 184"/>
                  <a:gd name="T14" fmla="*/ 184 w 184"/>
                  <a:gd name="T15" fmla="*/ 159 h 184"/>
                  <a:gd name="T16" fmla="*/ 184 w 184"/>
                  <a:gd name="T17" fmla="*/ 25 h 184"/>
                  <a:gd name="T18" fmla="*/ 159 w 184"/>
                  <a:gd name="T19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4" h="184">
                    <a:moveTo>
                      <a:pt x="159" y="0"/>
                    </a:moveTo>
                    <a:cubicBezTo>
                      <a:pt x="145" y="0"/>
                      <a:pt x="134" y="12"/>
                      <a:pt x="134" y="25"/>
                    </a:cubicBezTo>
                    <a:lnTo>
                      <a:pt x="134" y="134"/>
                    </a:lnTo>
                    <a:lnTo>
                      <a:pt x="25" y="134"/>
                    </a:lnTo>
                    <a:cubicBezTo>
                      <a:pt x="12" y="134"/>
                      <a:pt x="0" y="145"/>
                      <a:pt x="0" y="159"/>
                    </a:cubicBezTo>
                    <a:cubicBezTo>
                      <a:pt x="0" y="172"/>
                      <a:pt x="12" y="184"/>
                      <a:pt x="25" y="184"/>
                    </a:cubicBezTo>
                    <a:lnTo>
                      <a:pt x="159" y="184"/>
                    </a:lnTo>
                    <a:cubicBezTo>
                      <a:pt x="172" y="184"/>
                      <a:pt x="184" y="172"/>
                      <a:pt x="184" y="159"/>
                    </a:cubicBezTo>
                    <a:lnTo>
                      <a:pt x="184" y="25"/>
                    </a:lnTo>
                    <a:cubicBezTo>
                      <a:pt x="184" y="12"/>
                      <a:pt x="172" y="0"/>
                      <a:pt x="159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7" name="Freeform 120">
                <a:extLst>
                  <a:ext uri="{FF2B5EF4-FFF2-40B4-BE49-F238E27FC236}">
                    <a16:creationId xmlns:a16="http://schemas.microsoft.com/office/drawing/2014/main" id="{F53E5165-86DB-8E7D-AB07-8EB4AB46E9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6" y="2518"/>
                <a:ext cx="727" cy="732"/>
              </a:xfrm>
              <a:custGeom>
                <a:avLst/>
                <a:gdLst>
                  <a:gd name="T0" fmla="*/ 25 w 183"/>
                  <a:gd name="T1" fmla="*/ 0 h 184"/>
                  <a:gd name="T2" fmla="*/ 0 w 183"/>
                  <a:gd name="T3" fmla="*/ 25 h 184"/>
                  <a:gd name="T4" fmla="*/ 0 w 183"/>
                  <a:gd name="T5" fmla="*/ 159 h 184"/>
                  <a:gd name="T6" fmla="*/ 25 w 183"/>
                  <a:gd name="T7" fmla="*/ 184 h 184"/>
                  <a:gd name="T8" fmla="*/ 158 w 183"/>
                  <a:gd name="T9" fmla="*/ 184 h 184"/>
                  <a:gd name="T10" fmla="*/ 183 w 183"/>
                  <a:gd name="T11" fmla="*/ 159 h 184"/>
                  <a:gd name="T12" fmla="*/ 158 w 183"/>
                  <a:gd name="T13" fmla="*/ 134 h 184"/>
                  <a:gd name="T14" fmla="*/ 50 w 183"/>
                  <a:gd name="T15" fmla="*/ 134 h 184"/>
                  <a:gd name="T16" fmla="*/ 50 w 183"/>
                  <a:gd name="T17" fmla="*/ 25 h 184"/>
                  <a:gd name="T18" fmla="*/ 25 w 183"/>
                  <a:gd name="T19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3" h="184">
                    <a:moveTo>
                      <a:pt x="25" y="0"/>
                    </a:moveTo>
                    <a:cubicBezTo>
                      <a:pt x="11" y="0"/>
                      <a:pt x="0" y="12"/>
                      <a:pt x="0" y="25"/>
                    </a:cubicBezTo>
                    <a:lnTo>
                      <a:pt x="0" y="159"/>
                    </a:lnTo>
                    <a:cubicBezTo>
                      <a:pt x="0" y="172"/>
                      <a:pt x="11" y="184"/>
                      <a:pt x="25" y="184"/>
                    </a:cubicBezTo>
                    <a:lnTo>
                      <a:pt x="158" y="184"/>
                    </a:lnTo>
                    <a:cubicBezTo>
                      <a:pt x="172" y="184"/>
                      <a:pt x="183" y="172"/>
                      <a:pt x="183" y="159"/>
                    </a:cubicBezTo>
                    <a:cubicBezTo>
                      <a:pt x="183" y="145"/>
                      <a:pt x="172" y="134"/>
                      <a:pt x="158" y="134"/>
                    </a:cubicBezTo>
                    <a:lnTo>
                      <a:pt x="50" y="134"/>
                    </a:lnTo>
                    <a:lnTo>
                      <a:pt x="50" y="25"/>
                    </a:lnTo>
                    <a:cubicBezTo>
                      <a:pt x="50" y="12"/>
                      <a:pt x="39" y="0"/>
                      <a:pt x="25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8" name="Freeform 121">
                <a:extLst>
                  <a:ext uri="{FF2B5EF4-FFF2-40B4-BE49-F238E27FC236}">
                    <a16:creationId xmlns:a16="http://schemas.microsoft.com/office/drawing/2014/main" id="{A6AC07D7-B4B9-AF62-0434-7730936C1C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02" y="1822"/>
                <a:ext cx="596" cy="596"/>
              </a:xfrm>
              <a:custGeom>
                <a:avLst/>
                <a:gdLst>
                  <a:gd name="T0" fmla="*/ 100 w 150"/>
                  <a:gd name="T1" fmla="*/ 100 h 150"/>
                  <a:gd name="T2" fmla="*/ 50 w 150"/>
                  <a:gd name="T3" fmla="*/ 100 h 150"/>
                  <a:gd name="T4" fmla="*/ 50 w 150"/>
                  <a:gd name="T5" fmla="*/ 50 h 150"/>
                  <a:gd name="T6" fmla="*/ 100 w 150"/>
                  <a:gd name="T7" fmla="*/ 50 h 150"/>
                  <a:gd name="T8" fmla="*/ 100 w 150"/>
                  <a:gd name="T9" fmla="*/ 100 h 150"/>
                  <a:gd name="T10" fmla="*/ 25 w 150"/>
                  <a:gd name="T11" fmla="*/ 0 h 150"/>
                  <a:gd name="T12" fmla="*/ 0 w 150"/>
                  <a:gd name="T13" fmla="*/ 25 h 150"/>
                  <a:gd name="T14" fmla="*/ 0 w 150"/>
                  <a:gd name="T15" fmla="*/ 125 h 150"/>
                  <a:gd name="T16" fmla="*/ 25 w 150"/>
                  <a:gd name="T17" fmla="*/ 150 h 150"/>
                  <a:gd name="T18" fmla="*/ 125 w 150"/>
                  <a:gd name="T19" fmla="*/ 150 h 150"/>
                  <a:gd name="T20" fmla="*/ 150 w 150"/>
                  <a:gd name="T21" fmla="*/ 125 h 150"/>
                  <a:gd name="T22" fmla="*/ 150 w 150"/>
                  <a:gd name="T23" fmla="*/ 25 h 150"/>
                  <a:gd name="T24" fmla="*/ 125 w 150"/>
                  <a:gd name="T25" fmla="*/ 0 h 150"/>
                  <a:gd name="T26" fmla="*/ 25 w 150"/>
                  <a:gd name="T27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50" h="150">
                    <a:moveTo>
                      <a:pt x="100" y="100"/>
                    </a:moveTo>
                    <a:lnTo>
                      <a:pt x="50" y="100"/>
                    </a:lnTo>
                    <a:lnTo>
                      <a:pt x="50" y="50"/>
                    </a:lnTo>
                    <a:lnTo>
                      <a:pt x="100" y="50"/>
                    </a:lnTo>
                    <a:lnTo>
                      <a:pt x="100" y="100"/>
                    </a:lnTo>
                    <a:close/>
                    <a:moveTo>
                      <a:pt x="25" y="0"/>
                    </a:moveTo>
                    <a:cubicBezTo>
                      <a:pt x="12" y="0"/>
                      <a:pt x="0" y="12"/>
                      <a:pt x="0" y="25"/>
                    </a:cubicBezTo>
                    <a:lnTo>
                      <a:pt x="0" y="125"/>
                    </a:lnTo>
                    <a:cubicBezTo>
                      <a:pt x="0" y="139"/>
                      <a:pt x="12" y="150"/>
                      <a:pt x="25" y="150"/>
                    </a:cubicBezTo>
                    <a:lnTo>
                      <a:pt x="125" y="150"/>
                    </a:lnTo>
                    <a:cubicBezTo>
                      <a:pt x="139" y="150"/>
                      <a:pt x="150" y="139"/>
                      <a:pt x="150" y="125"/>
                    </a:cubicBezTo>
                    <a:lnTo>
                      <a:pt x="150" y="25"/>
                    </a:lnTo>
                    <a:cubicBezTo>
                      <a:pt x="150" y="12"/>
                      <a:pt x="139" y="0"/>
                      <a:pt x="125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42" name="Grupo 141">
            <a:extLst>
              <a:ext uri="{FF2B5EF4-FFF2-40B4-BE49-F238E27FC236}">
                <a16:creationId xmlns:a16="http://schemas.microsoft.com/office/drawing/2014/main" id="{B29428E4-4BA1-46FF-663D-96F30312B2F9}"/>
              </a:ext>
            </a:extLst>
          </p:cNvPr>
          <p:cNvGrpSpPr/>
          <p:nvPr/>
        </p:nvGrpSpPr>
        <p:grpSpPr>
          <a:xfrm>
            <a:off x="2835114" y="2114766"/>
            <a:ext cx="1826246" cy="821931"/>
            <a:chOff x="3029302" y="2086281"/>
            <a:chExt cx="1826246" cy="821931"/>
          </a:xfrm>
        </p:grpSpPr>
        <p:cxnSp>
          <p:nvCxnSpPr>
            <p:cNvPr id="3" name="Conector recto 1059">
              <a:extLst>
                <a:ext uri="{FF2B5EF4-FFF2-40B4-BE49-F238E27FC236}">
                  <a16:creationId xmlns:a16="http://schemas.microsoft.com/office/drawing/2014/main" id="{39C5D148-F28D-3DBE-A912-888FE1F3DB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302221" y="2409291"/>
              <a:ext cx="1375200" cy="1673"/>
            </a:xfrm>
            <a:prstGeom prst="line">
              <a:avLst/>
            </a:prstGeom>
            <a:noFill/>
            <a:ln w="19050" cap="flat" cmpd="sng" algn="ctr">
              <a:solidFill>
                <a:srgbClr val="E86F6F"/>
              </a:solidFill>
              <a:prstDash val="solid"/>
              <a:miter lim="800000"/>
            </a:ln>
            <a:effectLst/>
          </p:spPr>
        </p:cxnSp>
        <p:sp>
          <p:nvSpPr>
            <p:cNvPr id="23" name="CuadroTexto 261">
              <a:extLst>
                <a:ext uri="{FF2B5EF4-FFF2-40B4-BE49-F238E27FC236}">
                  <a16:creationId xmlns:a16="http://schemas.microsoft.com/office/drawing/2014/main" id="{4F911A44-8FA6-CEBE-3EF5-4863A21E0D30}"/>
                </a:ext>
              </a:extLst>
            </p:cNvPr>
            <p:cNvSpPr txBox="1"/>
            <p:nvPr/>
          </p:nvSpPr>
          <p:spPr>
            <a:xfrm>
              <a:off x="3249149" y="2086281"/>
              <a:ext cx="1606399" cy="30777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400" b="1" kern="0">
                  <a:solidFill>
                    <a:srgbClr val="E86F6F"/>
                  </a:solidFill>
                  <a:latin typeface="Arial"/>
                  <a:cs typeface="Arial"/>
                </a:rPr>
                <a:t>0</a:t>
              </a:r>
              <a:endParaRPr lang="en-GB" sz="1400" b="1" i="0" u="none" strike="noStrike" kern="0" cap="none" spc="0" normalizeH="0" baseline="0" noProof="0">
                <a:ln>
                  <a:noFill/>
                </a:ln>
                <a:solidFill>
                  <a:srgbClr val="E86F6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4" name="CuadroTexto 262">
              <a:extLst>
                <a:ext uri="{FF2B5EF4-FFF2-40B4-BE49-F238E27FC236}">
                  <a16:creationId xmlns:a16="http://schemas.microsoft.com/office/drawing/2014/main" id="{E90B1630-DA11-CB87-3450-D0DA4BB626AC}"/>
                </a:ext>
              </a:extLst>
            </p:cNvPr>
            <p:cNvSpPr txBox="1"/>
            <p:nvPr/>
          </p:nvSpPr>
          <p:spPr>
            <a:xfrm>
              <a:off x="3375010" y="2508102"/>
              <a:ext cx="1354676" cy="40011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ea typeface="+mn-ea"/>
                </a:rPr>
                <a:t>Organisations issuing ESCs</a:t>
              </a:r>
              <a:r>
                <a:rPr lang="en-GB" sz="1000" b="1">
                  <a:solidFill>
                    <a:prstClr val="black">
                      <a:lumMod val="75000"/>
                      <a:lumOff val="25000"/>
                    </a:prstClr>
                  </a:solidFill>
                  <a:ea typeface="+mn-ea"/>
                </a:rPr>
                <a:t>*</a:t>
              </a:r>
              <a:endParaRPr kumimoji="0" lang="en-GB" sz="1000" b="1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0" name="Elipse 314">
              <a:extLst>
                <a:ext uri="{FF2B5EF4-FFF2-40B4-BE49-F238E27FC236}">
                  <a16:creationId xmlns:a16="http://schemas.microsoft.com/office/drawing/2014/main" id="{A8701E73-61E3-3D02-4859-418C7E2A31CE}"/>
                </a:ext>
              </a:extLst>
            </p:cNvPr>
            <p:cNvSpPr/>
            <p:nvPr/>
          </p:nvSpPr>
          <p:spPr>
            <a:xfrm>
              <a:off x="3029302" y="2172300"/>
              <a:ext cx="489439" cy="451246"/>
            </a:xfrm>
            <a:prstGeom prst="ellipse">
              <a:avLst/>
            </a:prstGeom>
            <a:solidFill>
              <a:srgbClr val="E86F6F"/>
            </a:solidFill>
            <a:ln w="12700" cap="flat" cmpd="sng" algn="ctr">
              <a:solidFill>
                <a:srgbClr val="E86F6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91" name="Credit_card6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A2744FB3-81C9-67E0-6C61-263F4939FD0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103901" y="2211208"/>
              <a:ext cx="361015" cy="287363"/>
              <a:chOff x="4438651" y="373063"/>
              <a:chExt cx="427038" cy="327025"/>
            </a:xfrm>
            <a:solidFill>
              <a:srgbClr val="FFFFFF"/>
            </a:solidFill>
          </p:grpSpPr>
          <p:sp>
            <p:nvSpPr>
              <p:cNvPr id="192" name="Freeform 346">
                <a:extLst>
                  <a:ext uri="{FF2B5EF4-FFF2-40B4-BE49-F238E27FC236}">
                    <a16:creationId xmlns:a16="http://schemas.microsoft.com/office/drawing/2014/main" id="{2AF72C53-90FC-40CD-E1CE-D2994C6B81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9776" y="457200"/>
                <a:ext cx="315913" cy="236538"/>
              </a:xfrm>
              <a:custGeom>
                <a:avLst/>
                <a:gdLst>
                  <a:gd name="T0" fmla="*/ 322 w 347"/>
                  <a:gd name="T1" fmla="*/ 260 h 260"/>
                  <a:gd name="T2" fmla="*/ 21 w 347"/>
                  <a:gd name="T3" fmla="*/ 260 h 260"/>
                  <a:gd name="T4" fmla="*/ 14 w 347"/>
                  <a:gd name="T5" fmla="*/ 253 h 260"/>
                  <a:gd name="T6" fmla="*/ 21 w 347"/>
                  <a:gd name="T7" fmla="*/ 246 h 260"/>
                  <a:gd name="T8" fmla="*/ 322 w 347"/>
                  <a:gd name="T9" fmla="*/ 246 h 260"/>
                  <a:gd name="T10" fmla="*/ 333 w 347"/>
                  <a:gd name="T11" fmla="*/ 235 h 260"/>
                  <a:gd name="T12" fmla="*/ 333 w 347"/>
                  <a:gd name="T13" fmla="*/ 26 h 260"/>
                  <a:gd name="T14" fmla="*/ 322 w 347"/>
                  <a:gd name="T15" fmla="*/ 15 h 260"/>
                  <a:gd name="T16" fmla="*/ 8 w 347"/>
                  <a:gd name="T17" fmla="*/ 15 h 260"/>
                  <a:gd name="T18" fmla="*/ 0 w 347"/>
                  <a:gd name="T19" fmla="*/ 8 h 260"/>
                  <a:gd name="T20" fmla="*/ 8 w 347"/>
                  <a:gd name="T21" fmla="*/ 0 h 260"/>
                  <a:gd name="T22" fmla="*/ 322 w 347"/>
                  <a:gd name="T23" fmla="*/ 0 h 260"/>
                  <a:gd name="T24" fmla="*/ 347 w 347"/>
                  <a:gd name="T25" fmla="*/ 26 h 260"/>
                  <a:gd name="T26" fmla="*/ 347 w 347"/>
                  <a:gd name="T27" fmla="*/ 235 h 260"/>
                  <a:gd name="T28" fmla="*/ 322 w 347"/>
                  <a:gd name="T29" fmla="*/ 26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47" h="260">
                    <a:moveTo>
                      <a:pt x="322" y="260"/>
                    </a:moveTo>
                    <a:lnTo>
                      <a:pt x="21" y="260"/>
                    </a:lnTo>
                    <a:cubicBezTo>
                      <a:pt x="17" y="260"/>
                      <a:pt x="14" y="257"/>
                      <a:pt x="14" y="253"/>
                    </a:cubicBezTo>
                    <a:cubicBezTo>
                      <a:pt x="14" y="249"/>
                      <a:pt x="17" y="246"/>
                      <a:pt x="21" y="246"/>
                    </a:cubicBezTo>
                    <a:lnTo>
                      <a:pt x="322" y="246"/>
                    </a:lnTo>
                    <a:cubicBezTo>
                      <a:pt x="328" y="246"/>
                      <a:pt x="333" y="241"/>
                      <a:pt x="333" y="235"/>
                    </a:cubicBezTo>
                    <a:lnTo>
                      <a:pt x="333" y="26"/>
                    </a:lnTo>
                    <a:cubicBezTo>
                      <a:pt x="333" y="20"/>
                      <a:pt x="328" y="15"/>
                      <a:pt x="322" y="15"/>
                    </a:cubicBezTo>
                    <a:lnTo>
                      <a:pt x="8" y="15"/>
                    </a:lnTo>
                    <a:cubicBezTo>
                      <a:pt x="4" y="15"/>
                      <a:pt x="0" y="12"/>
                      <a:pt x="0" y="8"/>
                    </a:cubicBezTo>
                    <a:cubicBezTo>
                      <a:pt x="0" y="4"/>
                      <a:pt x="4" y="0"/>
                      <a:pt x="8" y="0"/>
                    </a:cubicBezTo>
                    <a:lnTo>
                      <a:pt x="322" y="0"/>
                    </a:lnTo>
                    <a:cubicBezTo>
                      <a:pt x="336" y="0"/>
                      <a:pt x="347" y="12"/>
                      <a:pt x="347" y="26"/>
                    </a:cubicBezTo>
                    <a:lnTo>
                      <a:pt x="347" y="235"/>
                    </a:lnTo>
                    <a:cubicBezTo>
                      <a:pt x="347" y="249"/>
                      <a:pt x="336" y="260"/>
                      <a:pt x="322" y="26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3" name="Freeform 347">
                <a:extLst>
                  <a:ext uri="{FF2B5EF4-FFF2-40B4-BE49-F238E27FC236}">
                    <a16:creationId xmlns:a16="http://schemas.microsoft.com/office/drawing/2014/main" id="{33E00633-8F98-83E2-981B-AAE832A7C7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4226" y="493713"/>
                <a:ext cx="271463" cy="12700"/>
              </a:xfrm>
              <a:custGeom>
                <a:avLst/>
                <a:gdLst>
                  <a:gd name="T0" fmla="*/ 291 w 298"/>
                  <a:gd name="T1" fmla="*/ 14 h 14"/>
                  <a:gd name="T2" fmla="*/ 8 w 298"/>
                  <a:gd name="T3" fmla="*/ 14 h 14"/>
                  <a:gd name="T4" fmla="*/ 0 w 298"/>
                  <a:gd name="T5" fmla="*/ 7 h 14"/>
                  <a:gd name="T6" fmla="*/ 8 w 298"/>
                  <a:gd name="T7" fmla="*/ 0 h 14"/>
                  <a:gd name="T8" fmla="*/ 291 w 298"/>
                  <a:gd name="T9" fmla="*/ 0 h 14"/>
                  <a:gd name="T10" fmla="*/ 298 w 298"/>
                  <a:gd name="T11" fmla="*/ 7 h 14"/>
                  <a:gd name="T12" fmla="*/ 291 w 298"/>
                  <a:gd name="T13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8" h="14">
                    <a:moveTo>
                      <a:pt x="291" y="14"/>
                    </a:moveTo>
                    <a:lnTo>
                      <a:pt x="8" y="14"/>
                    </a:lnTo>
                    <a:cubicBezTo>
                      <a:pt x="4" y="14"/>
                      <a:pt x="0" y="11"/>
                      <a:pt x="0" y="7"/>
                    </a:cubicBezTo>
                    <a:cubicBezTo>
                      <a:pt x="0" y="3"/>
                      <a:pt x="4" y="0"/>
                      <a:pt x="8" y="0"/>
                    </a:cubicBezTo>
                    <a:lnTo>
                      <a:pt x="291" y="0"/>
                    </a:lnTo>
                    <a:cubicBezTo>
                      <a:pt x="295" y="0"/>
                      <a:pt x="298" y="3"/>
                      <a:pt x="298" y="7"/>
                    </a:cubicBezTo>
                    <a:cubicBezTo>
                      <a:pt x="298" y="11"/>
                      <a:pt x="295" y="14"/>
                      <a:pt x="291" y="1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4" name="Freeform 348">
                <a:extLst>
                  <a:ext uri="{FF2B5EF4-FFF2-40B4-BE49-F238E27FC236}">
                    <a16:creationId xmlns:a16="http://schemas.microsoft.com/office/drawing/2014/main" id="{3ED1F478-8707-D3EC-7618-D3D2F7D2CC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4226" y="541338"/>
                <a:ext cx="271463" cy="12700"/>
              </a:xfrm>
              <a:custGeom>
                <a:avLst/>
                <a:gdLst>
                  <a:gd name="T0" fmla="*/ 291 w 298"/>
                  <a:gd name="T1" fmla="*/ 14 h 14"/>
                  <a:gd name="T2" fmla="*/ 8 w 298"/>
                  <a:gd name="T3" fmla="*/ 14 h 14"/>
                  <a:gd name="T4" fmla="*/ 0 w 298"/>
                  <a:gd name="T5" fmla="*/ 7 h 14"/>
                  <a:gd name="T6" fmla="*/ 8 w 298"/>
                  <a:gd name="T7" fmla="*/ 0 h 14"/>
                  <a:gd name="T8" fmla="*/ 291 w 298"/>
                  <a:gd name="T9" fmla="*/ 0 h 14"/>
                  <a:gd name="T10" fmla="*/ 298 w 298"/>
                  <a:gd name="T11" fmla="*/ 7 h 14"/>
                  <a:gd name="T12" fmla="*/ 291 w 298"/>
                  <a:gd name="T13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8" h="14">
                    <a:moveTo>
                      <a:pt x="291" y="14"/>
                    </a:moveTo>
                    <a:lnTo>
                      <a:pt x="8" y="14"/>
                    </a:lnTo>
                    <a:cubicBezTo>
                      <a:pt x="4" y="14"/>
                      <a:pt x="0" y="11"/>
                      <a:pt x="0" y="7"/>
                    </a:cubicBezTo>
                    <a:cubicBezTo>
                      <a:pt x="0" y="3"/>
                      <a:pt x="4" y="0"/>
                      <a:pt x="8" y="0"/>
                    </a:cubicBezTo>
                    <a:lnTo>
                      <a:pt x="291" y="0"/>
                    </a:lnTo>
                    <a:cubicBezTo>
                      <a:pt x="295" y="0"/>
                      <a:pt x="298" y="3"/>
                      <a:pt x="298" y="7"/>
                    </a:cubicBezTo>
                    <a:cubicBezTo>
                      <a:pt x="298" y="11"/>
                      <a:pt x="295" y="14"/>
                      <a:pt x="291" y="1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5" name="Freeform 349">
                <a:extLst>
                  <a:ext uri="{FF2B5EF4-FFF2-40B4-BE49-F238E27FC236}">
                    <a16:creationId xmlns:a16="http://schemas.microsoft.com/office/drawing/2014/main" id="{B347E8C7-5F41-1737-CD32-272376730A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89463" y="584200"/>
                <a:ext cx="61913" cy="14288"/>
              </a:xfrm>
              <a:custGeom>
                <a:avLst/>
                <a:gdLst>
                  <a:gd name="T0" fmla="*/ 61 w 69"/>
                  <a:gd name="T1" fmla="*/ 15 h 15"/>
                  <a:gd name="T2" fmla="*/ 8 w 69"/>
                  <a:gd name="T3" fmla="*/ 15 h 15"/>
                  <a:gd name="T4" fmla="*/ 0 w 69"/>
                  <a:gd name="T5" fmla="*/ 8 h 15"/>
                  <a:gd name="T6" fmla="*/ 8 w 69"/>
                  <a:gd name="T7" fmla="*/ 0 h 15"/>
                  <a:gd name="T8" fmla="*/ 61 w 69"/>
                  <a:gd name="T9" fmla="*/ 0 h 15"/>
                  <a:gd name="T10" fmla="*/ 69 w 69"/>
                  <a:gd name="T11" fmla="*/ 8 h 15"/>
                  <a:gd name="T12" fmla="*/ 61 w 69"/>
                  <a:gd name="T13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9" h="15">
                    <a:moveTo>
                      <a:pt x="61" y="15"/>
                    </a:moveTo>
                    <a:lnTo>
                      <a:pt x="8" y="15"/>
                    </a:lnTo>
                    <a:cubicBezTo>
                      <a:pt x="3" y="15"/>
                      <a:pt x="0" y="12"/>
                      <a:pt x="0" y="8"/>
                    </a:cubicBezTo>
                    <a:cubicBezTo>
                      <a:pt x="0" y="3"/>
                      <a:pt x="3" y="0"/>
                      <a:pt x="8" y="0"/>
                    </a:cubicBezTo>
                    <a:lnTo>
                      <a:pt x="61" y="0"/>
                    </a:lnTo>
                    <a:cubicBezTo>
                      <a:pt x="65" y="0"/>
                      <a:pt x="69" y="3"/>
                      <a:pt x="69" y="8"/>
                    </a:cubicBezTo>
                    <a:cubicBezTo>
                      <a:pt x="69" y="12"/>
                      <a:pt x="65" y="15"/>
                      <a:pt x="61" y="1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6" name="Freeform 350">
                <a:extLst>
                  <a:ext uri="{FF2B5EF4-FFF2-40B4-BE49-F238E27FC236}">
                    <a16:creationId xmlns:a16="http://schemas.microsoft.com/office/drawing/2014/main" id="{04850DA8-C905-F74E-E6D3-6E304EB478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8826" y="622300"/>
                <a:ext cx="82550" cy="12700"/>
              </a:xfrm>
              <a:custGeom>
                <a:avLst/>
                <a:gdLst>
                  <a:gd name="T0" fmla="*/ 83 w 91"/>
                  <a:gd name="T1" fmla="*/ 15 h 15"/>
                  <a:gd name="T2" fmla="*/ 8 w 91"/>
                  <a:gd name="T3" fmla="*/ 15 h 15"/>
                  <a:gd name="T4" fmla="*/ 0 w 91"/>
                  <a:gd name="T5" fmla="*/ 7 h 15"/>
                  <a:gd name="T6" fmla="*/ 8 w 91"/>
                  <a:gd name="T7" fmla="*/ 0 h 15"/>
                  <a:gd name="T8" fmla="*/ 83 w 91"/>
                  <a:gd name="T9" fmla="*/ 0 h 15"/>
                  <a:gd name="T10" fmla="*/ 91 w 91"/>
                  <a:gd name="T11" fmla="*/ 7 h 15"/>
                  <a:gd name="T12" fmla="*/ 83 w 91"/>
                  <a:gd name="T13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1" h="15">
                    <a:moveTo>
                      <a:pt x="83" y="15"/>
                    </a:moveTo>
                    <a:lnTo>
                      <a:pt x="8" y="15"/>
                    </a:lnTo>
                    <a:cubicBezTo>
                      <a:pt x="4" y="15"/>
                      <a:pt x="0" y="11"/>
                      <a:pt x="0" y="7"/>
                    </a:cubicBezTo>
                    <a:cubicBezTo>
                      <a:pt x="0" y="3"/>
                      <a:pt x="4" y="0"/>
                      <a:pt x="8" y="0"/>
                    </a:cubicBezTo>
                    <a:lnTo>
                      <a:pt x="83" y="0"/>
                    </a:lnTo>
                    <a:cubicBezTo>
                      <a:pt x="87" y="0"/>
                      <a:pt x="91" y="3"/>
                      <a:pt x="91" y="7"/>
                    </a:cubicBezTo>
                    <a:cubicBezTo>
                      <a:pt x="91" y="11"/>
                      <a:pt x="87" y="15"/>
                      <a:pt x="83" y="1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7" name="Freeform 351">
                <a:extLst>
                  <a:ext uri="{FF2B5EF4-FFF2-40B4-BE49-F238E27FC236}">
                    <a16:creationId xmlns:a16="http://schemas.microsoft.com/office/drawing/2014/main" id="{C0AAE5E0-F94E-D14E-8AA0-8D8B874FA8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49801" y="576263"/>
                <a:ext cx="66675" cy="68263"/>
              </a:xfrm>
              <a:custGeom>
                <a:avLst/>
                <a:gdLst>
                  <a:gd name="T0" fmla="*/ 37 w 74"/>
                  <a:gd name="T1" fmla="*/ 14 h 74"/>
                  <a:gd name="T2" fmla="*/ 14 w 74"/>
                  <a:gd name="T3" fmla="*/ 37 h 74"/>
                  <a:gd name="T4" fmla="*/ 37 w 74"/>
                  <a:gd name="T5" fmla="*/ 60 h 74"/>
                  <a:gd name="T6" fmla="*/ 60 w 74"/>
                  <a:gd name="T7" fmla="*/ 37 h 74"/>
                  <a:gd name="T8" fmla="*/ 37 w 74"/>
                  <a:gd name="T9" fmla="*/ 14 h 74"/>
                  <a:gd name="T10" fmla="*/ 37 w 74"/>
                  <a:gd name="T11" fmla="*/ 74 h 74"/>
                  <a:gd name="T12" fmla="*/ 0 w 74"/>
                  <a:gd name="T13" fmla="*/ 37 h 74"/>
                  <a:gd name="T14" fmla="*/ 37 w 74"/>
                  <a:gd name="T15" fmla="*/ 0 h 74"/>
                  <a:gd name="T16" fmla="*/ 74 w 74"/>
                  <a:gd name="T17" fmla="*/ 37 h 74"/>
                  <a:gd name="T18" fmla="*/ 37 w 74"/>
                  <a:gd name="T19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4" h="74">
                    <a:moveTo>
                      <a:pt x="37" y="14"/>
                    </a:moveTo>
                    <a:cubicBezTo>
                      <a:pt x="25" y="14"/>
                      <a:pt x="14" y="24"/>
                      <a:pt x="14" y="37"/>
                    </a:cubicBezTo>
                    <a:cubicBezTo>
                      <a:pt x="14" y="49"/>
                      <a:pt x="25" y="60"/>
                      <a:pt x="37" y="60"/>
                    </a:cubicBezTo>
                    <a:cubicBezTo>
                      <a:pt x="50" y="60"/>
                      <a:pt x="60" y="49"/>
                      <a:pt x="60" y="37"/>
                    </a:cubicBezTo>
                    <a:cubicBezTo>
                      <a:pt x="60" y="24"/>
                      <a:pt x="50" y="14"/>
                      <a:pt x="37" y="14"/>
                    </a:cubicBezTo>
                    <a:close/>
                    <a:moveTo>
                      <a:pt x="37" y="74"/>
                    </a:moveTo>
                    <a:cubicBezTo>
                      <a:pt x="17" y="74"/>
                      <a:pt x="0" y="57"/>
                      <a:pt x="0" y="37"/>
                    </a:cubicBezTo>
                    <a:cubicBezTo>
                      <a:pt x="0" y="16"/>
                      <a:pt x="17" y="0"/>
                      <a:pt x="37" y="0"/>
                    </a:cubicBezTo>
                    <a:cubicBezTo>
                      <a:pt x="58" y="0"/>
                      <a:pt x="74" y="16"/>
                      <a:pt x="74" y="37"/>
                    </a:cubicBezTo>
                    <a:cubicBezTo>
                      <a:pt x="74" y="57"/>
                      <a:pt x="58" y="74"/>
                      <a:pt x="37" y="7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8" name="Freeform 352">
                <a:extLst>
                  <a:ext uri="{FF2B5EF4-FFF2-40B4-BE49-F238E27FC236}">
                    <a16:creationId xmlns:a16="http://schemas.microsoft.com/office/drawing/2014/main" id="{D3A7113B-FB2F-BBBF-8023-6F537E5255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75163" y="373063"/>
                <a:ext cx="74613" cy="90488"/>
              </a:xfrm>
              <a:custGeom>
                <a:avLst/>
                <a:gdLst>
                  <a:gd name="T0" fmla="*/ 41 w 81"/>
                  <a:gd name="T1" fmla="*/ 15 h 98"/>
                  <a:gd name="T2" fmla="*/ 15 w 81"/>
                  <a:gd name="T3" fmla="*/ 49 h 98"/>
                  <a:gd name="T4" fmla="*/ 41 w 81"/>
                  <a:gd name="T5" fmla="*/ 83 h 98"/>
                  <a:gd name="T6" fmla="*/ 67 w 81"/>
                  <a:gd name="T7" fmla="*/ 49 h 98"/>
                  <a:gd name="T8" fmla="*/ 41 w 81"/>
                  <a:gd name="T9" fmla="*/ 15 h 98"/>
                  <a:gd name="T10" fmla="*/ 41 w 81"/>
                  <a:gd name="T11" fmla="*/ 98 h 98"/>
                  <a:gd name="T12" fmla="*/ 0 w 81"/>
                  <a:gd name="T13" fmla="*/ 49 h 98"/>
                  <a:gd name="T14" fmla="*/ 41 w 81"/>
                  <a:gd name="T15" fmla="*/ 0 h 98"/>
                  <a:gd name="T16" fmla="*/ 81 w 81"/>
                  <a:gd name="T17" fmla="*/ 49 h 98"/>
                  <a:gd name="T18" fmla="*/ 41 w 81"/>
                  <a:gd name="T19" fmla="*/ 98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1" h="98">
                    <a:moveTo>
                      <a:pt x="41" y="15"/>
                    </a:moveTo>
                    <a:cubicBezTo>
                      <a:pt x="26" y="15"/>
                      <a:pt x="15" y="30"/>
                      <a:pt x="15" y="49"/>
                    </a:cubicBezTo>
                    <a:cubicBezTo>
                      <a:pt x="15" y="68"/>
                      <a:pt x="26" y="83"/>
                      <a:pt x="41" y="83"/>
                    </a:cubicBezTo>
                    <a:cubicBezTo>
                      <a:pt x="55" y="83"/>
                      <a:pt x="67" y="68"/>
                      <a:pt x="67" y="49"/>
                    </a:cubicBezTo>
                    <a:cubicBezTo>
                      <a:pt x="67" y="30"/>
                      <a:pt x="55" y="15"/>
                      <a:pt x="41" y="15"/>
                    </a:cubicBezTo>
                    <a:close/>
                    <a:moveTo>
                      <a:pt x="41" y="98"/>
                    </a:moveTo>
                    <a:cubicBezTo>
                      <a:pt x="18" y="98"/>
                      <a:pt x="0" y="76"/>
                      <a:pt x="0" y="49"/>
                    </a:cubicBezTo>
                    <a:cubicBezTo>
                      <a:pt x="0" y="22"/>
                      <a:pt x="18" y="0"/>
                      <a:pt x="41" y="0"/>
                    </a:cubicBezTo>
                    <a:cubicBezTo>
                      <a:pt x="63" y="0"/>
                      <a:pt x="81" y="22"/>
                      <a:pt x="81" y="49"/>
                    </a:cubicBezTo>
                    <a:cubicBezTo>
                      <a:pt x="81" y="76"/>
                      <a:pt x="63" y="98"/>
                      <a:pt x="41" y="9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9" name="Freeform 353">
                <a:extLst>
                  <a:ext uri="{FF2B5EF4-FFF2-40B4-BE49-F238E27FC236}">
                    <a16:creationId xmlns:a16="http://schemas.microsoft.com/office/drawing/2014/main" id="{063B9F79-AB68-0597-4735-1A13151F01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8651" y="471488"/>
                <a:ext cx="147638" cy="128588"/>
              </a:xfrm>
              <a:custGeom>
                <a:avLst/>
                <a:gdLst>
                  <a:gd name="T0" fmla="*/ 121 w 161"/>
                  <a:gd name="T1" fmla="*/ 140 h 141"/>
                  <a:gd name="T2" fmla="*/ 114 w 161"/>
                  <a:gd name="T3" fmla="*/ 136 h 141"/>
                  <a:gd name="T4" fmla="*/ 118 w 161"/>
                  <a:gd name="T5" fmla="*/ 126 h 141"/>
                  <a:gd name="T6" fmla="*/ 147 w 161"/>
                  <a:gd name="T7" fmla="*/ 84 h 141"/>
                  <a:gd name="T8" fmla="*/ 147 w 161"/>
                  <a:gd name="T9" fmla="*/ 60 h 141"/>
                  <a:gd name="T10" fmla="*/ 102 w 161"/>
                  <a:gd name="T11" fmla="*/ 14 h 141"/>
                  <a:gd name="T12" fmla="*/ 60 w 161"/>
                  <a:gd name="T13" fmla="*/ 14 h 141"/>
                  <a:gd name="T14" fmla="*/ 15 w 161"/>
                  <a:gd name="T15" fmla="*/ 60 h 141"/>
                  <a:gd name="T16" fmla="*/ 15 w 161"/>
                  <a:gd name="T17" fmla="*/ 84 h 141"/>
                  <a:gd name="T18" fmla="*/ 43 w 161"/>
                  <a:gd name="T19" fmla="*/ 126 h 141"/>
                  <a:gd name="T20" fmla="*/ 47 w 161"/>
                  <a:gd name="T21" fmla="*/ 136 h 141"/>
                  <a:gd name="T22" fmla="*/ 38 w 161"/>
                  <a:gd name="T23" fmla="*/ 140 h 141"/>
                  <a:gd name="T24" fmla="*/ 0 w 161"/>
                  <a:gd name="T25" fmla="*/ 84 h 141"/>
                  <a:gd name="T26" fmla="*/ 0 w 161"/>
                  <a:gd name="T27" fmla="*/ 60 h 141"/>
                  <a:gd name="T28" fmla="*/ 60 w 161"/>
                  <a:gd name="T29" fmla="*/ 0 h 141"/>
                  <a:gd name="T30" fmla="*/ 102 w 161"/>
                  <a:gd name="T31" fmla="*/ 0 h 141"/>
                  <a:gd name="T32" fmla="*/ 161 w 161"/>
                  <a:gd name="T33" fmla="*/ 60 h 141"/>
                  <a:gd name="T34" fmla="*/ 161 w 161"/>
                  <a:gd name="T35" fmla="*/ 84 h 141"/>
                  <a:gd name="T36" fmla="*/ 124 w 161"/>
                  <a:gd name="T37" fmla="*/ 140 h 141"/>
                  <a:gd name="T38" fmla="*/ 121 w 161"/>
                  <a:gd name="T39" fmla="*/ 140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61" h="141">
                    <a:moveTo>
                      <a:pt x="121" y="140"/>
                    </a:moveTo>
                    <a:cubicBezTo>
                      <a:pt x="118" y="140"/>
                      <a:pt x="115" y="139"/>
                      <a:pt x="114" y="136"/>
                    </a:cubicBezTo>
                    <a:cubicBezTo>
                      <a:pt x="113" y="132"/>
                      <a:pt x="115" y="128"/>
                      <a:pt x="118" y="126"/>
                    </a:cubicBezTo>
                    <a:cubicBezTo>
                      <a:pt x="136" y="119"/>
                      <a:pt x="147" y="103"/>
                      <a:pt x="147" y="84"/>
                    </a:cubicBezTo>
                    <a:lnTo>
                      <a:pt x="147" y="60"/>
                    </a:lnTo>
                    <a:cubicBezTo>
                      <a:pt x="147" y="35"/>
                      <a:pt x="127" y="14"/>
                      <a:pt x="102" y="14"/>
                    </a:cubicBezTo>
                    <a:lnTo>
                      <a:pt x="60" y="14"/>
                    </a:lnTo>
                    <a:cubicBezTo>
                      <a:pt x="35" y="14"/>
                      <a:pt x="15" y="35"/>
                      <a:pt x="15" y="60"/>
                    </a:cubicBezTo>
                    <a:lnTo>
                      <a:pt x="15" y="84"/>
                    </a:lnTo>
                    <a:cubicBezTo>
                      <a:pt x="15" y="103"/>
                      <a:pt x="26" y="119"/>
                      <a:pt x="43" y="126"/>
                    </a:cubicBezTo>
                    <a:cubicBezTo>
                      <a:pt x="47" y="128"/>
                      <a:pt x="49" y="132"/>
                      <a:pt x="47" y="136"/>
                    </a:cubicBezTo>
                    <a:cubicBezTo>
                      <a:pt x="46" y="139"/>
                      <a:pt x="41" y="141"/>
                      <a:pt x="38" y="140"/>
                    </a:cubicBezTo>
                    <a:cubicBezTo>
                      <a:pt x="15" y="131"/>
                      <a:pt x="0" y="109"/>
                      <a:pt x="0" y="84"/>
                    </a:cubicBezTo>
                    <a:lnTo>
                      <a:pt x="0" y="60"/>
                    </a:lnTo>
                    <a:cubicBezTo>
                      <a:pt x="0" y="27"/>
                      <a:pt x="27" y="0"/>
                      <a:pt x="60" y="0"/>
                    </a:cubicBezTo>
                    <a:lnTo>
                      <a:pt x="102" y="0"/>
                    </a:lnTo>
                    <a:cubicBezTo>
                      <a:pt x="135" y="0"/>
                      <a:pt x="161" y="27"/>
                      <a:pt x="161" y="60"/>
                    </a:cubicBezTo>
                    <a:lnTo>
                      <a:pt x="161" y="84"/>
                    </a:lnTo>
                    <a:cubicBezTo>
                      <a:pt x="161" y="109"/>
                      <a:pt x="147" y="131"/>
                      <a:pt x="124" y="140"/>
                    </a:cubicBezTo>
                    <a:cubicBezTo>
                      <a:pt x="123" y="140"/>
                      <a:pt x="122" y="140"/>
                      <a:pt x="121" y="14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0" name="Freeform 354">
                <a:extLst>
                  <a:ext uri="{FF2B5EF4-FFF2-40B4-BE49-F238E27FC236}">
                    <a16:creationId xmlns:a16="http://schemas.microsoft.com/office/drawing/2014/main" id="{4FFDEC96-1A8E-2FFA-50DB-09503DC117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5326" y="585788"/>
                <a:ext cx="14288" cy="101600"/>
              </a:xfrm>
              <a:custGeom>
                <a:avLst/>
                <a:gdLst>
                  <a:gd name="T0" fmla="*/ 8 w 15"/>
                  <a:gd name="T1" fmla="*/ 110 h 110"/>
                  <a:gd name="T2" fmla="*/ 0 w 15"/>
                  <a:gd name="T3" fmla="*/ 103 h 110"/>
                  <a:gd name="T4" fmla="*/ 0 w 15"/>
                  <a:gd name="T5" fmla="*/ 7 h 110"/>
                  <a:gd name="T6" fmla="*/ 8 w 15"/>
                  <a:gd name="T7" fmla="*/ 0 h 110"/>
                  <a:gd name="T8" fmla="*/ 15 w 15"/>
                  <a:gd name="T9" fmla="*/ 7 h 110"/>
                  <a:gd name="T10" fmla="*/ 15 w 15"/>
                  <a:gd name="T11" fmla="*/ 103 h 110"/>
                  <a:gd name="T12" fmla="*/ 8 w 15"/>
                  <a:gd name="T13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110">
                    <a:moveTo>
                      <a:pt x="8" y="110"/>
                    </a:moveTo>
                    <a:cubicBezTo>
                      <a:pt x="4" y="110"/>
                      <a:pt x="0" y="107"/>
                      <a:pt x="0" y="103"/>
                    </a:cubicBezTo>
                    <a:lnTo>
                      <a:pt x="0" y="7"/>
                    </a:lnTo>
                    <a:cubicBezTo>
                      <a:pt x="0" y="3"/>
                      <a:pt x="4" y="0"/>
                      <a:pt x="8" y="0"/>
                    </a:cubicBezTo>
                    <a:cubicBezTo>
                      <a:pt x="12" y="0"/>
                      <a:pt x="15" y="3"/>
                      <a:pt x="15" y="7"/>
                    </a:cubicBezTo>
                    <a:lnTo>
                      <a:pt x="15" y="103"/>
                    </a:lnTo>
                    <a:cubicBezTo>
                      <a:pt x="15" y="107"/>
                      <a:pt x="12" y="110"/>
                      <a:pt x="8" y="11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1" name="Freeform 355">
                <a:extLst>
                  <a:ext uri="{FF2B5EF4-FFF2-40B4-BE49-F238E27FC236}">
                    <a16:creationId xmlns:a16="http://schemas.microsoft.com/office/drawing/2014/main" id="{EF9A9448-8273-9A20-3A5E-5D8B50CC4B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0401" y="511175"/>
                <a:ext cx="84138" cy="188913"/>
              </a:xfrm>
              <a:custGeom>
                <a:avLst/>
                <a:gdLst>
                  <a:gd name="T0" fmla="*/ 65 w 93"/>
                  <a:gd name="T1" fmla="*/ 200 h 206"/>
                  <a:gd name="T2" fmla="*/ 47 w 93"/>
                  <a:gd name="T3" fmla="*/ 195 h 206"/>
                  <a:gd name="T4" fmla="*/ 3 w 93"/>
                  <a:gd name="T5" fmla="*/ 191 h 206"/>
                  <a:gd name="T6" fmla="*/ 0 w 93"/>
                  <a:gd name="T7" fmla="*/ 185 h 206"/>
                  <a:gd name="T8" fmla="*/ 0 w 93"/>
                  <a:gd name="T9" fmla="*/ 8 h 206"/>
                  <a:gd name="T10" fmla="*/ 8 w 93"/>
                  <a:gd name="T11" fmla="*/ 0 h 206"/>
                  <a:gd name="T12" fmla="*/ 15 w 93"/>
                  <a:gd name="T13" fmla="*/ 8 h 206"/>
                  <a:gd name="T14" fmla="*/ 15 w 93"/>
                  <a:gd name="T15" fmla="*/ 181 h 206"/>
                  <a:gd name="T16" fmla="*/ 42 w 93"/>
                  <a:gd name="T17" fmla="*/ 180 h 206"/>
                  <a:gd name="T18" fmla="*/ 52 w 93"/>
                  <a:gd name="T19" fmla="*/ 180 h 206"/>
                  <a:gd name="T20" fmla="*/ 78 w 93"/>
                  <a:gd name="T21" fmla="*/ 181 h 206"/>
                  <a:gd name="T22" fmla="*/ 78 w 93"/>
                  <a:gd name="T23" fmla="*/ 8 h 206"/>
                  <a:gd name="T24" fmla="*/ 86 w 93"/>
                  <a:gd name="T25" fmla="*/ 0 h 206"/>
                  <a:gd name="T26" fmla="*/ 93 w 93"/>
                  <a:gd name="T27" fmla="*/ 8 h 206"/>
                  <a:gd name="T28" fmla="*/ 93 w 93"/>
                  <a:gd name="T29" fmla="*/ 185 h 206"/>
                  <a:gd name="T30" fmla="*/ 90 w 93"/>
                  <a:gd name="T31" fmla="*/ 191 h 206"/>
                  <a:gd name="T32" fmla="*/ 65 w 93"/>
                  <a:gd name="T33" fmla="*/ 200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3" h="206">
                    <a:moveTo>
                      <a:pt x="65" y="200"/>
                    </a:moveTo>
                    <a:cubicBezTo>
                      <a:pt x="59" y="200"/>
                      <a:pt x="53" y="199"/>
                      <a:pt x="47" y="195"/>
                    </a:cubicBezTo>
                    <a:cubicBezTo>
                      <a:pt x="30" y="206"/>
                      <a:pt x="11" y="198"/>
                      <a:pt x="3" y="191"/>
                    </a:cubicBezTo>
                    <a:cubicBezTo>
                      <a:pt x="1" y="189"/>
                      <a:pt x="0" y="187"/>
                      <a:pt x="0" y="185"/>
                    </a:cubicBezTo>
                    <a:lnTo>
                      <a:pt x="0" y="8"/>
                    </a:lnTo>
                    <a:cubicBezTo>
                      <a:pt x="0" y="3"/>
                      <a:pt x="4" y="0"/>
                      <a:pt x="8" y="0"/>
                    </a:cubicBezTo>
                    <a:cubicBezTo>
                      <a:pt x="12" y="0"/>
                      <a:pt x="15" y="3"/>
                      <a:pt x="15" y="8"/>
                    </a:cubicBezTo>
                    <a:lnTo>
                      <a:pt x="15" y="181"/>
                    </a:lnTo>
                    <a:cubicBezTo>
                      <a:pt x="20" y="185"/>
                      <a:pt x="31" y="190"/>
                      <a:pt x="42" y="180"/>
                    </a:cubicBezTo>
                    <a:cubicBezTo>
                      <a:pt x="44" y="177"/>
                      <a:pt x="49" y="177"/>
                      <a:pt x="52" y="180"/>
                    </a:cubicBezTo>
                    <a:cubicBezTo>
                      <a:pt x="62" y="190"/>
                      <a:pt x="73" y="185"/>
                      <a:pt x="78" y="181"/>
                    </a:cubicBezTo>
                    <a:lnTo>
                      <a:pt x="78" y="8"/>
                    </a:lnTo>
                    <a:cubicBezTo>
                      <a:pt x="78" y="3"/>
                      <a:pt x="82" y="0"/>
                      <a:pt x="86" y="0"/>
                    </a:cubicBezTo>
                    <a:cubicBezTo>
                      <a:pt x="90" y="0"/>
                      <a:pt x="93" y="3"/>
                      <a:pt x="93" y="8"/>
                    </a:cubicBezTo>
                    <a:lnTo>
                      <a:pt x="93" y="185"/>
                    </a:lnTo>
                    <a:cubicBezTo>
                      <a:pt x="93" y="187"/>
                      <a:pt x="92" y="189"/>
                      <a:pt x="90" y="191"/>
                    </a:cubicBezTo>
                    <a:cubicBezTo>
                      <a:pt x="85" y="195"/>
                      <a:pt x="76" y="200"/>
                      <a:pt x="65" y="20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202" name="TextBox 4">
            <a:extLst>
              <a:ext uri="{FF2B5EF4-FFF2-40B4-BE49-F238E27FC236}">
                <a16:creationId xmlns:a16="http://schemas.microsoft.com/office/drawing/2014/main" id="{5F8F1921-B8AE-55EE-2745-EB91535243A1}"/>
              </a:ext>
            </a:extLst>
          </p:cNvPr>
          <p:cNvSpPr txBox="1"/>
          <p:nvPr/>
        </p:nvSpPr>
        <p:spPr>
          <a:xfrm>
            <a:off x="758192" y="5931034"/>
            <a:ext cx="2610010" cy="261610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100" i="1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cs typeface="Arial"/>
              </a:rPr>
              <a:t>Data extracted on</a:t>
            </a:r>
            <a:r>
              <a:rPr kumimoji="0" lang="en-GB" sz="1100" b="0" i="1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lang="en-GB" sz="1100" i="1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cs typeface="Arial"/>
              </a:rPr>
              <a:t>22 September 2025 </a:t>
            </a:r>
            <a:endParaRPr kumimoji="0" lang="en-GB" sz="1100" b="0" i="1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6" name="Isosceles Triangle 205">
            <a:extLst>
              <a:ext uri="{FF2B5EF4-FFF2-40B4-BE49-F238E27FC236}">
                <a16:creationId xmlns:a16="http://schemas.microsoft.com/office/drawing/2014/main" id="{90B71002-7EE2-5B8F-CB1D-9E0092A669C1}"/>
              </a:ext>
            </a:extLst>
          </p:cNvPr>
          <p:cNvSpPr/>
          <p:nvPr/>
        </p:nvSpPr>
        <p:spPr>
          <a:xfrm rot="5400000">
            <a:off x="-418015" y="2440411"/>
            <a:ext cx="1068739" cy="250998"/>
          </a:xfrm>
          <a:prstGeom prst="triangle">
            <a:avLst/>
          </a:prstGeom>
          <a:solidFill>
            <a:srgbClr val="004494"/>
          </a:solidFill>
          <a:ln>
            <a:solidFill>
              <a:srgbClr val="004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18" name="Europe_Cities">
            <a:extLst>
              <a:ext uri="{FF2B5EF4-FFF2-40B4-BE49-F238E27FC236}">
                <a16:creationId xmlns:a16="http://schemas.microsoft.com/office/drawing/2014/main" id="{9FBFDF89-4F42-8EA9-EBD2-5FC2C5DBCA44}"/>
              </a:ext>
            </a:extLst>
          </p:cNvPr>
          <p:cNvGrpSpPr>
            <a:grpSpLocks noChangeAspect="1"/>
          </p:cNvGrpSpPr>
          <p:nvPr/>
        </p:nvGrpSpPr>
        <p:grpSpPr>
          <a:xfrm>
            <a:off x="6343413" y="892721"/>
            <a:ext cx="5850103" cy="4521740"/>
            <a:chOff x="3282276" y="4308582"/>
            <a:chExt cx="7139521" cy="5585490"/>
          </a:xfrm>
          <a:solidFill>
            <a:srgbClr val="FFFFFF">
              <a:lumMod val="85000"/>
            </a:srgbClr>
          </a:solidFill>
        </p:grpSpPr>
        <p:grpSp>
          <p:nvGrpSpPr>
            <p:cNvPr id="7" name="Map">
              <a:extLst>
                <a:ext uri="{FF2B5EF4-FFF2-40B4-BE49-F238E27FC236}">
                  <a16:creationId xmlns:a16="http://schemas.microsoft.com/office/drawing/2014/main" id="{38BCFA03-48E8-F4AC-1A4D-061F2E9A82A4}"/>
                </a:ext>
              </a:extLst>
            </p:cNvPr>
            <p:cNvGrpSpPr/>
            <p:nvPr/>
          </p:nvGrpSpPr>
          <p:grpSpPr>
            <a:xfrm>
              <a:off x="4665264" y="4308582"/>
              <a:ext cx="5756533" cy="5585490"/>
              <a:chOff x="4665264" y="4308585"/>
              <a:chExt cx="5756549" cy="5585497"/>
            </a:xfrm>
            <a:grpFill/>
          </p:grpSpPr>
          <p:grpSp>
            <p:nvGrpSpPr>
              <p:cNvPr id="128" name="Italy">
                <a:extLst>
                  <a:ext uri="{FF2B5EF4-FFF2-40B4-BE49-F238E27FC236}">
                    <a16:creationId xmlns:a16="http://schemas.microsoft.com/office/drawing/2014/main" id="{F373E6BE-6B7C-31DB-391A-F98CEDB04B74}"/>
                  </a:ext>
                </a:extLst>
              </p:cNvPr>
              <p:cNvGrpSpPr/>
              <p:nvPr/>
            </p:nvGrpSpPr>
            <p:grpSpPr>
              <a:xfrm>
                <a:off x="6263314" y="8342809"/>
                <a:ext cx="1086168" cy="1439186"/>
                <a:chOff x="6263314" y="8342812"/>
                <a:chExt cx="1086163" cy="1439194"/>
              </a:xfrm>
              <a:grpFill/>
            </p:grpSpPr>
            <p:sp>
              <p:nvSpPr>
                <p:cNvPr id="215" name="Italy" descr="{&quot;Key&quot;:&quot;italy&quot;,&quot;Name&quot;:&quot;Italy&quot;,&quot;Value&quot;:1.0,&quot;Formula&quot;:&quot;&quot;,&quot;Text&quot;:&quot;&quot;,&quot;OfficeApplication&quot;:1,&quot;HasValue&quot;:true}">
                  <a:extLst>
                    <a:ext uri="{FF2B5EF4-FFF2-40B4-BE49-F238E27FC236}">
                      <a16:creationId xmlns:a16="http://schemas.microsoft.com/office/drawing/2014/main" id="{A197095C-ABDD-2384-94F0-EF484089FE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41078" y="9615898"/>
                  <a:ext cx="258391" cy="166108"/>
                </a:xfrm>
                <a:custGeom>
                  <a:avLst/>
                  <a:gdLst>
                    <a:gd name="T0" fmla="*/ 108 w 112"/>
                    <a:gd name="T1" fmla="*/ 1 h 72"/>
                    <a:gd name="T2" fmla="*/ 101 w 112"/>
                    <a:gd name="T3" fmla="*/ 2 h 72"/>
                    <a:gd name="T4" fmla="*/ 96 w 112"/>
                    <a:gd name="T5" fmla="*/ 5 h 72"/>
                    <a:gd name="T6" fmla="*/ 84 w 112"/>
                    <a:gd name="T7" fmla="*/ 5 h 72"/>
                    <a:gd name="T8" fmla="*/ 79 w 112"/>
                    <a:gd name="T9" fmla="*/ 9 h 72"/>
                    <a:gd name="T10" fmla="*/ 73 w 112"/>
                    <a:gd name="T11" fmla="*/ 10 h 72"/>
                    <a:gd name="T12" fmla="*/ 52 w 112"/>
                    <a:gd name="T13" fmla="*/ 12 h 72"/>
                    <a:gd name="T14" fmla="*/ 48 w 112"/>
                    <a:gd name="T15" fmla="*/ 13 h 72"/>
                    <a:gd name="T16" fmla="*/ 44 w 112"/>
                    <a:gd name="T17" fmla="*/ 14 h 72"/>
                    <a:gd name="T18" fmla="*/ 40 w 112"/>
                    <a:gd name="T19" fmla="*/ 9 h 72"/>
                    <a:gd name="T20" fmla="*/ 27 w 112"/>
                    <a:gd name="T21" fmla="*/ 3 h 72"/>
                    <a:gd name="T22" fmla="*/ 16 w 112"/>
                    <a:gd name="T23" fmla="*/ 9 h 72"/>
                    <a:gd name="T24" fmla="*/ 12 w 112"/>
                    <a:gd name="T25" fmla="*/ 9 h 72"/>
                    <a:gd name="T26" fmla="*/ 6 w 112"/>
                    <a:gd name="T27" fmla="*/ 4 h 72"/>
                    <a:gd name="T28" fmla="*/ 3 w 112"/>
                    <a:gd name="T29" fmla="*/ 6 h 72"/>
                    <a:gd name="T30" fmla="*/ 2 w 112"/>
                    <a:gd name="T31" fmla="*/ 9 h 72"/>
                    <a:gd name="T32" fmla="*/ 1 w 112"/>
                    <a:gd name="T33" fmla="*/ 11 h 72"/>
                    <a:gd name="T34" fmla="*/ 0 w 112"/>
                    <a:gd name="T35" fmla="*/ 16 h 72"/>
                    <a:gd name="T36" fmla="*/ 1 w 112"/>
                    <a:gd name="T37" fmla="*/ 26 h 72"/>
                    <a:gd name="T38" fmla="*/ 5 w 112"/>
                    <a:gd name="T39" fmla="*/ 31 h 72"/>
                    <a:gd name="T40" fmla="*/ 16 w 112"/>
                    <a:gd name="T41" fmla="*/ 33 h 72"/>
                    <a:gd name="T42" fmla="*/ 24 w 112"/>
                    <a:gd name="T43" fmla="*/ 37 h 72"/>
                    <a:gd name="T44" fmla="*/ 33 w 112"/>
                    <a:gd name="T45" fmla="*/ 43 h 72"/>
                    <a:gd name="T46" fmla="*/ 40 w 112"/>
                    <a:gd name="T47" fmla="*/ 46 h 72"/>
                    <a:gd name="T48" fmla="*/ 45 w 112"/>
                    <a:gd name="T49" fmla="*/ 51 h 72"/>
                    <a:gd name="T50" fmla="*/ 50 w 112"/>
                    <a:gd name="T51" fmla="*/ 54 h 72"/>
                    <a:gd name="T52" fmla="*/ 56 w 112"/>
                    <a:gd name="T53" fmla="*/ 55 h 72"/>
                    <a:gd name="T54" fmla="*/ 65 w 112"/>
                    <a:gd name="T55" fmla="*/ 58 h 72"/>
                    <a:gd name="T56" fmla="*/ 71 w 112"/>
                    <a:gd name="T57" fmla="*/ 64 h 72"/>
                    <a:gd name="T58" fmla="*/ 78 w 112"/>
                    <a:gd name="T59" fmla="*/ 70 h 72"/>
                    <a:gd name="T60" fmla="*/ 85 w 112"/>
                    <a:gd name="T61" fmla="*/ 72 h 72"/>
                    <a:gd name="T62" fmla="*/ 95 w 112"/>
                    <a:gd name="T63" fmla="*/ 72 h 72"/>
                    <a:gd name="T64" fmla="*/ 96 w 112"/>
                    <a:gd name="T65" fmla="*/ 68 h 72"/>
                    <a:gd name="T66" fmla="*/ 101 w 112"/>
                    <a:gd name="T67" fmla="*/ 57 h 72"/>
                    <a:gd name="T68" fmla="*/ 97 w 112"/>
                    <a:gd name="T69" fmla="*/ 49 h 72"/>
                    <a:gd name="T70" fmla="*/ 96 w 112"/>
                    <a:gd name="T71" fmla="*/ 46 h 72"/>
                    <a:gd name="T72" fmla="*/ 94 w 112"/>
                    <a:gd name="T73" fmla="*/ 43 h 72"/>
                    <a:gd name="T74" fmla="*/ 94 w 112"/>
                    <a:gd name="T75" fmla="*/ 39 h 72"/>
                    <a:gd name="T76" fmla="*/ 101 w 112"/>
                    <a:gd name="T77" fmla="*/ 22 h 72"/>
                    <a:gd name="T78" fmla="*/ 110 w 112"/>
                    <a:gd name="T79" fmla="*/ 8 h 72"/>
                    <a:gd name="T80" fmla="*/ 112 w 112"/>
                    <a:gd name="T81" fmla="*/ 0 h 72"/>
                    <a:gd name="T82" fmla="*/ 110 w 112"/>
                    <a:gd name="T83" fmla="*/ 0 h 72"/>
                    <a:gd name="T84" fmla="*/ 108 w 112"/>
                    <a:gd name="T85" fmla="*/ 1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12" h="72">
                      <a:moveTo>
                        <a:pt x="108" y="1"/>
                      </a:moveTo>
                      <a:lnTo>
                        <a:pt x="101" y="2"/>
                      </a:lnTo>
                      <a:lnTo>
                        <a:pt x="96" y="5"/>
                      </a:lnTo>
                      <a:lnTo>
                        <a:pt x="84" y="5"/>
                      </a:lnTo>
                      <a:lnTo>
                        <a:pt x="79" y="9"/>
                      </a:lnTo>
                      <a:lnTo>
                        <a:pt x="73" y="10"/>
                      </a:lnTo>
                      <a:lnTo>
                        <a:pt x="52" y="12"/>
                      </a:lnTo>
                      <a:lnTo>
                        <a:pt x="48" y="13"/>
                      </a:lnTo>
                      <a:lnTo>
                        <a:pt x="44" y="14"/>
                      </a:lnTo>
                      <a:lnTo>
                        <a:pt x="40" y="9"/>
                      </a:lnTo>
                      <a:lnTo>
                        <a:pt x="27" y="3"/>
                      </a:lnTo>
                      <a:lnTo>
                        <a:pt x="16" y="9"/>
                      </a:lnTo>
                      <a:lnTo>
                        <a:pt x="12" y="9"/>
                      </a:lnTo>
                      <a:lnTo>
                        <a:pt x="6" y="4"/>
                      </a:lnTo>
                      <a:lnTo>
                        <a:pt x="3" y="6"/>
                      </a:lnTo>
                      <a:lnTo>
                        <a:pt x="2" y="9"/>
                      </a:lnTo>
                      <a:lnTo>
                        <a:pt x="1" y="11"/>
                      </a:lnTo>
                      <a:lnTo>
                        <a:pt x="0" y="16"/>
                      </a:lnTo>
                      <a:lnTo>
                        <a:pt x="1" y="26"/>
                      </a:lnTo>
                      <a:lnTo>
                        <a:pt x="5" y="31"/>
                      </a:lnTo>
                      <a:lnTo>
                        <a:pt x="16" y="33"/>
                      </a:lnTo>
                      <a:lnTo>
                        <a:pt x="24" y="37"/>
                      </a:lnTo>
                      <a:lnTo>
                        <a:pt x="33" y="43"/>
                      </a:lnTo>
                      <a:lnTo>
                        <a:pt x="40" y="46"/>
                      </a:lnTo>
                      <a:lnTo>
                        <a:pt x="45" y="51"/>
                      </a:lnTo>
                      <a:lnTo>
                        <a:pt x="50" y="54"/>
                      </a:lnTo>
                      <a:lnTo>
                        <a:pt x="56" y="55"/>
                      </a:lnTo>
                      <a:lnTo>
                        <a:pt x="65" y="58"/>
                      </a:lnTo>
                      <a:lnTo>
                        <a:pt x="71" y="64"/>
                      </a:lnTo>
                      <a:lnTo>
                        <a:pt x="78" y="70"/>
                      </a:lnTo>
                      <a:lnTo>
                        <a:pt x="85" y="72"/>
                      </a:lnTo>
                      <a:lnTo>
                        <a:pt x="95" y="72"/>
                      </a:lnTo>
                      <a:lnTo>
                        <a:pt x="96" y="68"/>
                      </a:lnTo>
                      <a:lnTo>
                        <a:pt x="101" y="57"/>
                      </a:lnTo>
                      <a:lnTo>
                        <a:pt x="97" y="49"/>
                      </a:lnTo>
                      <a:lnTo>
                        <a:pt x="96" y="46"/>
                      </a:lnTo>
                      <a:lnTo>
                        <a:pt x="94" y="43"/>
                      </a:lnTo>
                      <a:lnTo>
                        <a:pt x="94" y="39"/>
                      </a:lnTo>
                      <a:lnTo>
                        <a:pt x="101" y="22"/>
                      </a:lnTo>
                      <a:lnTo>
                        <a:pt x="110" y="8"/>
                      </a:lnTo>
                      <a:lnTo>
                        <a:pt x="112" y="0"/>
                      </a:lnTo>
                      <a:lnTo>
                        <a:pt x="110" y="0"/>
                      </a:lnTo>
                      <a:lnTo>
                        <a:pt x="108" y="1"/>
                      </a:lnTo>
                      <a:close/>
                    </a:path>
                  </a:pathLst>
                </a:custGeom>
                <a:grpFill/>
                <a:ln w="635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</a:bodyPr>
                <a:lstStyle>
                  <a:defPPr>
                    <a:defRPr lang="es-E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16" name="Italy" descr="{&quot;Key&quot;:&quot;italy&quot;,&quot;Name&quot;:&quot;Italy&quot;,&quot;Value&quot;:1.0,&quot;Formula&quot;:&quot;&quot;,&quot;Text&quot;:&quot;&quot;,&quot;OfficeApplication&quot;:1,&quot;HasValue&quot;:true}">
                  <a:extLst>
                    <a:ext uri="{FF2B5EF4-FFF2-40B4-BE49-F238E27FC236}">
                      <a16:creationId xmlns:a16="http://schemas.microsoft.com/office/drawing/2014/main" id="{85CAD9F1-FA89-1A90-5E4A-B4D09ED328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18812" y="9100457"/>
                  <a:ext cx="126889" cy="265313"/>
                </a:xfrm>
                <a:custGeom>
                  <a:avLst/>
                  <a:gdLst>
                    <a:gd name="T0" fmla="*/ 52 w 55"/>
                    <a:gd name="T1" fmla="*/ 29 h 115"/>
                    <a:gd name="T2" fmla="*/ 49 w 55"/>
                    <a:gd name="T3" fmla="*/ 16 h 115"/>
                    <a:gd name="T4" fmla="*/ 46 w 55"/>
                    <a:gd name="T5" fmla="*/ 8 h 115"/>
                    <a:gd name="T6" fmla="*/ 43 w 55"/>
                    <a:gd name="T7" fmla="*/ 6 h 115"/>
                    <a:gd name="T8" fmla="*/ 40 w 55"/>
                    <a:gd name="T9" fmla="*/ 4 h 115"/>
                    <a:gd name="T10" fmla="*/ 34 w 55"/>
                    <a:gd name="T11" fmla="*/ 0 h 115"/>
                    <a:gd name="T12" fmla="*/ 29 w 55"/>
                    <a:gd name="T13" fmla="*/ 7 h 115"/>
                    <a:gd name="T14" fmla="*/ 26 w 55"/>
                    <a:gd name="T15" fmla="*/ 8 h 115"/>
                    <a:gd name="T16" fmla="*/ 12 w 55"/>
                    <a:gd name="T17" fmla="*/ 21 h 115"/>
                    <a:gd name="T18" fmla="*/ 6 w 55"/>
                    <a:gd name="T19" fmla="*/ 22 h 115"/>
                    <a:gd name="T20" fmla="*/ 0 w 55"/>
                    <a:gd name="T21" fmla="*/ 17 h 115"/>
                    <a:gd name="T22" fmla="*/ 0 w 55"/>
                    <a:gd name="T23" fmla="*/ 18 h 115"/>
                    <a:gd name="T24" fmla="*/ 0 w 55"/>
                    <a:gd name="T25" fmla="*/ 32 h 115"/>
                    <a:gd name="T26" fmla="*/ 2 w 55"/>
                    <a:gd name="T27" fmla="*/ 35 h 115"/>
                    <a:gd name="T28" fmla="*/ 4 w 55"/>
                    <a:gd name="T29" fmla="*/ 35 h 115"/>
                    <a:gd name="T30" fmla="*/ 6 w 55"/>
                    <a:gd name="T31" fmla="*/ 37 h 115"/>
                    <a:gd name="T32" fmla="*/ 7 w 55"/>
                    <a:gd name="T33" fmla="*/ 42 h 115"/>
                    <a:gd name="T34" fmla="*/ 10 w 55"/>
                    <a:gd name="T35" fmla="*/ 46 h 115"/>
                    <a:gd name="T36" fmla="*/ 10 w 55"/>
                    <a:gd name="T37" fmla="*/ 54 h 115"/>
                    <a:gd name="T38" fmla="*/ 9 w 55"/>
                    <a:gd name="T39" fmla="*/ 58 h 115"/>
                    <a:gd name="T40" fmla="*/ 10 w 55"/>
                    <a:gd name="T41" fmla="*/ 65 h 115"/>
                    <a:gd name="T42" fmla="*/ 12 w 55"/>
                    <a:gd name="T43" fmla="*/ 67 h 115"/>
                    <a:gd name="T44" fmla="*/ 11 w 55"/>
                    <a:gd name="T45" fmla="*/ 71 h 115"/>
                    <a:gd name="T46" fmla="*/ 9 w 55"/>
                    <a:gd name="T47" fmla="*/ 73 h 115"/>
                    <a:gd name="T48" fmla="*/ 6 w 55"/>
                    <a:gd name="T49" fmla="*/ 87 h 115"/>
                    <a:gd name="T50" fmla="*/ 9 w 55"/>
                    <a:gd name="T51" fmla="*/ 92 h 115"/>
                    <a:gd name="T52" fmla="*/ 9 w 55"/>
                    <a:gd name="T53" fmla="*/ 96 h 115"/>
                    <a:gd name="T54" fmla="*/ 10 w 55"/>
                    <a:gd name="T55" fmla="*/ 101 h 115"/>
                    <a:gd name="T56" fmla="*/ 17 w 55"/>
                    <a:gd name="T57" fmla="*/ 112 h 115"/>
                    <a:gd name="T58" fmla="*/ 21 w 55"/>
                    <a:gd name="T59" fmla="*/ 115 h 115"/>
                    <a:gd name="T60" fmla="*/ 26 w 55"/>
                    <a:gd name="T61" fmla="*/ 113 h 115"/>
                    <a:gd name="T62" fmla="*/ 30 w 55"/>
                    <a:gd name="T63" fmla="*/ 110 h 115"/>
                    <a:gd name="T64" fmla="*/ 34 w 55"/>
                    <a:gd name="T65" fmla="*/ 103 h 115"/>
                    <a:gd name="T66" fmla="*/ 37 w 55"/>
                    <a:gd name="T67" fmla="*/ 100 h 115"/>
                    <a:gd name="T68" fmla="*/ 46 w 55"/>
                    <a:gd name="T69" fmla="*/ 102 h 115"/>
                    <a:gd name="T70" fmla="*/ 50 w 55"/>
                    <a:gd name="T71" fmla="*/ 99 h 115"/>
                    <a:gd name="T72" fmla="*/ 50 w 55"/>
                    <a:gd name="T73" fmla="*/ 96 h 115"/>
                    <a:gd name="T74" fmla="*/ 52 w 55"/>
                    <a:gd name="T75" fmla="*/ 91 h 115"/>
                    <a:gd name="T76" fmla="*/ 52 w 55"/>
                    <a:gd name="T77" fmla="*/ 74 h 115"/>
                    <a:gd name="T78" fmla="*/ 52 w 55"/>
                    <a:gd name="T79" fmla="*/ 53 h 115"/>
                    <a:gd name="T80" fmla="*/ 55 w 55"/>
                    <a:gd name="T81" fmla="*/ 42 h 115"/>
                    <a:gd name="T82" fmla="*/ 52 w 55"/>
                    <a:gd name="T83" fmla="*/ 29 h 1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55" h="115">
                      <a:moveTo>
                        <a:pt x="52" y="29"/>
                      </a:moveTo>
                      <a:lnTo>
                        <a:pt x="49" y="16"/>
                      </a:lnTo>
                      <a:lnTo>
                        <a:pt x="46" y="8"/>
                      </a:lnTo>
                      <a:lnTo>
                        <a:pt x="43" y="6"/>
                      </a:lnTo>
                      <a:lnTo>
                        <a:pt x="40" y="4"/>
                      </a:lnTo>
                      <a:lnTo>
                        <a:pt x="34" y="0"/>
                      </a:lnTo>
                      <a:lnTo>
                        <a:pt x="29" y="7"/>
                      </a:lnTo>
                      <a:lnTo>
                        <a:pt x="26" y="8"/>
                      </a:lnTo>
                      <a:lnTo>
                        <a:pt x="12" y="21"/>
                      </a:lnTo>
                      <a:lnTo>
                        <a:pt x="6" y="22"/>
                      </a:lnTo>
                      <a:lnTo>
                        <a:pt x="0" y="17"/>
                      </a:lnTo>
                      <a:lnTo>
                        <a:pt x="0" y="18"/>
                      </a:lnTo>
                      <a:lnTo>
                        <a:pt x="0" y="32"/>
                      </a:lnTo>
                      <a:lnTo>
                        <a:pt x="2" y="35"/>
                      </a:lnTo>
                      <a:lnTo>
                        <a:pt x="4" y="35"/>
                      </a:lnTo>
                      <a:lnTo>
                        <a:pt x="6" y="37"/>
                      </a:lnTo>
                      <a:lnTo>
                        <a:pt x="7" y="42"/>
                      </a:lnTo>
                      <a:lnTo>
                        <a:pt x="10" y="46"/>
                      </a:lnTo>
                      <a:lnTo>
                        <a:pt x="10" y="54"/>
                      </a:lnTo>
                      <a:lnTo>
                        <a:pt x="9" y="58"/>
                      </a:lnTo>
                      <a:lnTo>
                        <a:pt x="10" y="65"/>
                      </a:lnTo>
                      <a:lnTo>
                        <a:pt x="12" y="67"/>
                      </a:lnTo>
                      <a:lnTo>
                        <a:pt x="11" y="71"/>
                      </a:lnTo>
                      <a:lnTo>
                        <a:pt x="9" y="73"/>
                      </a:lnTo>
                      <a:lnTo>
                        <a:pt x="6" y="87"/>
                      </a:lnTo>
                      <a:lnTo>
                        <a:pt x="9" y="92"/>
                      </a:lnTo>
                      <a:lnTo>
                        <a:pt x="9" y="96"/>
                      </a:lnTo>
                      <a:lnTo>
                        <a:pt x="10" y="101"/>
                      </a:lnTo>
                      <a:lnTo>
                        <a:pt x="17" y="112"/>
                      </a:lnTo>
                      <a:lnTo>
                        <a:pt x="21" y="115"/>
                      </a:lnTo>
                      <a:lnTo>
                        <a:pt x="26" y="113"/>
                      </a:lnTo>
                      <a:lnTo>
                        <a:pt x="30" y="110"/>
                      </a:lnTo>
                      <a:lnTo>
                        <a:pt x="34" y="103"/>
                      </a:lnTo>
                      <a:lnTo>
                        <a:pt x="37" y="100"/>
                      </a:lnTo>
                      <a:lnTo>
                        <a:pt x="46" y="102"/>
                      </a:lnTo>
                      <a:lnTo>
                        <a:pt x="50" y="99"/>
                      </a:lnTo>
                      <a:lnTo>
                        <a:pt x="50" y="96"/>
                      </a:lnTo>
                      <a:lnTo>
                        <a:pt x="52" y="91"/>
                      </a:lnTo>
                      <a:lnTo>
                        <a:pt x="52" y="74"/>
                      </a:lnTo>
                      <a:lnTo>
                        <a:pt x="52" y="53"/>
                      </a:lnTo>
                      <a:lnTo>
                        <a:pt x="55" y="42"/>
                      </a:lnTo>
                      <a:lnTo>
                        <a:pt x="52" y="29"/>
                      </a:lnTo>
                      <a:close/>
                    </a:path>
                  </a:pathLst>
                </a:custGeom>
                <a:grpFill/>
                <a:ln w="635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</a:bodyPr>
                <a:lstStyle>
                  <a:defPPr>
                    <a:defRPr lang="es-E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17" name="Italy" descr="{&quot;Key&quot;:&quot;italy&quot;,&quot;Name&quot;:&quot;Italy&quot;,&quot;Value&quot;:1.0,&quot;Formula&quot;:&quot;&quot;,&quot;Text&quot;:&quot;&quot;,&quot;OfficeApplication&quot;:1,&quot;HasValue&quot;:true}">
                  <a:extLst>
                    <a:ext uri="{FF2B5EF4-FFF2-40B4-BE49-F238E27FC236}">
                      <a16:creationId xmlns:a16="http://schemas.microsoft.com/office/drawing/2014/main" id="{D5D0C11C-5B12-DF9A-6D70-A64AE31C34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63314" y="8342812"/>
                  <a:ext cx="1086163" cy="1256192"/>
                </a:xfrm>
                <a:custGeom>
                  <a:avLst/>
                  <a:gdLst>
                    <a:gd name="T0" fmla="*/ 385 w 428"/>
                    <a:gd name="T1" fmla="*/ 310 h 450"/>
                    <a:gd name="T2" fmla="*/ 342 w 428"/>
                    <a:gd name="T3" fmla="*/ 286 h 450"/>
                    <a:gd name="T4" fmla="*/ 334 w 428"/>
                    <a:gd name="T5" fmla="*/ 278 h 450"/>
                    <a:gd name="T6" fmla="*/ 339 w 428"/>
                    <a:gd name="T7" fmla="*/ 259 h 450"/>
                    <a:gd name="T8" fmla="*/ 330 w 428"/>
                    <a:gd name="T9" fmla="*/ 261 h 450"/>
                    <a:gd name="T10" fmla="*/ 301 w 428"/>
                    <a:gd name="T11" fmla="*/ 257 h 450"/>
                    <a:gd name="T12" fmla="*/ 286 w 428"/>
                    <a:gd name="T13" fmla="*/ 247 h 450"/>
                    <a:gd name="T14" fmla="*/ 260 w 428"/>
                    <a:gd name="T15" fmla="*/ 207 h 450"/>
                    <a:gd name="T16" fmla="*/ 246 w 428"/>
                    <a:gd name="T17" fmla="*/ 176 h 450"/>
                    <a:gd name="T18" fmla="*/ 227 w 428"/>
                    <a:gd name="T19" fmla="*/ 163 h 450"/>
                    <a:gd name="T20" fmla="*/ 203 w 428"/>
                    <a:gd name="T21" fmla="*/ 139 h 450"/>
                    <a:gd name="T22" fmla="*/ 208 w 428"/>
                    <a:gd name="T23" fmla="*/ 109 h 450"/>
                    <a:gd name="T24" fmla="*/ 202 w 428"/>
                    <a:gd name="T25" fmla="*/ 88 h 450"/>
                    <a:gd name="T26" fmla="*/ 215 w 428"/>
                    <a:gd name="T27" fmla="*/ 82 h 450"/>
                    <a:gd name="T28" fmla="*/ 253 w 428"/>
                    <a:gd name="T29" fmla="*/ 70 h 450"/>
                    <a:gd name="T30" fmla="*/ 256 w 428"/>
                    <a:gd name="T31" fmla="*/ 81 h 450"/>
                    <a:gd name="T32" fmla="*/ 260 w 428"/>
                    <a:gd name="T33" fmla="*/ 72 h 450"/>
                    <a:gd name="T34" fmla="*/ 249 w 428"/>
                    <a:gd name="T35" fmla="*/ 65 h 450"/>
                    <a:gd name="T36" fmla="*/ 249 w 428"/>
                    <a:gd name="T37" fmla="*/ 45 h 450"/>
                    <a:gd name="T38" fmla="*/ 246 w 428"/>
                    <a:gd name="T39" fmla="*/ 36 h 450"/>
                    <a:gd name="T40" fmla="*/ 217 w 428"/>
                    <a:gd name="T41" fmla="*/ 24 h 450"/>
                    <a:gd name="T42" fmla="*/ 197 w 428"/>
                    <a:gd name="T43" fmla="*/ 9 h 450"/>
                    <a:gd name="T44" fmla="*/ 191 w 428"/>
                    <a:gd name="T45" fmla="*/ 0 h 450"/>
                    <a:gd name="T46" fmla="*/ 156 w 428"/>
                    <a:gd name="T47" fmla="*/ 10 h 450"/>
                    <a:gd name="T48" fmla="*/ 132 w 428"/>
                    <a:gd name="T49" fmla="*/ 19 h 450"/>
                    <a:gd name="T50" fmla="*/ 121 w 428"/>
                    <a:gd name="T51" fmla="*/ 30 h 450"/>
                    <a:gd name="T52" fmla="*/ 110 w 428"/>
                    <a:gd name="T53" fmla="*/ 38 h 450"/>
                    <a:gd name="T54" fmla="*/ 91 w 428"/>
                    <a:gd name="T55" fmla="*/ 38 h 450"/>
                    <a:gd name="T56" fmla="*/ 77 w 428"/>
                    <a:gd name="T57" fmla="*/ 58 h 450"/>
                    <a:gd name="T58" fmla="*/ 54 w 428"/>
                    <a:gd name="T59" fmla="*/ 38 h 450"/>
                    <a:gd name="T60" fmla="*/ 40 w 428"/>
                    <a:gd name="T61" fmla="*/ 59 h 450"/>
                    <a:gd name="T62" fmla="*/ 3 w 428"/>
                    <a:gd name="T63" fmla="*/ 64 h 450"/>
                    <a:gd name="T64" fmla="*/ 12 w 428"/>
                    <a:gd name="T65" fmla="*/ 93 h 450"/>
                    <a:gd name="T66" fmla="*/ 0 w 428"/>
                    <a:gd name="T67" fmla="*/ 112 h 450"/>
                    <a:gd name="T68" fmla="*/ 6 w 428"/>
                    <a:gd name="T69" fmla="*/ 128 h 450"/>
                    <a:gd name="T70" fmla="*/ 29 w 428"/>
                    <a:gd name="T71" fmla="*/ 150 h 450"/>
                    <a:gd name="T72" fmla="*/ 31 w 428"/>
                    <a:gd name="T73" fmla="*/ 168 h 450"/>
                    <a:gd name="T74" fmla="*/ 54 w 428"/>
                    <a:gd name="T75" fmla="*/ 158 h 450"/>
                    <a:gd name="T76" fmla="*/ 76 w 428"/>
                    <a:gd name="T77" fmla="*/ 138 h 450"/>
                    <a:gd name="T78" fmla="*/ 126 w 428"/>
                    <a:gd name="T79" fmla="*/ 160 h 450"/>
                    <a:gd name="T80" fmla="*/ 140 w 428"/>
                    <a:gd name="T81" fmla="*/ 202 h 450"/>
                    <a:gd name="T82" fmla="*/ 162 w 428"/>
                    <a:gd name="T83" fmla="*/ 238 h 450"/>
                    <a:gd name="T84" fmla="*/ 188 w 428"/>
                    <a:gd name="T85" fmla="*/ 254 h 450"/>
                    <a:gd name="T86" fmla="*/ 230 w 428"/>
                    <a:gd name="T87" fmla="*/ 294 h 450"/>
                    <a:gd name="T88" fmla="*/ 265 w 428"/>
                    <a:gd name="T89" fmla="*/ 306 h 450"/>
                    <a:gd name="T90" fmla="*/ 279 w 428"/>
                    <a:gd name="T91" fmla="*/ 324 h 450"/>
                    <a:gd name="T92" fmla="*/ 301 w 428"/>
                    <a:gd name="T93" fmla="*/ 334 h 450"/>
                    <a:gd name="T94" fmla="*/ 314 w 428"/>
                    <a:gd name="T95" fmla="*/ 349 h 450"/>
                    <a:gd name="T96" fmla="*/ 328 w 428"/>
                    <a:gd name="T97" fmla="*/ 356 h 450"/>
                    <a:gd name="T98" fmla="*/ 341 w 428"/>
                    <a:gd name="T99" fmla="*/ 394 h 450"/>
                    <a:gd name="T100" fmla="*/ 335 w 428"/>
                    <a:gd name="T101" fmla="*/ 424 h 450"/>
                    <a:gd name="T102" fmla="*/ 329 w 428"/>
                    <a:gd name="T103" fmla="*/ 450 h 450"/>
                    <a:gd name="T104" fmla="*/ 339 w 428"/>
                    <a:gd name="T105" fmla="*/ 450 h 450"/>
                    <a:gd name="T106" fmla="*/ 353 w 428"/>
                    <a:gd name="T107" fmla="*/ 431 h 450"/>
                    <a:gd name="T108" fmla="*/ 361 w 428"/>
                    <a:gd name="T109" fmla="*/ 408 h 450"/>
                    <a:gd name="T110" fmla="*/ 377 w 428"/>
                    <a:gd name="T111" fmla="*/ 399 h 450"/>
                    <a:gd name="T112" fmla="*/ 374 w 428"/>
                    <a:gd name="T113" fmla="*/ 377 h 450"/>
                    <a:gd name="T114" fmla="*/ 358 w 428"/>
                    <a:gd name="T115" fmla="*/ 358 h 450"/>
                    <a:gd name="T116" fmla="*/ 381 w 428"/>
                    <a:gd name="T117" fmla="*/ 329 h 450"/>
                    <a:gd name="T118" fmla="*/ 410 w 428"/>
                    <a:gd name="T119" fmla="*/ 348 h 450"/>
                    <a:gd name="T120" fmla="*/ 428 w 428"/>
                    <a:gd name="T121" fmla="*/ 348 h 4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428" h="450">
                      <a:moveTo>
                        <a:pt x="422" y="337"/>
                      </a:moveTo>
                      <a:lnTo>
                        <a:pt x="416" y="331"/>
                      </a:lnTo>
                      <a:lnTo>
                        <a:pt x="408" y="319"/>
                      </a:lnTo>
                      <a:lnTo>
                        <a:pt x="385" y="310"/>
                      </a:lnTo>
                      <a:lnTo>
                        <a:pt x="380" y="303"/>
                      </a:lnTo>
                      <a:lnTo>
                        <a:pt x="372" y="299"/>
                      </a:lnTo>
                      <a:lnTo>
                        <a:pt x="348" y="289"/>
                      </a:lnTo>
                      <a:lnTo>
                        <a:pt x="342" y="286"/>
                      </a:lnTo>
                      <a:lnTo>
                        <a:pt x="339" y="285"/>
                      </a:lnTo>
                      <a:lnTo>
                        <a:pt x="336" y="285"/>
                      </a:lnTo>
                      <a:lnTo>
                        <a:pt x="334" y="282"/>
                      </a:lnTo>
                      <a:lnTo>
                        <a:pt x="334" y="278"/>
                      </a:lnTo>
                      <a:lnTo>
                        <a:pt x="338" y="274"/>
                      </a:lnTo>
                      <a:lnTo>
                        <a:pt x="342" y="271"/>
                      </a:lnTo>
                      <a:lnTo>
                        <a:pt x="343" y="264"/>
                      </a:lnTo>
                      <a:lnTo>
                        <a:pt x="339" y="259"/>
                      </a:lnTo>
                      <a:lnTo>
                        <a:pt x="332" y="260"/>
                      </a:lnTo>
                      <a:lnTo>
                        <a:pt x="329" y="261"/>
                      </a:lnTo>
                      <a:lnTo>
                        <a:pt x="335" y="260"/>
                      </a:lnTo>
                      <a:lnTo>
                        <a:pt x="330" y="261"/>
                      </a:lnTo>
                      <a:lnTo>
                        <a:pt x="329" y="261"/>
                      </a:lnTo>
                      <a:lnTo>
                        <a:pt x="309" y="261"/>
                      </a:lnTo>
                      <a:lnTo>
                        <a:pt x="309" y="266"/>
                      </a:lnTo>
                      <a:lnTo>
                        <a:pt x="301" y="257"/>
                      </a:lnTo>
                      <a:lnTo>
                        <a:pt x="294" y="253"/>
                      </a:lnTo>
                      <a:lnTo>
                        <a:pt x="291" y="252"/>
                      </a:lnTo>
                      <a:lnTo>
                        <a:pt x="289" y="247"/>
                      </a:lnTo>
                      <a:lnTo>
                        <a:pt x="286" y="247"/>
                      </a:lnTo>
                      <a:lnTo>
                        <a:pt x="272" y="233"/>
                      </a:lnTo>
                      <a:lnTo>
                        <a:pt x="269" y="228"/>
                      </a:lnTo>
                      <a:lnTo>
                        <a:pt x="264" y="219"/>
                      </a:lnTo>
                      <a:lnTo>
                        <a:pt x="260" y="207"/>
                      </a:lnTo>
                      <a:lnTo>
                        <a:pt x="258" y="204"/>
                      </a:lnTo>
                      <a:lnTo>
                        <a:pt x="253" y="188"/>
                      </a:lnTo>
                      <a:lnTo>
                        <a:pt x="248" y="179"/>
                      </a:lnTo>
                      <a:lnTo>
                        <a:pt x="246" y="176"/>
                      </a:lnTo>
                      <a:lnTo>
                        <a:pt x="241" y="176"/>
                      </a:lnTo>
                      <a:lnTo>
                        <a:pt x="240" y="174"/>
                      </a:lnTo>
                      <a:lnTo>
                        <a:pt x="231" y="168"/>
                      </a:lnTo>
                      <a:lnTo>
                        <a:pt x="227" y="163"/>
                      </a:lnTo>
                      <a:lnTo>
                        <a:pt x="213" y="157"/>
                      </a:lnTo>
                      <a:lnTo>
                        <a:pt x="208" y="151"/>
                      </a:lnTo>
                      <a:lnTo>
                        <a:pt x="205" y="146"/>
                      </a:lnTo>
                      <a:lnTo>
                        <a:pt x="203" y="139"/>
                      </a:lnTo>
                      <a:lnTo>
                        <a:pt x="203" y="127"/>
                      </a:lnTo>
                      <a:lnTo>
                        <a:pt x="204" y="116"/>
                      </a:lnTo>
                      <a:lnTo>
                        <a:pt x="208" y="113"/>
                      </a:lnTo>
                      <a:lnTo>
                        <a:pt x="208" y="109"/>
                      </a:lnTo>
                      <a:lnTo>
                        <a:pt x="207" y="104"/>
                      </a:lnTo>
                      <a:lnTo>
                        <a:pt x="202" y="103"/>
                      </a:lnTo>
                      <a:lnTo>
                        <a:pt x="201" y="92"/>
                      </a:lnTo>
                      <a:lnTo>
                        <a:pt x="202" y="88"/>
                      </a:lnTo>
                      <a:lnTo>
                        <a:pt x="208" y="82"/>
                      </a:lnTo>
                      <a:lnTo>
                        <a:pt x="212" y="82"/>
                      </a:lnTo>
                      <a:lnTo>
                        <a:pt x="212" y="83"/>
                      </a:lnTo>
                      <a:lnTo>
                        <a:pt x="215" y="82"/>
                      </a:lnTo>
                      <a:lnTo>
                        <a:pt x="237" y="71"/>
                      </a:lnTo>
                      <a:lnTo>
                        <a:pt x="244" y="72"/>
                      </a:lnTo>
                      <a:lnTo>
                        <a:pt x="249" y="69"/>
                      </a:lnTo>
                      <a:lnTo>
                        <a:pt x="253" y="70"/>
                      </a:lnTo>
                      <a:lnTo>
                        <a:pt x="255" y="75"/>
                      </a:lnTo>
                      <a:lnTo>
                        <a:pt x="252" y="79"/>
                      </a:lnTo>
                      <a:lnTo>
                        <a:pt x="252" y="80"/>
                      </a:lnTo>
                      <a:lnTo>
                        <a:pt x="256" y="81"/>
                      </a:lnTo>
                      <a:lnTo>
                        <a:pt x="259" y="80"/>
                      </a:lnTo>
                      <a:lnTo>
                        <a:pt x="261" y="78"/>
                      </a:lnTo>
                      <a:lnTo>
                        <a:pt x="262" y="76"/>
                      </a:lnTo>
                      <a:lnTo>
                        <a:pt x="260" y="72"/>
                      </a:lnTo>
                      <a:lnTo>
                        <a:pt x="258" y="71"/>
                      </a:lnTo>
                      <a:lnTo>
                        <a:pt x="257" y="68"/>
                      </a:lnTo>
                      <a:lnTo>
                        <a:pt x="251" y="66"/>
                      </a:lnTo>
                      <a:lnTo>
                        <a:pt x="249" y="65"/>
                      </a:lnTo>
                      <a:lnTo>
                        <a:pt x="249" y="59"/>
                      </a:lnTo>
                      <a:lnTo>
                        <a:pt x="246" y="55"/>
                      </a:lnTo>
                      <a:lnTo>
                        <a:pt x="247" y="49"/>
                      </a:lnTo>
                      <a:lnTo>
                        <a:pt x="249" y="45"/>
                      </a:lnTo>
                      <a:lnTo>
                        <a:pt x="245" y="46"/>
                      </a:lnTo>
                      <a:lnTo>
                        <a:pt x="244" y="45"/>
                      </a:lnTo>
                      <a:lnTo>
                        <a:pt x="244" y="42"/>
                      </a:lnTo>
                      <a:lnTo>
                        <a:pt x="246" y="36"/>
                      </a:lnTo>
                      <a:lnTo>
                        <a:pt x="252" y="30"/>
                      </a:lnTo>
                      <a:lnTo>
                        <a:pt x="247" y="30"/>
                      </a:lnTo>
                      <a:lnTo>
                        <a:pt x="238" y="26"/>
                      </a:lnTo>
                      <a:lnTo>
                        <a:pt x="217" y="24"/>
                      </a:lnTo>
                      <a:lnTo>
                        <a:pt x="211" y="20"/>
                      </a:lnTo>
                      <a:lnTo>
                        <a:pt x="208" y="19"/>
                      </a:lnTo>
                      <a:lnTo>
                        <a:pt x="200" y="14"/>
                      </a:lnTo>
                      <a:lnTo>
                        <a:pt x="197" y="9"/>
                      </a:lnTo>
                      <a:lnTo>
                        <a:pt x="196" y="4"/>
                      </a:lnTo>
                      <a:lnTo>
                        <a:pt x="196" y="1"/>
                      </a:lnTo>
                      <a:lnTo>
                        <a:pt x="195" y="0"/>
                      </a:lnTo>
                      <a:lnTo>
                        <a:pt x="191" y="0"/>
                      </a:lnTo>
                      <a:lnTo>
                        <a:pt x="188" y="2"/>
                      </a:lnTo>
                      <a:lnTo>
                        <a:pt x="181" y="3"/>
                      </a:lnTo>
                      <a:lnTo>
                        <a:pt x="169" y="4"/>
                      </a:lnTo>
                      <a:lnTo>
                        <a:pt x="156" y="10"/>
                      </a:lnTo>
                      <a:lnTo>
                        <a:pt x="145" y="13"/>
                      </a:lnTo>
                      <a:lnTo>
                        <a:pt x="143" y="13"/>
                      </a:lnTo>
                      <a:lnTo>
                        <a:pt x="134" y="11"/>
                      </a:lnTo>
                      <a:lnTo>
                        <a:pt x="132" y="19"/>
                      </a:lnTo>
                      <a:lnTo>
                        <a:pt x="133" y="23"/>
                      </a:lnTo>
                      <a:lnTo>
                        <a:pt x="129" y="24"/>
                      </a:lnTo>
                      <a:lnTo>
                        <a:pt x="123" y="25"/>
                      </a:lnTo>
                      <a:lnTo>
                        <a:pt x="121" y="30"/>
                      </a:lnTo>
                      <a:lnTo>
                        <a:pt x="122" y="34"/>
                      </a:lnTo>
                      <a:lnTo>
                        <a:pt x="124" y="38"/>
                      </a:lnTo>
                      <a:lnTo>
                        <a:pt x="123" y="41"/>
                      </a:lnTo>
                      <a:lnTo>
                        <a:pt x="110" y="38"/>
                      </a:lnTo>
                      <a:lnTo>
                        <a:pt x="102" y="37"/>
                      </a:lnTo>
                      <a:lnTo>
                        <a:pt x="98" y="34"/>
                      </a:lnTo>
                      <a:lnTo>
                        <a:pt x="92" y="32"/>
                      </a:lnTo>
                      <a:lnTo>
                        <a:pt x="91" y="38"/>
                      </a:lnTo>
                      <a:lnTo>
                        <a:pt x="84" y="52"/>
                      </a:lnTo>
                      <a:lnTo>
                        <a:pt x="82" y="58"/>
                      </a:lnTo>
                      <a:lnTo>
                        <a:pt x="81" y="61"/>
                      </a:lnTo>
                      <a:lnTo>
                        <a:pt x="77" y="58"/>
                      </a:lnTo>
                      <a:lnTo>
                        <a:pt x="72" y="53"/>
                      </a:lnTo>
                      <a:lnTo>
                        <a:pt x="65" y="47"/>
                      </a:lnTo>
                      <a:lnTo>
                        <a:pt x="61" y="35"/>
                      </a:lnTo>
                      <a:lnTo>
                        <a:pt x="54" y="38"/>
                      </a:lnTo>
                      <a:lnTo>
                        <a:pt x="49" y="44"/>
                      </a:lnTo>
                      <a:lnTo>
                        <a:pt x="49" y="49"/>
                      </a:lnTo>
                      <a:lnTo>
                        <a:pt x="47" y="53"/>
                      </a:lnTo>
                      <a:lnTo>
                        <a:pt x="40" y="59"/>
                      </a:lnTo>
                      <a:lnTo>
                        <a:pt x="32" y="58"/>
                      </a:lnTo>
                      <a:lnTo>
                        <a:pt x="15" y="63"/>
                      </a:lnTo>
                      <a:lnTo>
                        <a:pt x="10" y="63"/>
                      </a:lnTo>
                      <a:lnTo>
                        <a:pt x="3" y="64"/>
                      </a:lnTo>
                      <a:lnTo>
                        <a:pt x="2" y="67"/>
                      </a:lnTo>
                      <a:lnTo>
                        <a:pt x="3" y="70"/>
                      </a:lnTo>
                      <a:lnTo>
                        <a:pt x="11" y="88"/>
                      </a:lnTo>
                      <a:lnTo>
                        <a:pt x="12" y="93"/>
                      </a:lnTo>
                      <a:lnTo>
                        <a:pt x="4" y="99"/>
                      </a:lnTo>
                      <a:lnTo>
                        <a:pt x="1" y="103"/>
                      </a:lnTo>
                      <a:lnTo>
                        <a:pt x="0" y="109"/>
                      </a:lnTo>
                      <a:lnTo>
                        <a:pt x="0" y="112"/>
                      </a:lnTo>
                      <a:lnTo>
                        <a:pt x="2" y="114"/>
                      </a:lnTo>
                      <a:lnTo>
                        <a:pt x="8" y="116"/>
                      </a:lnTo>
                      <a:lnTo>
                        <a:pt x="8" y="122"/>
                      </a:lnTo>
                      <a:lnTo>
                        <a:pt x="6" y="128"/>
                      </a:lnTo>
                      <a:lnTo>
                        <a:pt x="6" y="135"/>
                      </a:lnTo>
                      <a:lnTo>
                        <a:pt x="9" y="142"/>
                      </a:lnTo>
                      <a:lnTo>
                        <a:pt x="13" y="148"/>
                      </a:lnTo>
                      <a:lnTo>
                        <a:pt x="29" y="150"/>
                      </a:lnTo>
                      <a:lnTo>
                        <a:pt x="32" y="156"/>
                      </a:lnTo>
                      <a:lnTo>
                        <a:pt x="32" y="161"/>
                      </a:lnTo>
                      <a:lnTo>
                        <a:pt x="29" y="165"/>
                      </a:lnTo>
                      <a:lnTo>
                        <a:pt x="31" y="168"/>
                      </a:lnTo>
                      <a:lnTo>
                        <a:pt x="36" y="168"/>
                      </a:lnTo>
                      <a:lnTo>
                        <a:pt x="42" y="168"/>
                      </a:lnTo>
                      <a:lnTo>
                        <a:pt x="53" y="162"/>
                      </a:lnTo>
                      <a:lnTo>
                        <a:pt x="54" y="158"/>
                      </a:lnTo>
                      <a:lnTo>
                        <a:pt x="59" y="149"/>
                      </a:lnTo>
                      <a:lnTo>
                        <a:pt x="62" y="148"/>
                      </a:lnTo>
                      <a:lnTo>
                        <a:pt x="65" y="144"/>
                      </a:lnTo>
                      <a:lnTo>
                        <a:pt x="76" y="138"/>
                      </a:lnTo>
                      <a:lnTo>
                        <a:pt x="81" y="138"/>
                      </a:lnTo>
                      <a:lnTo>
                        <a:pt x="88" y="139"/>
                      </a:lnTo>
                      <a:lnTo>
                        <a:pt x="115" y="156"/>
                      </a:lnTo>
                      <a:lnTo>
                        <a:pt x="126" y="160"/>
                      </a:lnTo>
                      <a:lnTo>
                        <a:pt x="128" y="163"/>
                      </a:lnTo>
                      <a:lnTo>
                        <a:pt x="129" y="171"/>
                      </a:lnTo>
                      <a:lnTo>
                        <a:pt x="138" y="194"/>
                      </a:lnTo>
                      <a:lnTo>
                        <a:pt x="140" y="202"/>
                      </a:lnTo>
                      <a:lnTo>
                        <a:pt x="139" y="207"/>
                      </a:lnTo>
                      <a:lnTo>
                        <a:pt x="154" y="220"/>
                      </a:lnTo>
                      <a:lnTo>
                        <a:pt x="159" y="228"/>
                      </a:lnTo>
                      <a:lnTo>
                        <a:pt x="162" y="238"/>
                      </a:lnTo>
                      <a:lnTo>
                        <a:pt x="168" y="237"/>
                      </a:lnTo>
                      <a:lnTo>
                        <a:pt x="172" y="237"/>
                      </a:lnTo>
                      <a:lnTo>
                        <a:pt x="178" y="241"/>
                      </a:lnTo>
                      <a:lnTo>
                        <a:pt x="188" y="254"/>
                      </a:lnTo>
                      <a:lnTo>
                        <a:pt x="194" y="255"/>
                      </a:lnTo>
                      <a:lnTo>
                        <a:pt x="206" y="272"/>
                      </a:lnTo>
                      <a:lnTo>
                        <a:pt x="214" y="280"/>
                      </a:lnTo>
                      <a:lnTo>
                        <a:pt x="230" y="294"/>
                      </a:lnTo>
                      <a:lnTo>
                        <a:pt x="234" y="293"/>
                      </a:lnTo>
                      <a:lnTo>
                        <a:pt x="252" y="294"/>
                      </a:lnTo>
                      <a:lnTo>
                        <a:pt x="256" y="295"/>
                      </a:lnTo>
                      <a:lnTo>
                        <a:pt x="265" y="306"/>
                      </a:lnTo>
                      <a:lnTo>
                        <a:pt x="269" y="312"/>
                      </a:lnTo>
                      <a:lnTo>
                        <a:pt x="279" y="317"/>
                      </a:lnTo>
                      <a:lnTo>
                        <a:pt x="280" y="319"/>
                      </a:lnTo>
                      <a:lnTo>
                        <a:pt x="279" y="324"/>
                      </a:lnTo>
                      <a:lnTo>
                        <a:pt x="292" y="322"/>
                      </a:lnTo>
                      <a:lnTo>
                        <a:pt x="295" y="323"/>
                      </a:lnTo>
                      <a:lnTo>
                        <a:pt x="298" y="326"/>
                      </a:lnTo>
                      <a:lnTo>
                        <a:pt x="301" y="334"/>
                      </a:lnTo>
                      <a:lnTo>
                        <a:pt x="300" y="339"/>
                      </a:lnTo>
                      <a:lnTo>
                        <a:pt x="303" y="344"/>
                      </a:lnTo>
                      <a:lnTo>
                        <a:pt x="311" y="346"/>
                      </a:lnTo>
                      <a:lnTo>
                        <a:pt x="314" y="349"/>
                      </a:lnTo>
                      <a:lnTo>
                        <a:pt x="317" y="355"/>
                      </a:lnTo>
                      <a:lnTo>
                        <a:pt x="320" y="348"/>
                      </a:lnTo>
                      <a:lnTo>
                        <a:pt x="324" y="348"/>
                      </a:lnTo>
                      <a:lnTo>
                        <a:pt x="328" y="356"/>
                      </a:lnTo>
                      <a:lnTo>
                        <a:pt x="328" y="360"/>
                      </a:lnTo>
                      <a:lnTo>
                        <a:pt x="331" y="369"/>
                      </a:lnTo>
                      <a:lnTo>
                        <a:pt x="338" y="382"/>
                      </a:lnTo>
                      <a:lnTo>
                        <a:pt x="341" y="394"/>
                      </a:lnTo>
                      <a:lnTo>
                        <a:pt x="347" y="409"/>
                      </a:lnTo>
                      <a:lnTo>
                        <a:pt x="337" y="413"/>
                      </a:lnTo>
                      <a:lnTo>
                        <a:pt x="331" y="416"/>
                      </a:lnTo>
                      <a:lnTo>
                        <a:pt x="335" y="424"/>
                      </a:lnTo>
                      <a:lnTo>
                        <a:pt x="330" y="431"/>
                      </a:lnTo>
                      <a:lnTo>
                        <a:pt x="327" y="437"/>
                      </a:lnTo>
                      <a:lnTo>
                        <a:pt x="327" y="445"/>
                      </a:lnTo>
                      <a:lnTo>
                        <a:pt x="329" y="450"/>
                      </a:lnTo>
                      <a:lnTo>
                        <a:pt x="330" y="449"/>
                      </a:lnTo>
                      <a:lnTo>
                        <a:pt x="329" y="450"/>
                      </a:lnTo>
                      <a:lnTo>
                        <a:pt x="335" y="450"/>
                      </a:lnTo>
                      <a:lnTo>
                        <a:pt x="339" y="450"/>
                      </a:lnTo>
                      <a:lnTo>
                        <a:pt x="341" y="448"/>
                      </a:lnTo>
                      <a:lnTo>
                        <a:pt x="347" y="437"/>
                      </a:lnTo>
                      <a:lnTo>
                        <a:pt x="349" y="434"/>
                      </a:lnTo>
                      <a:lnTo>
                        <a:pt x="353" y="431"/>
                      </a:lnTo>
                      <a:lnTo>
                        <a:pt x="358" y="429"/>
                      </a:lnTo>
                      <a:lnTo>
                        <a:pt x="359" y="425"/>
                      </a:lnTo>
                      <a:lnTo>
                        <a:pt x="360" y="410"/>
                      </a:lnTo>
                      <a:lnTo>
                        <a:pt x="361" y="408"/>
                      </a:lnTo>
                      <a:lnTo>
                        <a:pt x="366" y="405"/>
                      </a:lnTo>
                      <a:lnTo>
                        <a:pt x="373" y="402"/>
                      </a:lnTo>
                      <a:lnTo>
                        <a:pt x="376" y="402"/>
                      </a:lnTo>
                      <a:lnTo>
                        <a:pt x="377" y="399"/>
                      </a:lnTo>
                      <a:lnTo>
                        <a:pt x="377" y="390"/>
                      </a:lnTo>
                      <a:lnTo>
                        <a:pt x="377" y="387"/>
                      </a:lnTo>
                      <a:lnTo>
                        <a:pt x="376" y="380"/>
                      </a:lnTo>
                      <a:lnTo>
                        <a:pt x="374" y="377"/>
                      </a:lnTo>
                      <a:lnTo>
                        <a:pt x="368" y="372"/>
                      </a:lnTo>
                      <a:lnTo>
                        <a:pt x="364" y="369"/>
                      </a:lnTo>
                      <a:lnTo>
                        <a:pt x="357" y="366"/>
                      </a:lnTo>
                      <a:lnTo>
                        <a:pt x="358" y="358"/>
                      </a:lnTo>
                      <a:lnTo>
                        <a:pt x="361" y="346"/>
                      </a:lnTo>
                      <a:lnTo>
                        <a:pt x="366" y="337"/>
                      </a:lnTo>
                      <a:lnTo>
                        <a:pt x="374" y="330"/>
                      </a:lnTo>
                      <a:lnTo>
                        <a:pt x="381" y="329"/>
                      </a:lnTo>
                      <a:lnTo>
                        <a:pt x="392" y="336"/>
                      </a:lnTo>
                      <a:lnTo>
                        <a:pt x="402" y="339"/>
                      </a:lnTo>
                      <a:lnTo>
                        <a:pt x="408" y="343"/>
                      </a:lnTo>
                      <a:lnTo>
                        <a:pt x="410" y="348"/>
                      </a:lnTo>
                      <a:lnTo>
                        <a:pt x="416" y="356"/>
                      </a:lnTo>
                      <a:lnTo>
                        <a:pt x="422" y="360"/>
                      </a:lnTo>
                      <a:lnTo>
                        <a:pt x="422" y="358"/>
                      </a:lnTo>
                      <a:lnTo>
                        <a:pt x="428" y="348"/>
                      </a:lnTo>
                      <a:lnTo>
                        <a:pt x="426" y="344"/>
                      </a:lnTo>
                      <a:lnTo>
                        <a:pt x="422" y="337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</a:bodyPr>
                <a:lstStyle>
                  <a:defPPr>
                    <a:defRPr lang="es-E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29" name="Sweden" descr="{&quot;Key&quot;:&quot;sweden&quot;,&quot;Name&quot;:&quot;Sweden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7A1DD56C-2F1B-EEEF-027C-0520C9C63E62}"/>
                  </a:ext>
                </a:extLst>
              </p:cNvPr>
              <p:cNvSpPr>
                <a:spLocks/>
              </p:cNvSpPr>
              <p:nvPr/>
            </p:nvSpPr>
            <p:spPr bwMode="auto">
              <a:xfrm rot="21300000">
                <a:off x="6607266" y="5378522"/>
                <a:ext cx="748484" cy="1712829"/>
              </a:xfrm>
              <a:custGeom>
                <a:avLst/>
                <a:gdLst>
                  <a:gd name="T0" fmla="*/ 456 w 475"/>
                  <a:gd name="T1" fmla="*/ 196 h 1087"/>
                  <a:gd name="T2" fmla="*/ 454 w 475"/>
                  <a:gd name="T3" fmla="*/ 123 h 1087"/>
                  <a:gd name="T4" fmla="*/ 351 w 475"/>
                  <a:gd name="T5" fmla="*/ 3 h 1087"/>
                  <a:gd name="T6" fmla="*/ 334 w 475"/>
                  <a:gd name="T7" fmla="*/ 18 h 1087"/>
                  <a:gd name="T8" fmla="*/ 326 w 475"/>
                  <a:gd name="T9" fmla="*/ 64 h 1087"/>
                  <a:gd name="T10" fmla="*/ 259 w 475"/>
                  <a:gd name="T11" fmla="*/ 78 h 1087"/>
                  <a:gd name="T12" fmla="*/ 223 w 475"/>
                  <a:gd name="T13" fmla="*/ 98 h 1087"/>
                  <a:gd name="T14" fmla="*/ 185 w 475"/>
                  <a:gd name="T15" fmla="*/ 166 h 1087"/>
                  <a:gd name="T16" fmla="*/ 161 w 475"/>
                  <a:gd name="T17" fmla="*/ 242 h 1087"/>
                  <a:gd name="T18" fmla="*/ 129 w 475"/>
                  <a:gd name="T19" fmla="*/ 295 h 1087"/>
                  <a:gd name="T20" fmla="*/ 108 w 475"/>
                  <a:gd name="T21" fmla="*/ 424 h 1087"/>
                  <a:gd name="T22" fmla="*/ 69 w 475"/>
                  <a:gd name="T23" fmla="*/ 462 h 1087"/>
                  <a:gd name="T24" fmla="*/ 45 w 475"/>
                  <a:gd name="T25" fmla="*/ 537 h 1087"/>
                  <a:gd name="T26" fmla="*/ 37 w 475"/>
                  <a:gd name="T27" fmla="*/ 587 h 1087"/>
                  <a:gd name="T28" fmla="*/ 58 w 475"/>
                  <a:gd name="T29" fmla="*/ 685 h 1087"/>
                  <a:gd name="T30" fmla="*/ 49 w 475"/>
                  <a:gd name="T31" fmla="*/ 756 h 1087"/>
                  <a:gd name="T32" fmla="*/ 22 w 475"/>
                  <a:gd name="T33" fmla="*/ 823 h 1087"/>
                  <a:gd name="T34" fmla="*/ 0 w 475"/>
                  <a:gd name="T35" fmla="*/ 846 h 1087"/>
                  <a:gd name="T36" fmla="*/ 9 w 475"/>
                  <a:gd name="T37" fmla="*/ 894 h 1087"/>
                  <a:gd name="T38" fmla="*/ 16 w 475"/>
                  <a:gd name="T39" fmla="*/ 898 h 1087"/>
                  <a:gd name="T40" fmla="*/ 26 w 475"/>
                  <a:gd name="T41" fmla="*/ 938 h 1087"/>
                  <a:gd name="T42" fmla="*/ 49 w 475"/>
                  <a:gd name="T43" fmla="*/ 992 h 1087"/>
                  <a:gd name="T44" fmla="*/ 55 w 475"/>
                  <a:gd name="T45" fmla="*/ 1020 h 1087"/>
                  <a:gd name="T46" fmla="*/ 68 w 475"/>
                  <a:gd name="T47" fmla="*/ 1070 h 1087"/>
                  <a:gd name="T48" fmla="*/ 91 w 475"/>
                  <a:gd name="T49" fmla="*/ 1082 h 1087"/>
                  <a:gd name="T50" fmla="*/ 119 w 475"/>
                  <a:gd name="T51" fmla="*/ 1042 h 1087"/>
                  <a:gd name="T52" fmla="*/ 167 w 475"/>
                  <a:gd name="T53" fmla="*/ 1036 h 1087"/>
                  <a:gd name="T54" fmla="*/ 193 w 475"/>
                  <a:gd name="T55" fmla="*/ 966 h 1087"/>
                  <a:gd name="T56" fmla="*/ 195 w 475"/>
                  <a:gd name="T57" fmla="*/ 922 h 1087"/>
                  <a:gd name="T58" fmla="*/ 203 w 475"/>
                  <a:gd name="T59" fmla="*/ 906 h 1087"/>
                  <a:gd name="T60" fmla="*/ 200 w 475"/>
                  <a:gd name="T61" fmla="*/ 882 h 1087"/>
                  <a:gd name="T62" fmla="*/ 207 w 475"/>
                  <a:gd name="T63" fmla="*/ 868 h 1087"/>
                  <a:gd name="T64" fmla="*/ 238 w 475"/>
                  <a:gd name="T65" fmla="*/ 841 h 1087"/>
                  <a:gd name="T66" fmla="*/ 267 w 475"/>
                  <a:gd name="T67" fmla="*/ 826 h 1087"/>
                  <a:gd name="T68" fmla="*/ 222 w 475"/>
                  <a:gd name="T69" fmla="*/ 820 h 1087"/>
                  <a:gd name="T70" fmla="*/ 200 w 475"/>
                  <a:gd name="T71" fmla="*/ 803 h 1087"/>
                  <a:gd name="T72" fmla="*/ 229 w 475"/>
                  <a:gd name="T73" fmla="*/ 808 h 1087"/>
                  <a:gd name="T74" fmla="*/ 275 w 475"/>
                  <a:gd name="T75" fmla="*/ 794 h 1087"/>
                  <a:gd name="T76" fmla="*/ 268 w 475"/>
                  <a:gd name="T77" fmla="*/ 751 h 1087"/>
                  <a:gd name="T78" fmla="*/ 231 w 475"/>
                  <a:gd name="T79" fmla="*/ 725 h 1087"/>
                  <a:gd name="T80" fmla="*/ 191 w 475"/>
                  <a:gd name="T81" fmla="*/ 763 h 1087"/>
                  <a:gd name="T82" fmla="*/ 226 w 475"/>
                  <a:gd name="T83" fmla="*/ 730 h 1087"/>
                  <a:gd name="T84" fmla="*/ 219 w 475"/>
                  <a:gd name="T85" fmla="*/ 672 h 1087"/>
                  <a:gd name="T86" fmla="*/ 226 w 475"/>
                  <a:gd name="T87" fmla="*/ 628 h 1087"/>
                  <a:gd name="T88" fmla="*/ 238 w 475"/>
                  <a:gd name="T89" fmla="*/ 586 h 1087"/>
                  <a:gd name="T90" fmla="*/ 244 w 475"/>
                  <a:gd name="T91" fmla="*/ 550 h 1087"/>
                  <a:gd name="T92" fmla="*/ 264 w 475"/>
                  <a:gd name="T93" fmla="*/ 548 h 1087"/>
                  <a:gd name="T94" fmla="*/ 278 w 475"/>
                  <a:gd name="T95" fmla="*/ 527 h 1087"/>
                  <a:gd name="T96" fmla="*/ 313 w 475"/>
                  <a:gd name="T97" fmla="*/ 503 h 1087"/>
                  <a:gd name="T98" fmla="*/ 347 w 475"/>
                  <a:gd name="T99" fmla="*/ 476 h 1087"/>
                  <a:gd name="T100" fmla="*/ 376 w 475"/>
                  <a:gd name="T101" fmla="*/ 428 h 1087"/>
                  <a:gd name="T102" fmla="*/ 370 w 475"/>
                  <a:gd name="T103" fmla="*/ 409 h 1087"/>
                  <a:gd name="T104" fmla="*/ 371 w 475"/>
                  <a:gd name="T105" fmla="*/ 385 h 1087"/>
                  <a:gd name="T106" fmla="*/ 385 w 475"/>
                  <a:gd name="T107" fmla="*/ 339 h 1087"/>
                  <a:gd name="T108" fmla="*/ 402 w 475"/>
                  <a:gd name="T109" fmla="*/ 328 h 1087"/>
                  <a:gd name="T110" fmla="*/ 408 w 475"/>
                  <a:gd name="T111" fmla="*/ 316 h 1087"/>
                  <a:gd name="T112" fmla="*/ 422 w 475"/>
                  <a:gd name="T113" fmla="*/ 309 h 1087"/>
                  <a:gd name="T114" fmla="*/ 460 w 475"/>
                  <a:gd name="T115" fmla="*/ 304 h 10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475" h="1087">
                    <a:moveTo>
                      <a:pt x="463" y="274"/>
                    </a:moveTo>
                    <a:lnTo>
                      <a:pt x="461" y="261"/>
                    </a:lnTo>
                    <a:lnTo>
                      <a:pt x="464" y="249"/>
                    </a:lnTo>
                    <a:lnTo>
                      <a:pt x="470" y="240"/>
                    </a:lnTo>
                    <a:lnTo>
                      <a:pt x="470" y="234"/>
                    </a:lnTo>
                    <a:lnTo>
                      <a:pt x="470" y="225"/>
                    </a:lnTo>
                    <a:lnTo>
                      <a:pt x="456" y="196"/>
                    </a:lnTo>
                    <a:lnTo>
                      <a:pt x="454" y="185"/>
                    </a:lnTo>
                    <a:lnTo>
                      <a:pt x="459" y="171"/>
                    </a:lnTo>
                    <a:lnTo>
                      <a:pt x="458" y="162"/>
                    </a:lnTo>
                    <a:lnTo>
                      <a:pt x="454" y="157"/>
                    </a:lnTo>
                    <a:lnTo>
                      <a:pt x="453" y="147"/>
                    </a:lnTo>
                    <a:lnTo>
                      <a:pt x="453" y="133"/>
                    </a:lnTo>
                    <a:lnTo>
                      <a:pt x="454" y="123"/>
                    </a:lnTo>
                    <a:lnTo>
                      <a:pt x="458" y="115"/>
                    </a:lnTo>
                    <a:lnTo>
                      <a:pt x="455" y="110"/>
                    </a:lnTo>
                    <a:lnTo>
                      <a:pt x="435" y="72"/>
                    </a:lnTo>
                    <a:lnTo>
                      <a:pt x="422" y="61"/>
                    </a:lnTo>
                    <a:lnTo>
                      <a:pt x="398" y="54"/>
                    </a:lnTo>
                    <a:lnTo>
                      <a:pt x="379" y="33"/>
                    </a:lnTo>
                    <a:lnTo>
                      <a:pt x="351" y="3"/>
                    </a:lnTo>
                    <a:lnTo>
                      <a:pt x="349" y="0"/>
                    </a:lnTo>
                    <a:lnTo>
                      <a:pt x="348" y="0"/>
                    </a:lnTo>
                    <a:lnTo>
                      <a:pt x="332" y="0"/>
                    </a:lnTo>
                    <a:lnTo>
                      <a:pt x="329" y="2"/>
                    </a:lnTo>
                    <a:lnTo>
                      <a:pt x="329" y="8"/>
                    </a:lnTo>
                    <a:lnTo>
                      <a:pt x="332" y="12"/>
                    </a:lnTo>
                    <a:lnTo>
                      <a:pt x="334" y="18"/>
                    </a:lnTo>
                    <a:lnTo>
                      <a:pt x="332" y="25"/>
                    </a:lnTo>
                    <a:lnTo>
                      <a:pt x="329" y="28"/>
                    </a:lnTo>
                    <a:lnTo>
                      <a:pt x="327" y="38"/>
                    </a:lnTo>
                    <a:lnTo>
                      <a:pt x="324" y="46"/>
                    </a:lnTo>
                    <a:lnTo>
                      <a:pt x="324" y="52"/>
                    </a:lnTo>
                    <a:lnTo>
                      <a:pt x="330" y="59"/>
                    </a:lnTo>
                    <a:lnTo>
                      <a:pt x="326" y="64"/>
                    </a:lnTo>
                    <a:lnTo>
                      <a:pt x="320" y="65"/>
                    </a:lnTo>
                    <a:lnTo>
                      <a:pt x="292" y="55"/>
                    </a:lnTo>
                    <a:lnTo>
                      <a:pt x="271" y="53"/>
                    </a:lnTo>
                    <a:lnTo>
                      <a:pt x="264" y="54"/>
                    </a:lnTo>
                    <a:lnTo>
                      <a:pt x="261" y="56"/>
                    </a:lnTo>
                    <a:lnTo>
                      <a:pt x="258" y="63"/>
                    </a:lnTo>
                    <a:lnTo>
                      <a:pt x="259" y="78"/>
                    </a:lnTo>
                    <a:lnTo>
                      <a:pt x="258" y="85"/>
                    </a:lnTo>
                    <a:lnTo>
                      <a:pt x="254" y="99"/>
                    </a:lnTo>
                    <a:lnTo>
                      <a:pt x="249" y="110"/>
                    </a:lnTo>
                    <a:lnTo>
                      <a:pt x="246" y="109"/>
                    </a:lnTo>
                    <a:lnTo>
                      <a:pt x="239" y="100"/>
                    </a:lnTo>
                    <a:lnTo>
                      <a:pt x="231" y="96"/>
                    </a:lnTo>
                    <a:lnTo>
                      <a:pt x="223" y="98"/>
                    </a:lnTo>
                    <a:lnTo>
                      <a:pt x="211" y="111"/>
                    </a:lnTo>
                    <a:lnTo>
                      <a:pt x="205" y="118"/>
                    </a:lnTo>
                    <a:lnTo>
                      <a:pt x="202" y="130"/>
                    </a:lnTo>
                    <a:lnTo>
                      <a:pt x="201" y="139"/>
                    </a:lnTo>
                    <a:lnTo>
                      <a:pt x="197" y="145"/>
                    </a:lnTo>
                    <a:lnTo>
                      <a:pt x="188" y="156"/>
                    </a:lnTo>
                    <a:lnTo>
                      <a:pt x="185" y="166"/>
                    </a:lnTo>
                    <a:lnTo>
                      <a:pt x="194" y="180"/>
                    </a:lnTo>
                    <a:lnTo>
                      <a:pt x="195" y="189"/>
                    </a:lnTo>
                    <a:lnTo>
                      <a:pt x="194" y="194"/>
                    </a:lnTo>
                    <a:lnTo>
                      <a:pt x="190" y="202"/>
                    </a:lnTo>
                    <a:lnTo>
                      <a:pt x="181" y="212"/>
                    </a:lnTo>
                    <a:lnTo>
                      <a:pt x="177" y="221"/>
                    </a:lnTo>
                    <a:lnTo>
                      <a:pt x="161" y="242"/>
                    </a:lnTo>
                    <a:lnTo>
                      <a:pt x="157" y="251"/>
                    </a:lnTo>
                    <a:lnTo>
                      <a:pt x="156" y="265"/>
                    </a:lnTo>
                    <a:lnTo>
                      <a:pt x="152" y="273"/>
                    </a:lnTo>
                    <a:lnTo>
                      <a:pt x="140" y="282"/>
                    </a:lnTo>
                    <a:lnTo>
                      <a:pt x="133" y="282"/>
                    </a:lnTo>
                    <a:lnTo>
                      <a:pt x="128" y="285"/>
                    </a:lnTo>
                    <a:lnTo>
                      <a:pt x="129" y="295"/>
                    </a:lnTo>
                    <a:lnTo>
                      <a:pt x="129" y="309"/>
                    </a:lnTo>
                    <a:lnTo>
                      <a:pt x="128" y="328"/>
                    </a:lnTo>
                    <a:lnTo>
                      <a:pt x="123" y="362"/>
                    </a:lnTo>
                    <a:lnTo>
                      <a:pt x="112" y="386"/>
                    </a:lnTo>
                    <a:lnTo>
                      <a:pt x="99" y="407"/>
                    </a:lnTo>
                    <a:lnTo>
                      <a:pt x="99" y="414"/>
                    </a:lnTo>
                    <a:lnTo>
                      <a:pt x="108" y="424"/>
                    </a:lnTo>
                    <a:lnTo>
                      <a:pt x="113" y="432"/>
                    </a:lnTo>
                    <a:lnTo>
                      <a:pt x="113" y="445"/>
                    </a:lnTo>
                    <a:lnTo>
                      <a:pt x="111" y="453"/>
                    </a:lnTo>
                    <a:lnTo>
                      <a:pt x="104" y="461"/>
                    </a:lnTo>
                    <a:lnTo>
                      <a:pt x="95" y="461"/>
                    </a:lnTo>
                    <a:lnTo>
                      <a:pt x="83" y="457"/>
                    </a:lnTo>
                    <a:lnTo>
                      <a:pt x="69" y="462"/>
                    </a:lnTo>
                    <a:lnTo>
                      <a:pt x="58" y="469"/>
                    </a:lnTo>
                    <a:lnTo>
                      <a:pt x="42" y="489"/>
                    </a:lnTo>
                    <a:lnTo>
                      <a:pt x="37" y="500"/>
                    </a:lnTo>
                    <a:lnTo>
                      <a:pt x="35" y="512"/>
                    </a:lnTo>
                    <a:lnTo>
                      <a:pt x="37" y="524"/>
                    </a:lnTo>
                    <a:lnTo>
                      <a:pt x="42" y="534"/>
                    </a:lnTo>
                    <a:lnTo>
                      <a:pt x="45" y="537"/>
                    </a:lnTo>
                    <a:lnTo>
                      <a:pt x="40" y="544"/>
                    </a:lnTo>
                    <a:lnTo>
                      <a:pt x="39" y="552"/>
                    </a:lnTo>
                    <a:lnTo>
                      <a:pt x="37" y="558"/>
                    </a:lnTo>
                    <a:lnTo>
                      <a:pt x="37" y="571"/>
                    </a:lnTo>
                    <a:lnTo>
                      <a:pt x="35" y="577"/>
                    </a:lnTo>
                    <a:lnTo>
                      <a:pt x="35" y="586"/>
                    </a:lnTo>
                    <a:lnTo>
                      <a:pt x="37" y="587"/>
                    </a:lnTo>
                    <a:lnTo>
                      <a:pt x="40" y="596"/>
                    </a:lnTo>
                    <a:lnTo>
                      <a:pt x="39" y="625"/>
                    </a:lnTo>
                    <a:lnTo>
                      <a:pt x="40" y="639"/>
                    </a:lnTo>
                    <a:lnTo>
                      <a:pt x="46" y="649"/>
                    </a:lnTo>
                    <a:lnTo>
                      <a:pt x="59" y="659"/>
                    </a:lnTo>
                    <a:lnTo>
                      <a:pt x="61" y="673"/>
                    </a:lnTo>
                    <a:lnTo>
                      <a:pt x="58" y="685"/>
                    </a:lnTo>
                    <a:lnTo>
                      <a:pt x="50" y="693"/>
                    </a:lnTo>
                    <a:lnTo>
                      <a:pt x="42" y="696"/>
                    </a:lnTo>
                    <a:lnTo>
                      <a:pt x="39" y="701"/>
                    </a:lnTo>
                    <a:lnTo>
                      <a:pt x="46" y="709"/>
                    </a:lnTo>
                    <a:lnTo>
                      <a:pt x="51" y="731"/>
                    </a:lnTo>
                    <a:lnTo>
                      <a:pt x="46" y="751"/>
                    </a:lnTo>
                    <a:lnTo>
                      <a:pt x="49" y="756"/>
                    </a:lnTo>
                    <a:lnTo>
                      <a:pt x="48" y="766"/>
                    </a:lnTo>
                    <a:lnTo>
                      <a:pt x="45" y="774"/>
                    </a:lnTo>
                    <a:lnTo>
                      <a:pt x="26" y="780"/>
                    </a:lnTo>
                    <a:lnTo>
                      <a:pt x="26" y="790"/>
                    </a:lnTo>
                    <a:lnTo>
                      <a:pt x="17" y="805"/>
                    </a:lnTo>
                    <a:lnTo>
                      <a:pt x="18" y="814"/>
                    </a:lnTo>
                    <a:lnTo>
                      <a:pt x="22" y="823"/>
                    </a:lnTo>
                    <a:lnTo>
                      <a:pt x="16" y="848"/>
                    </a:lnTo>
                    <a:lnTo>
                      <a:pt x="11" y="852"/>
                    </a:lnTo>
                    <a:lnTo>
                      <a:pt x="9" y="846"/>
                    </a:lnTo>
                    <a:lnTo>
                      <a:pt x="6" y="855"/>
                    </a:lnTo>
                    <a:lnTo>
                      <a:pt x="6" y="840"/>
                    </a:lnTo>
                    <a:lnTo>
                      <a:pt x="4" y="837"/>
                    </a:lnTo>
                    <a:lnTo>
                      <a:pt x="0" y="846"/>
                    </a:lnTo>
                    <a:lnTo>
                      <a:pt x="0" y="853"/>
                    </a:lnTo>
                    <a:lnTo>
                      <a:pt x="4" y="880"/>
                    </a:lnTo>
                    <a:lnTo>
                      <a:pt x="5" y="883"/>
                    </a:lnTo>
                    <a:lnTo>
                      <a:pt x="9" y="885"/>
                    </a:lnTo>
                    <a:lnTo>
                      <a:pt x="10" y="887"/>
                    </a:lnTo>
                    <a:lnTo>
                      <a:pt x="10" y="892"/>
                    </a:lnTo>
                    <a:lnTo>
                      <a:pt x="9" y="894"/>
                    </a:lnTo>
                    <a:lnTo>
                      <a:pt x="13" y="890"/>
                    </a:lnTo>
                    <a:lnTo>
                      <a:pt x="14" y="885"/>
                    </a:lnTo>
                    <a:lnTo>
                      <a:pt x="17" y="888"/>
                    </a:lnTo>
                    <a:lnTo>
                      <a:pt x="15" y="894"/>
                    </a:lnTo>
                    <a:lnTo>
                      <a:pt x="17" y="894"/>
                    </a:lnTo>
                    <a:lnTo>
                      <a:pt x="20" y="895"/>
                    </a:lnTo>
                    <a:lnTo>
                      <a:pt x="16" y="898"/>
                    </a:lnTo>
                    <a:lnTo>
                      <a:pt x="12" y="904"/>
                    </a:lnTo>
                    <a:lnTo>
                      <a:pt x="22" y="909"/>
                    </a:lnTo>
                    <a:lnTo>
                      <a:pt x="24" y="915"/>
                    </a:lnTo>
                    <a:lnTo>
                      <a:pt x="22" y="926"/>
                    </a:lnTo>
                    <a:lnTo>
                      <a:pt x="29" y="924"/>
                    </a:lnTo>
                    <a:lnTo>
                      <a:pt x="31" y="932"/>
                    </a:lnTo>
                    <a:lnTo>
                      <a:pt x="26" y="938"/>
                    </a:lnTo>
                    <a:lnTo>
                      <a:pt x="28" y="948"/>
                    </a:lnTo>
                    <a:lnTo>
                      <a:pt x="27" y="956"/>
                    </a:lnTo>
                    <a:lnTo>
                      <a:pt x="33" y="956"/>
                    </a:lnTo>
                    <a:lnTo>
                      <a:pt x="36" y="964"/>
                    </a:lnTo>
                    <a:lnTo>
                      <a:pt x="38" y="972"/>
                    </a:lnTo>
                    <a:lnTo>
                      <a:pt x="42" y="984"/>
                    </a:lnTo>
                    <a:lnTo>
                      <a:pt x="49" y="992"/>
                    </a:lnTo>
                    <a:lnTo>
                      <a:pt x="53" y="1000"/>
                    </a:lnTo>
                    <a:lnTo>
                      <a:pt x="60" y="1004"/>
                    </a:lnTo>
                    <a:lnTo>
                      <a:pt x="66" y="1010"/>
                    </a:lnTo>
                    <a:lnTo>
                      <a:pt x="66" y="1016"/>
                    </a:lnTo>
                    <a:lnTo>
                      <a:pt x="61" y="1018"/>
                    </a:lnTo>
                    <a:lnTo>
                      <a:pt x="56" y="1018"/>
                    </a:lnTo>
                    <a:lnTo>
                      <a:pt x="55" y="1020"/>
                    </a:lnTo>
                    <a:lnTo>
                      <a:pt x="60" y="1031"/>
                    </a:lnTo>
                    <a:lnTo>
                      <a:pt x="55" y="1030"/>
                    </a:lnTo>
                    <a:lnTo>
                      <a:pt x="50" y="1028"/>
                    </a:lnTo>
                    <a:lnTo>
                      <a:pt x="50" y="1032"/>
                    </a:lnTo>
                    <a:lnTo>
                      <a:pt x="60" y="1055"/>
                    </a:lnTo>
                    <a:lnTo>
                      <a:pt x="66" y="1063"/>
                    </a:lnTo>
                    <a:lnTo>
                      <a:pt x="68" y="1070"/>
                    </a:lnTo>
                    <a:lnTo>
                      <a:pt x="66" y="1073"/>
                    </a:lnTo>
                    <a:lnTo>
                      <a:pt x="66" y="1081"/>
                    </a:lnTo>
                    <a:lnTo>
                      <a:pt x="63" y="1082"/>
                    </a:lnTo>
                    <a:lnTo>
                      <a:pt x="62" y="1085"/>
                    </a:lnTo>
                    <a:lnTo>
                      <a:pt x="71" y="1084"/>
                    </a:lnTo>
                    <a:lnTo>
                      <a:pt x="79" y="1087"/>
                    </a:lnTo>
                    <a:lnTo>
                      <a:pt x="91" y="1082"/>
                    </a:lnTo>
                    <a:lnTo>
                      <a:pt x="102" y="1082"/>
                    </a:lnTo>
                    <a:lnTo>
                      <a:pt x="108" y="1085"/>
                    </a:lnTo>
                    <a:lnTo>
                      <a:pt x="112" y="1082"/>
                    </a:lnTo>
                    <a:lnTo>
                      <a:pt x="115" y="1073"/>
                    </a:lnTo>
                    <a:lnTo>
                      <a:pt x="113" y="1059"/>
                    </a:lnTo>
                    <a:lnTo>
                      <a:pt x="116" y="1050"/>
                    </a:lnTo>
                    <a:lnTo>
                      <a:pt x="119" y="1042"/>
                    </a:lnTo>
                    <a:lnTo>
                      <a:pt x="126" y="1044"/>
                    </a:lnTo>
                    <a:lnTo>
                      <a:pt x="129" y="1038"/>
                    </a:lnTo>
                    <a:lnTo>
                      <a:pt x="136" y="1033"/>
                    </a:lnTo>
                    <a:lnTo>
                      <a:pt x="146" y="1033"/>
                    </a:lnTo>
                    <a:lnTo>
                      <a:pt x="151" y="1036"/>
                    </a:lnTo>
                    <a:lnTo>
                      <a:pt x="159" y="1033"/>
                    </a:lnTo>
                    <a:lnTo>
                      <a:pt x="167" y="1036"/>
                    </a:lnTo>
                    <a:lnTo>
                      <a:pt x="174" y="1036"/>
                    </a:lnTo>
                    <a:lnTo>
                      <a:pt x="178" y="1024"/>
                    </a:lnTo>
                    <a:lnTo>
                      <a:pt x="183" y="1008"/>
                    </a:lnTo>
                    <a:lnTo>
                      <a:pt x="190" y="997"/>
                    </a:lnTo>
                    <a:lnTo>
                      <a:pt x="191" y="983"/>
                    </a:lnTo>
                    <a:lnTo>
                      <a:pt x="193" y="974"/>
                    </a:lnTo>
                    <a:lnTo>
                      <a:pt x="193" y="966"/>
                    </a:lnTo>
                    <a:lnTo>
                      <a:pt x="195" y="958"/>
                    </a:lnTo>
                    <a:lnTo>
                      <a:pt x="199" y="950"/>
                    </a:lnTo>
                    <a:lnTo>
                      <a:pt x="199" y="944"/>
                    </a:lnTo>
                    <a:lnTo>
                      <a:pt x="195" y="939"/>
                    </a:lnTo>
                    <a:lnTo>
                      <a:pt x="200" y="932"/>
                    </a:lnTo>
                    <a:lnTo>
                      <a:pt x="199" y="926"/>
                    </a:lnTo>
                    <a:lnTo>
                      <a:pt x="195" y="922"/>
                    </a:lnTo>
                    <a:lnTo>
                      <a:pt x="194" y="918"/>
                    </a:lnTo>
                    <a:lnTo>
                      <a:pt x="195" y="915"/>
                    </a:lnTo>
                    <a:lnTo>
                      <a:pt x="200" y="917"/>
                    </a:lnTo>
                    <a:lnTo>
                      <a:pt x="203" y="917"/>
                    </a:lnTo>
                    <a:lnTo>
                      <a:pt x="201" y="913"/>
                    </a:lnTo>
                    <a:lnTo>
                      <a:pt x="201" y="910"/>
                    </a:lnTo>
                    <a:lnTo>
                      <a:pt x="203" y="906"/>
                    </a:lnTo>
                    <a:lnTo>
                      <a:pt x="203" y="903"/>
                    </a:lnTo>
                    <a:lnTo>
                      <a:pt x="204" y="891"/>
                    </a:lnTo>
                    <a:lnTo>
                      <a:pt x="203" y="888"/>
                    </a:lnTo>
                    <a:lnTo>
                      <a:pt x="199" y="883"/>
                    </a:lnTo>
                    <a:lnTo>
                      <a:pt x="192" y="880"/>
                    </a:lnTo>
                    <a:lnTo>
                      <a:pt x="193" y="880"/>
                    </a:lnTo>
                    <a:lnTo>
                      <a:pt x="200" y="882"/>
                    </a:lnTo>
                    <a:lnTo>
                      <a:pt x="205" y="881"/>
                    </a:lnTo>
                    <a:lnTo>
                      <a:pt x="207" y="878"/>
                    </a:lnTo>
                    <a:lnTo>
                      <a:pt x="201" y="872"/>
                    </a:lnTo>
                    <a:lnTo>
                      <a:pt x="182" y="869"/>
                    </a:lnTo>
                    <a:lnTo>
                      <a:pt x="183" y="867"/>
                    </a:lnTo>
                    <a:lnTo>
                      <a:pt x="199" y="866"/>
                    </a:lnTo>
                    <a:lnTo>
                      <a:pt x="207" y="868"/>
                    </a:lnTo>
                    <a:lnTo>
                      <a:pt x="212" y="866"/>
                    </a:lnTo>
                    <a:lnTo>
                      <a:pt x="213" y="860"/>
                    </a:lnTo>
                    <a:lnTo>
                      <a:pt x="222" y="859"/>
                    </a:lnTo>
                    <a:lnTo>
                      <a:pt x="229" y="852"/>
                    </a:lnTo>
                    <a:lnTo>
                      <a:pt x="234" y="847"/>
                    </a:lnTo>
                    <a:lnTo>
                      <a:pt x="234" y="840"/>
                    </a:lnTo>
                    <a:lnTo>
                      <a:pt x="238" y="841"/>
                    </a:lnTo>
                    <a:lnTo>
                      <a:pt x="238" y="849"/>
                    </a:lnTo>
                    <a:lnTo>
                      <a:pt x="247" y="848"/>
                    </a:lnTo>
                    <a:lnTo>
                      <a:pt x="251" y="840"/>
                    </a:lnTo>
                    <a:lnTo>
                      <a:pt x="261" y="832"/>
                    </a:lnTo>
                    <a:lnTo>
                      <a:pt x="259" y="823"/>
                    </a:lnTo>
                    <a:lnTo>
                      <a:pt x="262" y="826"/>
                    </a:lnTo>
                    <a:lnTo>
                      <a:pt x="267" y="826"/>
                    </a:lnTo>
                    <a:lnTo>
                      <a:pt x="267" y="822"/>
                    </a:lnTo>
                    <a:lnTo>
                      <a:pt x="270" y="820"/>
                    </a:lnTo>
                    <a:lnTo>
                      <a:pt x="270" y="817"/>
                    </a:lnTo>
                    <a:lnTo>
                      <a:pt x="235" y="823"/>
                    </a:lnTo>
                    <a:lnTo>
                      <a:pt x="227" y="822"/>
                    </a:lnTo>
                    <a:lnTo>
                      <a:pt x="224" y="824"/>
                    </a:lnTo>
                    <a:lnTo>
                      <a:pt x="222" y="820"/>
                    </a:lnTo>
                    <a:lnTo>
                      <a:pt x="218" y="817"/>
                    </a:lnTo>
                    <a:lnTo>
                      <a:pt x="202" y="810"/>
                    </a:lnTo>
                    <a:lnTo>
                      <a:pt x="193" y="811"/>
                    </a:lnTo>
                    <a:lnTo>
                      <a:pt x="189" y="809"/>
                    </a:lnTo>
                    <a:lnTo>
                      <a:pt x="193" y="807"/>
                    </a:lnTo>
                    <a:lnTo>
                      <a:pt x="195" y="802"/>
                    </a:lnTo>
                    <a:lnTo>
                      <a:pt x="200" y="803"/>
                    </a:lnTo>
                    <a:lnTo>
                      <a:pt x="205" y="802"/>
                    </a:lnTo>
                    <a:lnTo>
                      <a:pt x="213" y="803"/>
                    </a:lnTo>
                    <a:lnTo>
                      <a:pt x="214" y="802"/>
                    </a:lnTo>
                    <a:lnTo>
                      <a:pt x="220" y="809"/>
                    </a:lnTo>
                    <a:lnTo>
                      <a:pt x="225" y="807"/>
                    </a:lnTo>
                    <a:lnTo>
                      <a:pt x="225" y="805"/>
                    </a:lnTo>
                    <a:lnTo>
                      <a:pt x="229" y="808"/>
                    </a:lnTo>
                    <a:lnTo>
                      <a:pt x="235" y="810"/>
                    </a:lnTo>
                    <a:lnTo>
                      <a:pt x="237" y="806"/>
                    </a:lnTo>
                    <a:lnTo>
                      <a:pt x="239" y="808"/>
                    </a:lnTo>
                    <a:lnTo>
                      <a:pt x="241" y="814"/>
                    </a:lnTo>
                    <a:lnTo>
                      <a:pt x="247" y="817"/>
                    </a:lnTo>
                    <a:lnTo>
                      <a:pt x="268" y="806"/>
                    </a:lnTo>
                    <a:lnTo>
                      <a:pt x="275" y="794"/>
                    </a:lnTo>
                    <a:lnTo>
                      <a:pt x="279" y="790"/>
                    </a:lnTo>
                    <a:lnTo>
                      <a:pt x="281" y="779"/>
                    </a:lnTo>
                    <a:lnTo>
                      <a:pt x="276" y="770"/>
                    </a:lnTo>
                    <a:lnTo>
                      <a:pt x="269" y="763"/>
                    </a:lnTo>
                    <a:lnTo>
                      <a:pt x="262" y="753"/>
                    </a:lnTo>
                    <a:lnTo>
                      <a:pt x="268" y="753"/>
                    </a:lnTo>
                    <a:lnTo>
                      <a:pt x="268" y="751"/>
                    </a:lnTo>
                    <a:lnTo>
                      <a:pt x="252" y="743"/>
                    </a:lnTo>
                    <a:lnTo>
                      <a:pt x="252" y="738"/>
                    </a:lnTo>
                    <a:lnTo>
                      <a:pt x="249" y="731"/>
                    </a:lnTo>
                    <a:lnTo>
                      <a:pt x="238" y="732"/>
                    </a:lnTo>
                    <a:lnTo>
                      <a:pt x="235" y="729"/>
                    </a:lnTo>
                    <a:lnTo>
                      <a:pt x="234" y="726"/>
                    </a:lnTo>
                    <a:lnTo>
                      <a:pt x="231" y="725"/>
                    </a:lnTo>
                    <a:lnTo>
                      <a:pt x="231" y="728"/>
                    </a:lnTo>
                    <a:lnTo>
                      <a:pt x="227" y="740"/>
                    </a:lnTo>
                    <a:lnTo>
                      <a:pt x="222" y="748"/>
                    </a:lnTo>
                    <a:lnTo>
                      <a:pt x="209" y="757"/>
                    </a:lnTo>
                    <a:lnTo>
                      <a:pt x="205" y="761"/>
                    </a:lnTo>
                    <a:lnTo>
                      <a:pt x="199" y="761"/>
                    </a:lnTo>
                    <a:lnTo>
                      <a:pt x="191" y="763"/>
                    </a:lnTo>
                    <a:lnTo>
                      <a:pt x="186" y="761"/>
                    </a:lnTo>
                    <a:lnTo>
                      <a:pt x="192" y="757"/>
                    </a:lnTo>
                    <a:lnTo>
                      <a:pt x="200" y="755"/>
                    </a:lnTo>
                    <a:lnTo>
                      <a:pt x="205" y="750"/>
                    </a:lnTo>
                    <a:lnTo>
                      <a:pt x="212" y="747"/>
                    </a:lnTo>
                    <a:lnTo>
                      <a:pt x="224" y="737"/>
                    </a:lnTo>
                    <a:lnTo>
                      <a:pt x="226" y="730"/>
                    </a:lnTo>
                    <a:lnTo>
                      <a:pt x="226" y="721"/>
                    </a:lnTo>
                    <a:lnTo>
                      <a:pt x="219" y="720"/>
                    </a:lnTo>
                    <a:lnTo>
                      <a:pt x="223" y="715"/>
                    </a:lnTo>
                    <a:lnTo>
                      <a:pt x="223" y="708"/>
                    </a:lnTo>
                    <a:lnTo>
                      <a:pt x="220" y="703"/>
                    </a:lnTo>
                    <a:lnTo>
                      <a:pt x="218" y="684"/>
                    </a:lnTo>
                    <a:lnTo>
                      <a:pt x="219" y="672"/>
                    </a:lnTo>
                    <a:lnTo>
                      <a:pt x="216" y="657"/>
                    </a:lnTo>
                    <a:lnTo>
                      <a:pt x="217" y="652"/>
                    </a:lnTo>
                    <a:lnTo>
                      <a:pt x="219" y="647"/>
                    </a:lnTo>
                    <a:lnTo>
                      <a:pt x="218" y="644"/>
                    </a:lnTo>
                    <a:lnTo>
                      <a:pt x="228" y="649"/>
                    </a:lnTo>
                    <a:lnTo>
                      <a:pt x="229" y="644"/>
                    </a:lnTo>
                    <a:lnTo>
                      <a:pt x="226" y="628"/>
                    </a:lnTo>
                    <a:lnTo>
                      <a:pt x="229" y="615"/>
                    </a:lnTo>
                    <a:lnTo>
                      <a:pt x="233" y="603"/>
                    </a:lnTo>
                    <a:lnTo>
                      <a:pt x="228" y="596"/>
                    </a:lnTo>
                    <a:lnTo>
                      <a:pt x="226" y="591"/>
                    </a:lnTo>
                    <a:lnTo>
                      <a:pt x="226" y="581"/>
                    </a:lnTo>
                    <a:lnTo>
                      <a:pt x="237" y="588"/>
                    </a:lnTo>
                    <a:lnTo>
                      <a:pt x="238" y="586"/>
                    </a:lnTo>
                    <a:lnTo>
                      <a:pt x="240" y="583"/>
                    </a:lnTo>
                    <a:lnTo>
                      <a:pt x="245" y="578"/>
                    </a:lnTo>
                    <a:lnTo>
                      <a:pt x="245" y="576"/>
                    </a:lnTo>
                    <a:lnTo>
                      <a:pt x="244" y="573"/>
                    </a:lnTo>
                    <a:lnTo>
                      <a:pt x="246" y="563"/>
                    </a:lnTo>
                    <a:lnTo>
                      <a:pt x="242" y="556"/>
                    </a:lnTo>
                    <a:lnTo>
                      <a:pt x="244" y="550"/>
                    </a:lnTo>
                    <a:lnTo>
                      <a:pt x="245" y="557"/>
                    </a:lnTo>
                    <a:lnTo>
                      <a:pt x="251" y="561"/>
                    </a:lnTo>
                    <a:lnTo>
                      <a:pt x="253" y="560"/>
                    </a:lnTo>
                    <a:lnTo>
                      <a:pt x="257" y="554"/>
                    </a:lnTo>
                    <a:lnTo>
                      <a:pt x="261" y="557"/>
                    </a:lnTo>
                    <a:lnTo>
                      <a:pt x="262" y="552"/>
                    </a:lnTo>
                    <a:lnTo>
                      <a:pt x="264" y="548"/>
                    </a:lnTo>
                    <a:lnTo>
                      <a:pt x="257" y="544"/>
                    </a:lnTo>
                    <a:lnTo>
                      <a:pt x="262" y="545"/>
                    </a:lnTo>
                    <a:lnTo>
                      <a:pt x="268" y="541"/>
                    </a:lnTo>
                    <a:lnTo>
                      <a:pt x="268" y="538"/>
                    </a:lnTo>
                    <a:lnTo>
                      <a:pt x="273" y="535"/>
                    </a:lnTo>
                    <a:lnTo>
                      <a:pt x="273" y="529"/>
                    </a:lnTo>
                    <a:lnTo>
                      <a:pt x="278" y="527"/>
                    </a:lnTo>
                    <a:lnTo>
                      <a:pt x="278" y="520"/>
                    </a:lnTo>
                    <a:lnTo>
                      <a:pt x="282" y="519"/>
                    </a:lnTo>
                    <a:lnTo>
                      <a:pt x="289" y="520"/>
                    </a:lnTo>
                    <a:lnTo>
                      <a:pt x="296" y="513"/>
                    </a:lnTo>
                    <a:lnTo>
                      <a:pt x="300" y="507"/>
                    </a:lnTo>
                    <a:lnTo>
                      <a:pt x="308" y="499"/>
                    </a:lnTo>
                    <a:lnTo>
                      <a:pt x="313" y="503"/>
                    </a:lnTo>
                    <a:lnTo>
                      <a:pt x="320" y="498"/>
                    </a:lnTo>
                    <a:lnTo>
                      <a:pt x="321" y="492"/>
                    </a:lnTo>
                    <a:lnTo>
                      <a:pt x="327" y="488"/>
                    </a:lnTo>
                    <a:lnTo>
                      <a:pt x="332" y="489"/>
                    </a:lnTo>
                    <a:lnTo>
                      <a:pt x="335" y="487"/>
                    </a:lnTo>
                    <a:lnTo>
                      <a:pt x="342" y="481"/>
                    </a:lnTo>
                    <a:lnTo>
                      <a:pt x="347" y="476"/>
                    </a:lnTo>
                    <a:lnTo>
                      <a:pt x="351" y="474"/>
                    </a:lnTo>
                    <a:lnTo>
                      <a:pt x="355" y="463"/>
                    </a:lnTo>
                    <a:lnTo>
                      <a:pt x="358" y="457"/>
                    </a:lnTo>
                    <a:lnTo>
                      <a:pt x="365" y="449"/>
                    </a:lnTo>
                    <a:lnTo>
                      <a:pt x="369" y="440"/>
                    </a:lnTo>
                    <a:lnTo>
                      <a:pt x="374" y="431"/>
                    </a:lnTo>
                    <a:lnTo>
                      <a:pt x="376" y="428"/>
                    </a:lnTo>
                    <a:lnTo>
                      <a:pt x="377" y="431"/>
                    </a:lnTo>
                    <a:lnTo>
                      <a:pt x="376" y="438"/>
                    </a:lnTo>
                    <a:lnTo>
                      <a:pt x="383" y="429"/>
                    </a:lnTo>
                    <a:lnTo>
                      <a:pt x="384" y="427"/>
                    </a:lnTo>
                    <a:lnTo>
                      <a:pt x="380" y="422"/>
                    </a:lnTo>
                    <a:lnTo>
                      <a:pt x="380" y="419"/>
                    </a:lnTo>
                    <a:lnTo>
                      <a:pt x="370" y="409"/>
                    </a:lnTo>
                    <a:lnTo>
                      <a:pt x="369" y="405"/>
                    </a:lnTo>
                    <a:lnTo>
                      <a:pt x="371" y="404"/>
                    </a:lnTo>
                    <a:lnTo>
                      <a:pt x="370" y="399"/>
                    </a:lnTo>
                    <a:lnTo>
                      <a:pt x="366" y="395"/>
                    </a:lnTo>
                    <a:lnTo>
                      <a:pt x="366" y="393"/>
                    </a:lnTo>
                    <a:lnTo>
                      <a:pt x="370" y="389"/>
                    </a:lnTo>
                    <a:lnTo>
                      <a:pt x="371" y="385"/>
                    </a:lnTo>
                    <a:lnTo>
                      <a:pt x="376" y="383"/>
                    </a:lnTo>
                    <a:lnTo>
                      <a:pt x="383" y="366"/>
                    </a:lnTo>
                    <a:lnTo>
                      <a:pt x="384" y="362"/>
                    </a:lnTo>
                    <a:lnTo>
                      <a:pt x="377" y="350"/>
                    </a:lnTo>
                    <a:lnTo>
                      <a:pt x="377" y="349"/>
                    </a:lnTo>
                    <a:lnTo>
                      <a:pt x="385" y="345"/>
                    </a:lnTo>
                    <a:lnTo>
                      <a:pt x="385" y="339"/>
                    </a:lnTo>
                    <a:lnTo>
                      <a:pt x="388" y="338"/>
                    </a:lnTo>
                    <a:lnTo>
                      <a:pt x="394" y="341"/>
                    </a:lnTo>
                    <a:lnTo>
                      <a:pt x="396" y="340"/>
                    </a:lnTo>
                    <a:lnTo>
                      <a:pt x="397" y="336"/>
                    </a:lnTo>
                    <a:lnTo>
                      <a:pt x="395" y="332"/>
                    </a:lnTo>
                    <a:lnTo>
                      <a:pt x="400" y="331"/>
                    </a:lnTo>
                    <a:lnTo>
                      <a:pt x="402" y="328"/>
                    </a:lnTo>
                    <a:lnTo>
                      <a:pt x="395" y="318"/>
                    </a:lnTo>
                    <a:lnTo>
                      <a:pt x="395" y="315"/>
                    </a:lnTo>
                    <a:lnTo>
                      <a:pt x="403" y="320"/>
                    </a:lnTo>
                    <a:lnTo>
                      <a:pt x="405" y="326"/>
                    </a:lnTo>
                    <a:lnTo>
                      <a:pt x="408" y="326"/>
                    </a:lnTo>
                    <a:lnTo>
                      <a:pt x="407" y="315"/>
                    </a:lnTo>
                    <a:lnTo>
                      <a:pt x="408" y="316"/>
                    </a:lnTo>
                    <a:lnTo>
                      <a:pt x="410" y="315"/>
                    </a:lnTo>
                    <a:lnTo>
                      <a:pt x="411" y="302"/>
                    </a:lnTo>
                    <a:lnTo>
                      <a:pt x="414" y="301"/>
                    </a:lnTo>
                    <a:lnTo>
                      <a:pt x="417" y="301"/>
                    </a:lnTo>
                    <a:lnTo>
                      <a:pt x="417" y="304"/>
                    </a:lnTo>
                    <a:lnTo>
                      <a:pt x="419" y="307"/>
                    </a:lnTo>
                    <a:lnTo>
                      <a:pt x="422" y="309"/>
                    </a:lnTo>
                    <a:lnTo>
                      <a:pt x="425" y="300"/>
                    </a:lnTo>
                    <a:lnTo>
                      <a:pt x="429" y="303"/>
                    </a:lnTo>
                    <a:lnTo>
                      <a:pt x="432" y="309"/>
                    </a:lnTo>
                    <a:lnTo>
                      <a:pt x="436" y="309"/>
                    </a:lnTo>
                    <a:lnTo>
                      <a:pt x="439" y="313"/>
                    </a:lnTo>
                    <a:lnTo>
                      <a:pt x="442" y="305"/>
                    </a:lnTo>
                    <a:lnTo>
                      <a:pt x="460" y="304"/>
                    </a:lnTo>
                    <a:lnTo>
                      <a:pt x="465" y="307"/>
                    </a:lnTo>
                    <a:lnTo>
                      <a:pt x="470" y="313"/>
                    </a:lnTo>
                    <a:lnTo>
                      <a:pt x="472" y="307"/>
                    </a:lnTo>
                    <a:lnTo>
                      <a:pt x="475" y="305"/>
                    </a:lnTo>
                    <a:lnTo>
                      <a:pt x="473" y="297"/>
                    </a:lnTo>
                    <a:lnTo>
                      <a:pt x="463" y="274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130" name="France">
                <a:extLst>
                  <a:ext uri="{FF2B5EF4-FFF2-40B4-BE49-F238E27FC236}">
                    <a16:creationId xmlns:a16="http://schemas.microsoft.com/office/drawing/2014/main" id="{4FE505DD-2C75-67FF-D89F-79362F7299C1}"/>
                  </a:ext>
                </a:extLst>
              </p:cNvPr>
              <p:cNvGrpSpPr/>
              <p:nvPr/>
            </p:nvGrpSpPr>
            <p:grpSpPr>
              <a:xfrm>
                <a:off x="5254888" y="7795664"/>
                <a:ext cx="1174638" cy="1282876"/>
                <a:chOff x="5254888" y="7795664"/>
                <a:chExt cx="1174638" cy="1282883"/>
              </a:xfrm>
              <a:grpFill/>
            </p:grpSpPr>
            <p:sp>
              <p:nvSpPr>
                <p:cNvPr id="213" name="France" descr="{&quot;Key&quot;:&quot;france&quot;,&quot;Name&quot;:&quot;France&quot;,&quot;Value&quot;:1.0,&quot;Formula&quot;:&quot;&quot;,&quot;Text&quot;:&quot;&quot;,&quot;OfficeApplication&quot;:1,&quot;HasValue&quot;:true}">
                  <a:extLst>
                    <a:ext uri="{FF2B5EF4-FFF2-40B4-BE49-F238E27FC236}">
                      <a16:creationId xmlns:a16="http://schemas.microsoft.com/office/drawing/2014/main" id="{C19D50B0-BD15-5312-06A4-EB864DFE78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51086" y="8893983"/>
                  <a:ext cx="78440" cy="184564"/>
                </a:xfrm>
                <a:custGeom>
                  <a:avLst/>
                  <a:gdLst>
                    <a:gd name="T0" fmla="*/ 30 w 34"/>
                    <a:gd name="T1" fmla="*/ 1 h 80"/>
                    <a:gd name="T2" fmla="*/ 26 w 34"/>
                    <a:gd name="T3" fmla="*/ 0 h 80"/>
                    <a:gd name="T4" fmla="*/ 25 w 34"/>
                    <a:gd name="T5" fmla="*/ 9 h 80"/>
                    <a:gd name="T6" fmla="*/ 24 w 34"/>
                    <a:gd name="T7" fmla="*/ 12 h 80"/>
                    <a:gd name="T8" fmla="*/ 18 w 34"/>
                    <a:gd name="T9" fmla="*/ 14 h 80"/>
                    <a:gd name="T10" fmla="*/ 11 w 34"/>
                    <a:gd name="T11" fmla="*/ 19 h 80"/>
                    <a:gd name="T12" fmla="*/ 7 w 34"/>
                    <a:gd name="T13" fmla="*/ 21 h 80"/>
                    <a:gd name="T14" fmla="*/ 3 w 34"/>
                    <a:gd name="T15" fmla="*/ 20 h 80"/>
                    <a:gd name="T16" fmla="*/ 0 w 34"/>
                    <a:gd name="T17" fmla="*/ 29 h 80"/>
                    <a:gd name="T18" fmla="*/ 0 w 34"/>
                    <a:gd name="T19" fmla="*/ 40 h 80"/>
                    <a:gd name="T20" fmla="*/ 3 w 34"/>
                    <a:gd name="T21" fmla="*/ 43 h 80"/>
                    <a:gd name="T22" fmla="*/ 3 w 34"/>
                    <a:gd name="T23" fmla="*/ 57 h 80"/>
                    <a:gd name="T24" fmla="*/ 4 w 34"/>
                    <a:gd name="T25" fmla="*/ 62 h 80"/>
                    <a:gd name="T26" fmla="*/ 9 w 34"/>
                    <a:gd name="T27" fmla="*/ 63 h 80"/>
                    <a:gd name="T28" fmla="*/ 9 w 34"/>
                    <a:gd name="T29" fmla="*/ 68 h 80"/>
                    <a:gd name="T30" fmla="*/ 11 w 34"/>
                    <a:gd name="T31" fmla="*/ 72 h 80"/>
                    <a:gd name="T32" fmla="*/ 15 w 34"/>
                    <a:gd name="T33" fmla="*/ 75 h 80"/>
                    <a:gd name="T34" fmla="*/ 19 w 34"/>
                    <a:gd name="T35" fmla="*/ 75 h 80"/>
                    <a:gd name="T36" fmla="*/ 22 w 34"/>
                    <a:gd name="T37" fmla="*/ 80 h 80"/>
                    <a:gd name="T38" fmla="*/ 22 w 34"/>
                    <a:gd name="T39" fmla="*/ 77 h 80"/>
                    <a:gd name="T40" fmla="*/ 26 w 34"/>
                    <a:gd name="T41" fmla="*/ 68 h 80"/>
                    <a:gd name="T42" fmla="*/ 30 w 34"/>
                    <a:gd name="T43" fmla="*/ 59 h 80"/>
                    <a:gd name="T44" fmla="*/ 31 w 34"/>
                    <a:gd name="T45" fmla="*/ 53 h 80"/>
                    <a:gd name="T46" fmla="*/ 33 w 34"/>
                    <a:gd name="T47" fmla="*/ 46 h 80"/>
                    <a:gd name="T48" fmla="*/ 34 w 34"/>
                    <a:gd name="T49" fmla="*/ 39 h 80"/>
                    <a:gd name="T50" fmla="*/ 31 w 34"/>
                    <a:gd name="T51" fmla="*/ 21 h 80"/>
                    <a:gd name="T52" fmla="*/ 30 w 34"/>
                    <a:gd name="T53" fmla="*/ 1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34" h="80">
                      <a:moveTo>
                        <a:pt x="30" y="1"/>
                      </a:moveTo>
                      <a:lnTo>
                        <a:pt x="26" y="0"/>
                      </a:lnTo>
                      <a:lnTo>
                        <a:pt x="25" y="9"/>
                      </a:lnTo>
                      <a:lnTo>
                        <a:pt x="24" y="12"/>
                      </a:lnTo>
                      <a:lnTo>
                        <a:pt x="18" y="14"/>
                      </a:lnTo>
                      <a:lnTo>
                        <a:pt x="11" y="19"/>
                      </a:lnTo>
                      <a:lnTo>
                        <a:pt x="7" y="21"/>
                      </a:lnTo>
                      <a:lnTo>
                        <a:pt x="3" y="20"/>
                      </a:lnTo>
                      <a:lnTo>
                        <a:pt x="0" y="29"/>
                      </a:lnTo>
                      <a:lnTo>
                        <a:pt x="0" y="40"/>
                      </a:lnTo>
                      <a:lnTo>
                        <a:pt x="3" y="43"/>
                      </a:lnTo>
                      <a:lnTo>
                        <a:pt x="3" y="57"/>
                      </a:lnTo>
                      <a:lnTo>
                        <a:pt x="4" y="62"/>
                      </a:lnTo>
                      <a:lnTo>
                        <a:pt x="9" y="63"/>
                      </a:lnTo>
                      <a:lnTo>
                        <a:pt x="9" y="68"/>
                      </a:lnTo>
                      <a:lnTo>
                        <a:pt x="11" y="72"/>
                      </a:lnTo>
                      <a:lnTo>
                        <a:pt x="15" y="75"/>
                      </a:lnTo>
                      <a:lnTo>
                        <a:pt x="19" y="75"/>
                      </a:lnTo>
                      <a:lnTo>
                        <a:pt x="22" y="80"/>
                      </a:lnTo>
                      <a:lnTo>
                        <a:pt x="22" y="77"/>
                      </a:lnTo>
                      <a:lnTo>
                        <a:pt x="26" y="68"/>
                      </a:lnTo>
                      <a:lnTo>
                        <a:pt x="30" y="59"/>
                      </a:lnTo>
                      <a:lnTo>
                        <a:pt x="31" y="53"/>
                      </a:lnTo>
                      <a:lnTo>
                        <a:pt x="33" y="46"/>
                      </a:lnTo>
                      <a:lnTo>
                        <a:pt x="34" y="39"/>
                      </a:lnTo>
                      <a:lnTo>
                        <a:pt x="31" y="21"/>
                      </a:lnTo>
                      <a:lnTo>
                        <a:pt x="30" y="1"/>
                      </a:lnTo>
                      <a:close/>
                    </a:path>
                  </a:pathLst>
                </a:custGeom>
                <a:grpFill/>
                <a:ln w="635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</a:bodyPr>
                <a:lstStyle>
                  <a:defPPr>
                    <a:defRPr lang="es-E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14" name="France" descr="{&quot;Key&quot;:&quot;france&quot;,&quot;Name&quot;:&quot;France&quot;,&quot;Value&quot;:1.0,&quot;Formula&quot;:&quot;&quot;,&quot;Text&quot;:&quot;&quot;,&quot;OfficeApplication&quot;:1,&quot;HasValue&quot;:true}">
                  <a:extLst>
                    <a:ext uri="{FF2B5EF4-FFF2-40B4-BE49-F238E27FC236}">
                      <a16:creationId xmlns:a16="http://schemas.microsoft.com/office/drawing/2014/main" id="{E6F0CA2E-B689-F898-B8E7-D7D71AC0A9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120000">
                  <a:off x="5254888" y="7795664"/>
                  <a:ext cx="1169908" cy="1177521"/>
                </a:xfrm>
                <a:custGeom>
                  <a:avLst/>
                  <a:gdLst>
                    <a:gd name="T0" fmla="*/ 395 w 461"/>
                    <a:gd name="T1" fmla="*/ 87 h 464"/>
                    <a:gd name="T2" fmla="*/ 358 w 461"/>
                    <a:gd name="T3" fmla="*/ 80 h 464"/>
                    <a:gd name="T4" fmla="*/ 345 w 461"/>
                    <a:gd name="T5" fmla="*/ 55 h 464"/>
                    <a:gd name="T6" fmla="*/ 323 w 461"/>
                    <a:gd name="T7" fmla="*/ 51 h 464"/>
                    <a:gd name="T8" fmla="*/ 293 w 461"/>
                    <a:gd name="T9" fmla="*/ 32 h 464"/>
                    <a:gd name="T10" fmla="*/ 271 w 461"/>
                    <a:gd name="T11" fmla="*/ 0 h 464"/>
                    <a:gd name="T12" fmla="*/ 230 w 461"/>
                    <a:gd name="T13" fmla="*/ 44 h 464"/>
                    <a:gd name="T14" fmla="*/ 192 w 461"/>
                    <a:gd name="T15" fmla="*/ 72 h 464"/>
                    <a:gd name="T16" fmla="*/ 192 w 461"/>
                    <a:gd name="T17" fmla="*/ 92 h 464"/>
                    <a:gd name="T18" fmla="*/ 157 w 461"/>
                    <a:gd name="T19" fmla="*/ 102 h 464"/>
                    <a:gd name="T20" fmla="*/ 127 w 461"/>
                    <a:gd name="T21" fmla="*/ 82 h 464"/>
                    <a:gd name="T22" fmla="*/ 108 w 461"/>
                    <a:gd name="T23" fmla="*/ 98 h 464"/>
                    <a:gd name="T24" fmla="*/ 122 w 461"/>
                    <a:gd name="T25" fmla="*/ 137 h 464"/>
                    <a:gd name="T26" fmla="*/ 101 w 461"/>
                    <a:gd name="T27" fmla="*/ 137 h 464"/>
                    <a:gd name="T28" fmla="*/ 51 w 461"/>
                    <a:gd name="T29" fmla="*/ 129 h 464"/>
                    <a:gd name="T30" fmla="*/ 28 w 461"/>
                    <a:gd name="T31" fmla="*/ 137 h 464"/>
                    <a:gd name="T32" fmla="*/ 13 w 461"/>
                    <a:gd name="T33" fmla="*/ 153 h 464"/>
                    <a:gd name="T34" fmla="*/ 12 w 461"/>
                    <a:gd name="T35" fmla="*/ 164 h 464"/>
                    <a:gd name="T36" fmla="*/ 15 w 461"/>
                    <a:gd name="T37" fmla="*/ 177 h 464"/>
                    <a:gd name="T38" fmla="*/ 50 w 461"/>
                    <a:gd name="T39" fmla="*/ 188 h 464"/>
                    <a:gd name="T40" fmla="*/ 74 w 461"/>
                    <a:gd name="T41" fmla="*/ 197 h 464"/>
                    <a:gd name="T42" fmla="*/ 84 w 461"/>
                    <a:gd name="T43" fmla="*/ 211 h 464"/>
                    <a:gd name="T44" fmla="*/ 98 w 461"/>
                    <a:gd name="T45" fmla="*/ 221 h 464"/>
                    <a:gd name="T46" fmla="*/ 102 w 461"/>
                    <a:gd name="T47" fmla="*/ 241 h 464"/>
                    <a:gd name="T48" fmla="*/ 134 w 461"/>
                    <a:gd name="T49" fmla="*/ 265 h 464"/>
                    <a:gd name="T50" fmla="*/ 134 w 461"/>
                    <a:gd name="T51" fmla="*/ 298 h 464"/>
                    <a:gd name="T52" fmla="*/ 136 w 461"/>
                    <a:gd name="T53" fmla="*/ 304 h 464"/>
                    <a:gd name="T54" fmla="*/ 134 w 461"/>
                    <a:gd name="T55" fmla="*/ 344 h 464"/>
                    <a:gd name="T56" fmla="*/ 123 w 461"/>
                    <a:gd name="T57" fmla="*/ 402 h 464"/>
                    <a:gd name="T58" fmla="*/ 122 w 461"/>
                    <a:gd name="T59" fmla="*/ 428 h 464"/>
                    <a:gd name="T60" fmla="*/ 178 w 461"/>
                    <a:gd name="T61" fmla="*/ 449 h 464"/>
                    <a:gd name="T62" fmla="*/ 211 w 461"/>
                    <a:gd name="T63" fmla="*/ 446 h 464"/>
                    <a:gd name="T64" fmla="*/ 245 w 461"/>
                    <a:gd name="T65" fmla="*/ 464 h 464"/>
                    <a:gd name="T66" fmla="*/ 284 w 461"/>
                    <a:gd name="T67" fmla="*/ 442 h 464"/>
                    <a:gd name="T68" fmla="*/ 307 w 461"/>
                    <a:gd name="T69" fmla="*/ 413 h 464"/>
                    <a:gd name="T70" fmla="*/ 334 w 461"/>
                    <a:gd name="T71" fmla="*/ 409 h 464"/>
                    <a:gd name="T72" fmla="*/ 349 w 461"/>
                    <a:gd name="T73" fmla="*/ 413 h 464"/>
                    <a:gd name="T74" fmla="*/ 368 w 461"/>
                    <a:gd name="T75" fmla="*/ 419 h 464"/>
                    <a:gd name="T76" fmla="*/ 410 w 461"/>
                    <a:gd name="T77" fmla="*/ 420 h 464"/>
                    <a:gd name="T78" fmla="*/ 429 w 461"/>
                    <a:gd name="T79" fmla="*/ 401 h 464"/>
                    <a:gd name="T80" fmla="*/ 445 w 461"/>
                    <a:gd name="T81" fmla="*/ 383 h 464"/>
                    <a:gd name="T82" fmla="*/ 419 w 461"/>
                    <a:gd name="T83" fmla="*/ 357 h 464"/>
                    <a:gd name="T84" fmla="*/ 413 w 461"/>
                    <a:gd name="T85" fmla="*/ 334 h 464"/>
                    <a:gd name="T86" fmla="*/ 424 w 461"/>
                    <a:gd name="T87" fmla="*/ 310 h 464"/>
                    <a:gd name="T88" fmla="*/ 421 w 461"/>
                    <a:gd name="T89" fmla="*/ 278 h 464"/>
                    <a:gd name="T90" fmla="*/ 401 w 461"/>
                    <a:gd name="T91" fmla="*/ 257 h 464"/>
                    <a:gd name="T92" fmla="*/ 390 w 461"/>
                    <a:gd name="T93" fmla="*/ 246 h 464"/>
                    <a:gd name="T94" fmla="*/ 402 w 461"/>
                    <a:gd name="T95" fmla="*/ 229 h 464"/>
                    <a:gd name="T96" fmla="*/ 434 w 461"/>
                    <a:gd name="T97" fmla="*/ 199 h 464"/>
                    <a:gd name="T98" fmla="*/ 441 w 461"/>
                    <a:gd name="T99" fmla="*/ 166 h 464"/>
                    <a:gd name="T100" fmla="*/ 452 w 461"/>
                    <a:gd name="T101" fmla="*/ 115 h 4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461" h="464">
                      <a:moveTo>
                        <a:pt x="425" y="107"/>
                      </a:moveTo>
                      <a:lnTo>
                        <a:pt x="413" y="106"/>
                      </a:lnTo>
                      <a:lnTo>
                        <a:pt x="408" y="98"/>
                      </a:lnTo>
                      <a:lnTo>
                        <a:pt x="404" y="94"/>
                      </a:lnTo>
                      <a:lnTo>
                        <a:pt x="395" y="87"/>
                      </a:lnTo>
                      <a:lnTo>
                        <a:pt x="388" y="87"/>
                      </a:lnTo>
                      <a:lnTo>
                        <a:pt x="377" y="84"/>
                      </a:lnTo>
                      <a:lnTo>
                        <a:pt x="371" y="85"/>
                      </a:lnTo>
                      <a:lnTo>
                        <a:pt x="363" y="84"/>
                      </a:lnTo>
                      <a:lnTo>
                        <a:pt x="358" y="80"/>
                      </a:lnTo>
                      <a:lnTo>
                        <a:pt x="350" y="75"/>
                      </a:lnTo>
                      <a:lnTo>
                        <a:pt x="352" y="71"/>
                      </a:lnTo>
                      <a:lnTo>
                        <a:pt x="349" y="70"/>
                      </a:lnTo>
                      <a:lnTo>
                        <a:pt x="349" y="55"/>
                      </a:lnTo>
                      <a:lnTo>
                        <a:pt x="345" y="55"/>
                      </a:lnTo>
                      <a:lnTo>
                        <a:pt x="340" y="60"/>
                      </a:lnTo>
                      <a:lnTo>
                        <a:pt x="338" y="64"/>
                      </a:lnTo>
                      <a:lnTo>
                        <a:pt x="331" y="64"/>
                      </a:lnTo>
                      <a:lnTo>
                        <a:pt x="325" y="62"/>
                      </a:lnTo>
                      <a:lnTo>
                        <a:pt x="323" y="51"/>
                      </a:lnTo>
                      <a:lnTo>
                        <a:pt x="322" y="46"/>
                      </a:lnTo>
                      <a:lnTo>
                        <a:pt x="317" y="42"/>
                      </a:lnTo>
                      <a:lnTo>
                        <a:pt x="310" y="39"/>
                      </a:lnTo>
                      <a:lnTo>
                        <a:pt x="300" y="34"/>
                      </a:lnTo>
                      <a:lnTo>
                        <a:pt x="293" y="32"/>
                      </a:lnTo>
                      <a:lnTo>
                        <a:pt x="288" y="19"/>
                      </a:lnTo>
                      <a:lnTo>
                        <a:pt x="280" y="21"/>
                      </a:lnTo>
                      <a:lnTo>
                        <a:pt x="272" y="17"/>
                      </a:lnTo>
                      <a:lnTo>
                        <a:pt x="271" y="11"/>
                      </a:lnTo>
                      <a:lnTo>
                        <a:pt x="271" y="0"/>
                      </a:lnTo>
                      <a:lnTo>
                        <a:pt x="268" y="2"/>
                      </a:lnTo>
                      <a:lnTo>
                        <a:pt x="253" y="4"/>
                      </a:lnTo>
                      <a:lnTo>
                        <a:pt x="236" y="11"/>
                      </a:lnTo>
                      <a:lnTo>
                        <a:pt x="232" y="24"/>
                      </a:lnTo>
                      <a:lnTo>
                        <a:pt x="230" y="44"/>
                      </a:lnTo>
                      <a:lnTo>
                        <a:pt x="232" y="46"/>
                      </a:lnTo>
                      <a:lnTo>
                        <a:pt x="231" y="51"/>
                      </a:lnTo>
                      <a:lnTo>
                        <a:pt x="223" y="59"/>
                      </a:lnTo>
                      <a:lnTo>
                        <a:pt x="214" y="65"/>
                      </a:lnTo>
                      <a:lnTo>
                        <a:pt x="192" y="72"/>
                      </a:lnTo>
                      <a:lnTo>
                        <a:pt x="182" y="79"/>
                      </a:lnTo>
                      <a:lnTo>
                        <a:pt x="178" y="87"/>
                      </a:lnTo>
                      <a:lnTo>
                        <a:pt x="178" y="91"/>
                      </a:lnTo>
                      <a:lnTo>
                        <a:pt x="188" y="91"/>
                      </a:lnTo>
                      <a:lnTo>
                        <a:pt x="192" y="92"/>
                      </a:lnTo>
                      <a:lnTo>
                        <a:pt x="191" y="94"/>
                      </a:lnTo>
                      <a:lnTo>
                        <a:pt x="177" y="96"/>
                      </a:lnTo>
                      <a:lnTo>
                        <a:pt x="170" y="101"/>
                      </a:lnTo>
                      <a:lnTo>
                        <a:pt x="165" y="102"/>
                      </a:lnTo>
                      <a:lnTo>
                        <a:pt x="157" y="102"/>
                      </a:lnTo>
                      <a:lnTo>
                        <a:pt x="148" y="99"/>
                      </a:lnTo>
                      <a:lnTo>
                        <a:pt x="137" y="98"/>
                      </a:lnTo>
                      <a:lnTo>
                        <a:pt x="134" y="98"/>
                      </a:lnTo>
                      <a:lnTo>
                        <a:pt x="126" y="87"/>
                      </a:lnTo>
                      <a:lnTo>
                        <a:pt x="127" y="82"/>
                      </a:lnTo>
                      <a:lnTo>
                        <a:pt x="124" y="81"/>
                      </a:lnTo>
                      <a:lnTo>
                        <a:pt x="111" y="82"/>
                      </a:lnTo>
                      <a:lnTo>
                        <a:pt x="104" y="80"/>
                      </a:lnTo>
                      <a:lnTo>
                        <a:pt x="105" y="93"/>
                      </a:lnTo>
                      <a:lnTo>
                        <a:pt x="108" y="98"/>
                      </a:lnTo>
                      <a:lnTo>
                        <a:pt x="112" y="102"/>
                      </a:lnTo>
                      <a:lnTo>
                        <a:pt x="115" y="117"/>
                      </a:lnTo>
                      <a:lnTo>
                        <a:pt x="115" y="126"/>
                      </a:lnTo>
                      <a:lnTo>
                        <a:pt x="118" y="133"/>
                      </a:lnTo>
                      <a:lnTo>
                        <a:pt x="122" y="137"/>
                      </a:lnTo>
                      <a:lnTo>
                        <a:pt x="119" y="139"/>
                      </a:lnTo>
                      <a:lnTo>
                        <a:pt x="111" y="140"/>
                      </a:lnTo>
                      <a:lnTo>
                        <a:pt x="109" y="137"/>
                      </a:lnTo>
                      <a:lnTo>
                        <a:pt x="107" y="136"/>
                      </a:lnTo>
                      <a:lnTo>
                        <a:pt x="101" y="137"/>
                      </a:lnTo>
                      <a:lnTo>
                        <a:pt x="96" y="139"/>
                      </a:lnTo>
                      <a:lnTo>
                        <a:pt x="90" y="139"/>
                      </a:lnTo>
                      <a:lnTo>
                        <a:pt x="78" y="142"/>
                      </a:lnTo>
                      <a:lnTo>
                        <a:pt x="62" y="128"/>
                      </a:lnTo>
                      <a:lnTo>
                        <a:pt x="51" y="129"/>
                      </a:lnTo>
                      <a:lnTo>
                        <a:pt x="47" y="128"/>
                      </a:lnTo>
                      <a:lnTo>
                        <a:pt x="44" y="130"/>
                      </a:lnTo>
                      <a:lnTo>
                        <a:pt x="43" y="133"/>
                      </a:lnTo>
                      <a:lnTo>
                        <a:pt x="33" y="137"/>
                      </a:lnTo>
                      <a:lnTo>
                        <a:pt x="28" y="137"/>
                      </a:lnTo>
                      <a:lnTo>
                        <a:pt x="17" y="139"/>
                      </a:lnTo>
                      <a:lnTo>
                        <a:pt x="2" y="145"/>
                      </a:lnTo>
                      <a:lnTo>
                        <a:pt x="0" y="152"/>
                      </a:lnTo>
                      <a:lnTo>
                        <a:pt x="0" y="155"/>
                      </a:lnTo>
                      <a:lnTo>
                        <a:pt x="13" y="153"/>
                      </a:lnTo>
                      <a:lnTo>
                        <a:pt x="12" y="156"/>
                      </a:lnTo>
                      <a:lnTo>
                        <a:pt x="9" y="157"/>
                      </a:lnTo>
                      <a:lnTo>
                        <a:pt x="6" y="161"/>
                      </a:lnTo>
                      <a:lnTo>
                        <a:pt x="7" y="164"/>
                      </a:lnTo>
                      <a:lnTo>
                        <a:pt x="12" y="164"/>
                      </a:lnTo>
                      <a:lnTo>
                        <a:pt x="19" y="163"/>
                      </a:lnTo>
                      <a:lnTo>
                        <a:pt x="17" y="168"/>
                      </a:lnTo>
                      <a:lnTo>
                        <a:pt x="3" y="171"/>
                      </a:lnTo>
                      <a:lnTo>
                        <a:pt x="7" y="174"/>
                      </a:lnTo>
                      <a:lnTo>
                        <a:pt x="15" y="177"/>
                      </a:lnTo>
                      <a:lnTo>
                        <a:pt x="15" y="184"/>
                      </a:lnTo>
                      <a:lnTo>
                        <a:pt x="23" y="185"/>
                      </a:lnTo>
                      <a:lnTo>
                        <a:pt x="23" y="182"/>
                      </a:lnTo>
                      <a:lnTo>
                        <a:pt x="29" y="180"/>
                      </a:lnTo>
                      <a:lnTo>
                        <a:pt x="50" y="188"/>
                      </a:lnTo>
                      <a:lnTo>
                        <a:pt x="55" y="193"/>
                      </a:lnTo>
                      <a:lnTo>
                        <a:pt x="57" y="197"/>
                      </a:lnTo>
                      <a:lnTo>
                        <a:pt x="60" y="198"/>
                      </a:lnTo>
                      <a:lnTo>
                        <a:pt x="69" y="195"/>
                      </a:lnTo>
                      <a:lnTo>
                        <a:pt x="74" y="197"/>
                      </a:lnTo>
                      <a:lnTo>
                        <a:pt x="70" y="199"/>
                      </a:lnTo>
                      <a:lnTo>
                        <a:pt x="78" y="201"/>
                      </a:lnTo>
                      <a:lnTo>
                        <a:pt x="82" y="199"/>
                      </a:lnTo>
                      <a:lnTo>
                        <a:pt x="85" y="200"/>
                      </a:lnTo>
                      <a:lnTo>
                        <a:pt x="84" y="211"/>
                      </a:lnTo>
                      <a:lnTo>
                        <a:pt x="92" y="213"/>
                      </a:lnTo>
                      <a:lnTo>
                        <a:pt x="102" y="211"/>
                      </a:lnTo>
                      <a:lnTo>
                        <a:pt x="109" y="213"/>
                      </a:lnTo>
                      <a:lnTo>
                        <a:pt x="98" y="218"/>
                      </a:lnTo>
                      <a:lnTo>
                        <a:pt x="98" y="221"/>
                      </a:lnTo>
                      <a:lnTo>
                        <a:pt x="102" y="226"/>
                      </a:lnTo>
                      <a:lnTo>
                        <a:pt x="100" y="231"/>
                      </a:lnTo>
                      <a:lnTo>
                        <a:pt x="96" y="228"/>
                      </a:lnTo>
                      <a:lnTo>
                        <a:pt x="96" y="233"/>
                      </a:lnTo>
                      <a:lnTo>
                        <a:pt x="102" y="241"/>
                      </a:lnTo>
                      <a:lnTo>
                        <a:pt x="107" y="247"/>
                      </a:lnTo>
                      <a:lnTo>
                        <a:pt x="109" y="253"/>
                      </a:lnTo>
                      <a:lnTo>
                        <a:pt x="116" y="258"/>
                      </a:lnTo>
                      <a:lnTo>
                        <a:pt x="125" y="263"/>
                      </a:lnTo>
                      <a:lnTo>
                        <a:pt x="134" y="265"/>
                      </a:lnTo>
                      <a:lnTo>
                        <a:pt x="133" y="270"/>
                      </a:lnTo>
                      <a:lnTo>
                        <a:pt x="135" y="276"/>
                      </a:lnTo>
                      <a:lnTo>
                        <a:pt x="135" y="285"/>
                      </a:lnTo>
                      <a:lnTo>
                        <a:pt x="132" y="291"/>
                      </a:lnTo>
                      <a:lnTo>
                        <a:pt x="134" y="298"/>
                      </a:lnTo>
                      <a:lnTo>
                        <a:pt x="141" y="302"/>
                      </a:lnTo>
                      <a:lnTo>
                        <a:pt x="146" y="310"/>
                      </a:lnTo>
                      <a:lnTo>
                        <a:pt x="148" y="318"/>
                      </a:lnTo>
                      <a:lnTo>
                        <a:pt x="146" y="315"/>
                      </a:lnTo>
                      <a:lnTo>
                        <a:pt x="136" y="304"/>
                      </a:lnTo>
                      <a:lnTo>
                        <a:pt x="135" y="310"/>
                      </a:lnTo>
                      <a:lnTo>
                        <a:pt x="134" y="321"/>
                      </a:lnTo>
                      <a:lnTo>
                        <a:pt x="132" y="343"/>
                      </a:lnTo>
                      <a:lnTo>
                        <a:pt x="131" y="349"/>
                      </a:lnTo>
                      <a:lnTo>
                        <a:pt x="134" y="344"/>
                      </a:lnTo>
                      <a:lnTo>
                        <a:pt x="136" y="348"/>
                      </a:lnTo>
                      <a:lnTo>
                        <a:pt x="135" y="350"/>
                      </a:lnTo>
                      <a:lnTo>
                        <a:pt x="131" y="355"/>
                      </a:lnTo>
                      <a:lnTo>
                        <a:pt x="131" y="362"/>
                      </a:lnTo>
                      <a:lnTo>
                        <a:pt x="123" y="402"/>
                      </a:lnTo>
                      <a:lnTo>
                        <a:pt x="120" y="409"/>
                      </a:lnTo>
                      <a:lnTo>
                        <a:pt x="113" y="414"/>
                      </a:lnTo>
                      <a:lnTo>
                        <a:pt x="107" y="413"/>
                      </a:lnTo>
                      <a:lnTo>
                        <a:pt x="108" y="416"/>
                      </a:lnTo>
                      <a:lnTo>
                        <a:pt x="122" y="428"/>
                      </a:lnTo>
                      <a:lnTo>
                        <a:pt x="129" y="431"/>
                      </a:lnTo>
                      <a:lnTo>
                        <a:pt x="135" y="432"/>
                      </a:lnTo>
                      <a:lnTo>
                        <a:pt x="143" y="437"/>
                      </a:lnTo>
                      <a:lnTo>
                        <a:pt x="147" y="441"/>
                      </a:lnTo>
                      <a:lnTo>
                        <a:pt x="178" y="449"/>
                      </a:lnTo>
                      <a:lnTo>
                        <a:pt x="188" y="450"/>
                      </a:lnTo>
                      <a:lnTo>
                        <a:pt x="192" y="449"/>
                      </a:lnTo>
                      <a:lnTo>
                        <a:pt x="199" y="444"/>
                      </a:lnTo>
                      <a:lnTo>
                        <a:pt x="205" y="443"/>
                      </a:lnTo>
                      <a:lnTo>
                        <a:pt x="211" y="446"/>
                      </a:lnTo>
                      <a:lnTo>
                        <a:pt x="220" y="452"/>
                      </a:lnTo>
                      <a:lnTo>
                        <a:pt x="230" y="453"/>
                      </a:lnTo>
                      <a:lnTo>
                        <a:pt x="233" y="456"/>
                      </a:lnTo>
                      <a:lnTo>
                        <a:pt x="239" y="462"/>
                      </a:lnTo>
                      <a:lnTo>
                        <a:pt x="245" y="464"/>
                      </a:lnTo>
                      <a:lnTo>
                        <a:pt x="264" y="462"/>
                      </a:lnTo>
                      <a:lnTo>
                        <a:pt x="272" y="461"/>
                      </a:lnTo>
                      <a:lnTo>
                        <a:pt x="281" y="461"/>
                      </a:lnTo>
                      <a:lnTo>
                        <a:pt x="287" y="461"/>
                      </a:lnTo>
                      <a:lnTo>
                        <a:pt x="284" y="442"/>
                      </a:lnTo>
                      <a:lnTo>
                        <a:pt x="282" y="439"/>
                      </a:lnTo>
                      <a:lnTo>
                        <a:pt x="283" y="429"/>
                      </a:lnTo>
                      <a:lnTo>
                        <a:pt x="288" y="423"/>
                      </a:lnTo>
                      <a:lnTo>
                        <a:pt x="301" y="417"/>
                      </a:lnTo>
                      <a:lnTo>
                        <a:pt x="307" y="413"/>
                      </a:lnTo>
                      <a:lnTo>
                        <a:pt x="311" y="408"/>
                      </a:lnTo>
                      <a:lnTo>
                        <a:pt x="317" y="405"/>
                      </a:lnTo>
                      <a:lnTo>
                        <a:pt x="321" y="405"/>
                      </a:lnTo>
                      <a:lnTo>
                        <a:pt x="323" y="407"/>
                      </a:lnTo>
                      <a:lnTo>
                        <a:pt x="334" y="409"/>
                      </a:lnTo>
                      <a:lnTo>
                        <a:pt x="335" y="410"/>
                      </a:lnTo>
                      <a:lnTo>
                        <a:pt x="337" y="413"/>
                      </a:lnTo>
                      <a:lnTo>
                        <a:pt x="340" y="413"/>
                      </a:lnTo>
                      <a:lnTo>
                        <a:pt x="348" y="415"/>
                      </a:lnTo>
                      <a:lnTo>
                        <a:pt x="349" y="413"/>
                      </a:lnTo>
                      <a:lnTo>
                        <a:pt x="356" y="413"/>
                      </a:lnTo>
                      <a:lnTo>
                        <a:pt x="358" y="414"/>
                      </a:lnTo>
                      <a:lnTo>
                        <a:pt x="362" y="414"/>
                      </a:lnTo>
                      <a:lnTo>
                        <a:pt x="367" y="416"/>
                      </a:lnTo>
                      <a:lnTo>
                        <a:pt x="368" y="419"/>
                      </a:lnTo>
                      <a:lnTo>
                        <a:pt x="370" y="420"/>
                      </a:lnTo>
                      <a:lnTo>
                        <a:pt x="378" y="420"/>
                      </a:lnTo>
                      <a:lnTo>
                        <a:pt x="383" y="426"/>
                      </a:lnTo>
                      <a:lnTo>
                        <a:pt x="394" y="427"/>
                      </a:lnTo>
                      <a:lnTo>
                        <a:pt x="410" y="420"/>
                      </a:lnTo>
                      <a:lnTo>
                        <a:pt x="412" y="418"/>
                      </a:lnTo>
                      <a:lnTo>
                        <a:pt x="412" y="414"/>
                      </a:lnTo>
                      <a:lnTo>
                        <a:pt x="417" y="409"/>
                      </a:lnTo>
                      <a:lnTo>
                        <a:pt x="425" y="403"/>
                      </a:lnTo>
                      <a:lnTo>
                        <a:pt x="429" y="401"/>
                      </a:lnTo>
                      <a:lnTo>
                        <a:pt x="430" y="397"/>
                      </a:lnTo>
                      <a:lnTo>
                        <a:pt x="442" y="391"/>
                      </a:lnTo>
                      <a:lnTo>
                        <a:pt x="444" y="390"/>
                      </a:lnTo>
                      <a:lnTo>
                        <a:pt x="442" y="387"/>
                      </a:lnTo>
                      <a:lnTo>
                        <a:pt x="445" y="383"/>
                      </a:lnTo>
                      <a:lnTo>
                        <a:pt x="445" y="378"/>
                      </a:lnTo>
                      <a:lnTo>
                        <a:pt x="442" y="372"/>
                      </a:lnTo>
                      <a:lnTo>
                        <a:pt x="426" y="370"/>
                      </a:lnTo>
                      <a:lnTo>
                        <a:pt x="422" y="364"/>
                      </a:lnTo>
                      <a:lnTo>
                        <a:pt x="419" y="357"/>
                      </a:lnTo>
                      <a:lnTo>
                        <a:pt x="419" y="350"/>
                      </a:lnTo>
                      <a:lnTo>
                        <a:pt x="421" y="344"/>
                      </a:lnTo>
                      <a:lnTo>
                        <a:pt x="421" y="338"/>
                      </a:lnTo>
                      <a:lnTo>
                        <a:pt x="415" y="336"/>
                      </a:lnTo>
                      <a:lnTo>
                        <a:pt x="413" y="334"/>
                      </a:lnTo>
                      <a:lnTo>
                        <a:pt x="413" y="331"/>
                      </a:lnTo>
                      <a:lnTo>
                        <a:pt x="414" y="325"/>
                      </a:lnTo>
                      <a:lnTo>
                        <a:pt x="417" y="321"/>
                      </a:lnTo>
                      <a:lnTo>
                        <a:pt x="425" y="315"/>
                      </a:lnTo>
                      <a:lnTo>
                        <a:pt x="424" y="310"/>
                      </a:lnTo>
                      <a:lnTo>
                        <a:pt x="416" y="292"/>
                      </a:lnTo>
                      <a:lnTo>
                        <a:pt x="415" y="289"/>
                      </a:lnTo>
                      <a:lnTo>
                        <a:pt x="416" y="286"/>
                      </a:lnTo>
                      <a:lnTo>
                        <a:pt x="423" y="285"/>
                      </a:lnTo>
                      <a:lnTo>
                        <a:pt x="421" y="278"/>
                      </a:lnTo>
                      <a:lnTo>
                        <a:pt x="416" y="277"/>
                      </a:lnTo>
                      <a:lnTo>
                        <a:pt x="414" y="269"/>
                      </a:lnTo>
                      <a:lnTo>
                        <a:pt x="414" y="258"/>
                      </a:lnTo>
                      <a:lnTo>
                        <a:pt x="412" y="257"/>
                      </a:lnTo>
                      <a:lnTo>
                        <a:pt x="401" y="257"/>
                      </a:lnTo>
                      <a:lnTo>
                        <a:pt x="393" y="268"/>
                      </a:lnTo>
                      <a:lnTo>
                        <a:pt x="389" y="271"/>
                      </a:lnTo>
                      <a:lnTo>
                        <a:pt x="387" y="269"/>
                      </a:lnTo>
                      <a:lnTo>
                        <a:pt x="388" y="255"/>
                      </a:lnTo>
                      <a:lnTo>
                        <a:pt x="390" y="246"/>
                      </a:lnTo>
                      <a:lnTo>
                        <a:pt x="392" y="244"/>
                      </a:lnTo>
                      <a:lnTo>
                        <a:pt x="395" y="240"/>
                      </a:lnTo>
                      <a:lnTo>
                        <a:pt x="400" y="237"/>
                      </a:lnTo>
                      <a:lnTo>
                        <a:pt x="401" y="235"/>
                      </a:lnTo>
                      <a:lnTo>
                        <a:pt x="402" y="229"/>
                      </a:lnTo>
                      <a:lnTo>
                        <a:pt x="406" y="222"/>
                      </a:lnTo>
                      <a:lnTo>
                        <a:pt x="422" y="206"/>
                      </a:lnTo>
                      <a:lnTo>
                        <a:pt x="419" y="202"/>
                      </a:lnTo>
                      <a:lnTo>
                        <a:pt x="422" y="198"/>
                      </a:lnTo>
                      <a:lnTo>
                        <a:pt x="434" y="199"/>
                      </a:lnTo>
                      <a:lnTo>
                        <a:pt x="438" y="197"/>
                      </a:lnTo>
                      <a:lnTo>
                        <a:pt x="442" y="193"/>
                      </a:lnTo>
                      <a:lnTo>
                        <a:pt x="441" y="190"/>
                      </a:lnTo>
                      <a:lnTo>
                        <a:pt x="440" y="185"/>
                      </a:lnTo>
                      <a:lnTo>
                        <a:pt x="441" y="166"/>
                      </a:lnTo>
                      <a:lnTo>
                        <a:pt x="446" y="150"/>
                      </a:lnTo>
                      <a:lnTo>
                        <a:pt x="448" y="142"/>
                      </a:lnTo>
                      <a:lnTo>
                        <a:pt x="459" y="127"/>
                      </a:lnTo>
                      <a:lnTo>
                        <a:pt x="461" y="119"/>
                      </a:lnTo>
                      <a:lnTo>
                        <a:pt x="452" y="115"/>
                      </a:lnTo>
                      <a:lnTo>
                        <a:pt x="425" y="107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</a:bodyPr>
                <a:lstStyle>
                  <a:defPPr>
                    <a:defRPr lang="es-E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35" name="Norway" descr="{&quot;Key&quot;:&quot;norway&quot;,&quot;Name&quot;:&quot;Norway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366D6410-784E-FE3E-0558-256F8986A3C2}"/>
                  </a:ext>
                </a:extLst>
              </p:cNvPr>
              <p:cNvSpPr>
                <a:spLocks/>
              </p:cNvSpPr>
              <p:nvPr/>
            </p:nvSpPr>
            <p:spPr bwMode="auto">
              <a:xfrm rot="21240000">
                <a:off x="6232129" y="5210641"/>
                <a:ext cx="1489090" cy="1623013"/>
              </a:xfrm>
              <a:custGeom>
                <a:avLst/>
                <a:gdLst>
                  <a:gd name="T0" fmla="*/ 903 w 945"/>
                  <a:gd name="T1" fmla="*/ 44 h 1030"/>
                  <a:gd name="T2" fmla="*/ 863 w 945"/>
                  <a:gd name="T3" fmla="*/ 2 h 1030"/>
                  <a:gd name="T4" fmla="*/ 664 w 945"/>
                  <a:gd name="T5" fmla="*/ 25 h 1030"/>
                  <a:gd name="T6" fmla="*/ 627 w 945"/>
                  <a:gd name="T7" fmla="*/ 2 h 1030"/>
                  <a:gd name="T8" fmla="*/ 619 w 945"/>
                  <a:gd name="T9" fmla="*/ 52 h 1030"/>
                  <a:gd name="T10" fmla="*/ 573 w 945"/>
                  <a:gd name="T11" fmla="*/ 38 h 1030"/>
                  <a:gd name="T12" fmla="*/ 550 w 945"/>
                  <a:gd name="T13" fmla="*/ 32 h 1030"/>
                  <a:gd name="T14" fmla="*/ 527 w 945"/>
                  <a:gd name="T15" fmla="*/ 102 h 1030"/>
                  <a:gd name="T16" fmla="*/ 483 w 945"/>
                  <a:gd name="T17" fmla="*/ 91 h 1030"/>
                  <a:gd name="T18" fmla="*/ 465 w 945"/>
                  <a:gd name="T19" fmla="*/ 133 h 1030"/>
                  <a:gd name="T20" fmla="*/ 425 w 945"/>
                  <a:gd name="T21" fmla="*/ 167 h 1030"/>
                  <a:gd name="T22" fmla="*/ 438 w 945"/>
                  <a:gd name="T23" fmla="*/ 188 h 1030"/>
                  <a:gd name="T24" fmla="*/ 405 w 945"/>
                  <a:gd name="T25" fmla="*/ 232 h 1030"/>
                  <a:gd name="T26" fmla="*/ 382 w 945"/>
                  <a:gd name="T27" fmla="*/ 247 h 1030"/>
                  <a:gd name="T28" fmla="*/ 364 w 945"/>
                  <a:gd name="T29" fmla="*/ 264 h 1030"/>
                  <a:gd name="T30" fmla="*/ 322 w 945"/>
                  <a:gd name="T31" fmla="*/ 319 h 1030"/>
                  <a:gd name="T32" fmla="*/ 298 w 945"/>
                  <a:gd name="T33" fmla="*/ 363 h 1030"/>
                  <a:gd name="T34" fmla="*/ 280 w 945"/>
                  <a:gd name="T35" fmla="*/ 413 h 1030"/>
                  <a:gd name="T36" fmla="*/ 273 w 945"/>
                  <a:gd name="T37" fmla="*/ 440 h 1030"/>
                  <a:gd name="T38" fmla="*/ 268 w 945"/>
                  <a:gd name="T39" fmla="*/ 465 h 1030"/>
                  <a:gd name="T40" fmla="*/ 231 w 945"/>
                  <a:gd name="T41" fmla="*/ 515 h 1030"/>
                  <a:gd name="T42" fmla="*/ 202 w 945"/>
                  <a:gd name="T43" fmla="*/ 549 h 1030"/>
                  <a:gd name="T44" fmla="*/ 213 w 945"/>
                  <a:gd name="T45" fmla="*/ 600 h 1030"/>
                  <a:gd name="T46" fmla="*/ 188 w 945"/>
                  <a:gd name="T47" fmla="*/ 625 h 1030"/>
                  <a:gd name="T48" fmla="*/ 162 w 945"/>
                  <a:gd name="T49" fmla="*/ 629 h 1030"/>
                  <a:gd name="T50" fmla="*/ 116 w 945"/>
                  <a:gd name="T51" fmla="*/ 639 h 1030"/>
                  <a:gd name="T52" fmla="*/ 78 w 945"/>
                  <a:gd name="T53" fmla="*/ 678 h 1030"/>
                  <a:gd name="T54" fmla="*/ 54 w 945"/>
                  <a:gd name="T55" fmla="*/ 695 h 1030"/>
                  <a:gd name="T56" fmla="*/ 50 w 945"/>
                  <a:gd name="T57" fmla="*/ 713 h 1030"/>
                  <a:gd name="T58" fmla="*/ 6 w 945"/>
                  <a:gd name="T59" fmla="*/ 731 h 1030"/>
                  <a:gd name="T60" fmla="*/ 24 w 945"/>
                  <a:gd name="T61" fmla="*/ 755 h 1030"/>
                  <a:gd name="T62" fmla="*/ 5 w 945"/>
                  <a:gd name="T63" fmla="*/ 792 h 1030"/>
                  <a:gd name="T64" fmla="*/ 58 w 945"/>
                  <a:gd name="T65" fmla="*/ 803 h 1030"/>
                  <a:gd name="T66" fmla="*/ 97 w 945"/>
                  <a:gd name="T67" fmla="*/ 798 h 1030"/>
                  <a:gd name="T68" fmla="*/ 26 w 945"/>
                  <a:gd name="T69" fmla="*/ 811 h 1030"/>
                  <a:gd name="T70" fmla="*/ 7 w 945"/>
                  <a:gd name="T71" fmla="*/ 847 h 1030"/>
                  <a:gd name="T72" fmla="*/ 21 w 945"/>
                  <a:gd name="T73" fmla="*/ 870 h 1030"/>
                  <a:gd name="T74" fmla="*/ 55 w 945"/>
                  <a:gd name="T75" fmla="*/ 845 h 1030"/>
                  <a:gd name="T76" fmla="*/ 47 w 945"/>
                  <a:gd name="T77" fmla="*/ 880 h 1030"/>
                  <a:gd name="T78" fmla="*/ 12 w 945"/>
                  <a:gd name="T79" fmla="*/ 923 h 1030"/>
                  <a:gd name="T80" fmla="*/ 45 w 945"/>
                  <a:gd name="T81" fmla="*/ 924 h 1030"/>
                  <a:gd name="T82" fmla="*/ 22 w 945"/>
                  <a:gd name="T83" fmla="*/ 962 h 1030"/>
                  <a:gd name="T84" fmla="*/ 78 w 945"/>
                  <a:gd name="T85" fmla="*/ 1026 h 1030"/>
                  <a:gd name="T86" fmla="*/ 165 w 945"/>
                  <a:gd name="T87" fmla="*/ 956 h 1030"/>
                  <a:gd name="T88" fmla="*/ 192 w 945"/>
                  <a:gd name="T89" fmla="*/ 914 h 1030"/>
                  <a:gd name="T90" fmla="*/ 201 w 945"/>
                  <a:gd name="T91" fmla="*/ 912 h 1030"/>
                  <a:gd name="T92" fmla="*/ 242 w 945"/>
                  <a:gd name="T93" fmla="*/ 940 h 1030"/>
                  <a:gd name="T94" fmla="*/ 270 w 945"/>
                  <a:gd name="T95" fmla="*/ 810 h 1030"/>
                  <a:gd name="T96" fmla="*/ 259 w 945"/>
                  <a:gd name="T97" fmla="*/ 669 h 1030"/>
                  <a:gd name="T98" fmla="*/ 331 w 945"/>
                  <a:gd name="T99" fmla="*/ 570 h 1030"/>
                  <a:gd name="T100" fmla="*/ 360 w 945"/>
                  <a:gd name="T101" fmla="*/ 399 h 1030"/>
                  <a:gd name="T102" fmla="*/ 417 w 945"/>
                  <a:gd name="T103" fmla="*/ 262 h 1030"/>
                  <a:gd name="T104" fmla="*/ 478 w 945"/>
                  <a:gd name="T105" fmla="*/ 180 h 1030"/>
                  <a:gd name="T106" fmla="*/ 554 w 945"/>
                  <a:gd name="T107" fmla="*/ 136 h 1030"/>
                  <a:gd name="T108" fmla="*/ 602 w 945"/>
                  <a:gd name="T109" fmla="*/ 94 h 1030"/>
                  <a:gd name="T110" fmla="*/ 714 w 945"/>
                  <a:gd name="T111" fmla="*/ 157 h 1030"/>
                  <a:gd name="T112" fmla="*/ 824 w 945"/>
                  <a:gd name="T113" fmla="*/ 17 h 1030"/>
                  <a:gd name="T114" fmla="*/ 880 w 945"/>
                  <a:gd name="T115" fmla="*/ 117 h 1030"/>
                  <a:gd name="T116" fmla="*/ 943 w 945"/>
                  <a:gd name="T117" fmla="*/ 45 h 10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45" h="1030">
                    <a:moveTo>
                      <a:pt x="928" y="42"/>
                    </a:moveTo>
                    <a:lnTo>
                      <a:pt x="927" y="56"/>
                    </a:lnTo>
                    <a:lnTo>
                      <a:pt x="923" y="56"/>
                    </a:lnTo>
                    <a:lnTo>
                      <a:pt x="923" y="54"/>
                    </a:lnTo>
                    <a:lnTo>
                      <a:pt x="917" y="52"/>
                    </a:lnTo>
                    <a:lnTo>
                      <a:pt x="915" y="48"/>
                    </a:lnTo>
                    <a:lnTo>
                      <a:pt x="915" y="56"/>
                    </a:lnTo>
                    <a:lnTo>
                      <a:pt x="914" y="57"/>
                    </a:lnTo>
                    <a:lnTo>
                      <a:pt x="910" y="51"/>
                    </a:lnTo>
                    <a:lnTo>
                      <a:pt x="902" y="52"/>
                    </a:lnTo>
                    <a:lnTo>
                      <a:pt x="895" y="56"/>
                    </a:lnTo>
                    <a:lnTo>
                      <a:pt x="897" y="49"/>
                    </a:lnTo>
                    <a:lnTo>
                      <a:pt x="903" y="44"/>
                    </a:lnTo>
                    <a:lnTo>
                      <a:pt x="907" y="43"/>
                    </a:lnTo>
                    <a:lnTo>
                      <a:pt x="909" y="39"/>
                    </a:lnTo>
                    <a:lnTo>
                      <a:pt x="908" y="35"/>
                    </a:lnTo>
                    <a:lnTo>
                      <a:pt x="905" y="31"/>
                    </a:lnTo>
                    <a:lnTo>
                      <a:pt x="891" y="32"/>
                    </a:lnTo>
                    <a:lnTo>
                      <a:pt x="894" y="28"/>
                    </a:lnTo>
                    <a:lnTo>
                      <a:pt x="889" y="25"/>
                    </a:lnTo>
                    <a:lnTo>
                      <a:pt x="881" y="20"/>
                    </a:lnTo>
                    <a:lnTo>
                      <a:pt x="874" y="12"/>
                    </a:lnTo>
                    <a:lnTo>
                      <a:pt x="864" y="10"/>
                    </a:lnTo>
                    <a:lnTo>
                      <a:pt x="862" y="7"/>
                    </a:lnTo>
                    <a:lnTo>
                      <a:pt x="863" y="4"/>
                    </a:lnTo>
                    <a:lnTo>
                      <a:pt x="863" y="2"/>
                    </a:lnTo>
                    <a:lnTo>
                      <a:pt x="878" y="7"/>
                    </a:lnTo>
                    <a:lnTo>
                      <a:pt x="911" y="12"/>
                    </a:lnTo>
                    <a:lnTo>
                      <a:pt x="926" y="0"/>
                    </a:lnTo>
                    <a:lnTo>
                      <a:pt x="740" y="0"/>
                    </a:lnTo>
                    <a:lnTo>
                      <a:pt x="731" y="14"/>
                    </a:lnTo>
                    <a:lnTo>
                      <a:pt x="726" y="17"/>
                    </a:lnTo>
                    <a:lnTo>
                      <a:pt x="726" y="8"/>
                    </a:lnTo>
                    <a:lnTo>
                      <a:pt x="726" y="0"/>
                    </a:lnTo>
                    <a:lnTo>
                      <a:pt x="665" y="0"/>
                    </a:lnTo>
                    <a:lnTo>
                      <a:pt x="665" y="3"/>
                    </a:lnTo>
                    <a:lnTo>
                      <a:pt x="667" y="7"/>
                    </a:lnTo>
                    <a:lnTo>
                      <a:pt x="665" y="15"/>
                    </a:lnTo>
                    <a:lnTo>
                      <a:pt x="664" y="25"/>
                    </a:lnTo>
                    <a:lnTo>
                      <a:pt x="659" y="25"/>
                    </a:lnTo>
                    <a:lnTo>
                      <a:pt x="656" y="21"/>
                    </a:lnTo>
                    <a:lnTo>
                      <a:pt x="656" y="15"/>
                    </a:lnTo>
                    <a:lnTo>
                      <a:pt x="659" y="12"/>
                    </a:lnTo>
                    <a:lnTo>
                      <a:pt x="650" y="10"/>
                    </a:lnTo>
                    <a:lnTo>
                      <a:pt x="655" y="3"/>
                    </a:lnTo>
                    <a:lnTo>
                      <a:pt x="653" y="2"/>
                    </a:lnTo>
                    <a:lnTo>
                      <a:pt x="646" y="0"/>
                    </a:lnTo>
                    <a:lnTo>
                      <a:pt x="634" y="0"/>
                    </a:lnTo>
                    <a:lnTo>
                      <a:pt x="636" y="7"/>
                    </a:lnTo>
                    <a:lnTo>
                      <a:pt x="633" y="8"/>
                    </a:lnTo>
                    <a:lnTo>
                      <a:pt x="627" y="7"/>
                    </a:lnTo>
                    <a:lnTo>
                      <a:pt x="627" y="2"/>
                    </a:lnTo>
                    <a:lnTo>
                      <a:pt x="627" y="0"/>
                    </a:lnTo>
                    <a:lnTo>
                      <a:pt x="613" y="0"/>
                    </a:lnTo>
                    <a:lnTo>
                      <a:pt x="612" y="6"/>
                    </a:lnTo>
                    <a:lnTo>
                      <a:pt x="610" y="0"/>
                    </a:lnTo>
                    <a:lnTo>
                      <a:pt x="603" y="0"/>
                    </a:lnTo>
                    <a:lnTo>
                      <a:pt x="603" y="7"/>
                    </a:lnTo>
                    <a:lnTo>
                      <a:pt x="614" y="14"/>
                    </a:lnTo>
                    <a:lnTo>
                      <a:pt x="618" y="14"/>
                    </a:lnTo>
                    <a:lnTo>
                      <a:pt x="618" y="21"/>
                    </a:lnTo>
                    <a:lnTo>
                      <a:pt x="617" y="28"/>
                    </a:lnTo>
                    <a:lnTo>
                      <a:pt x="617" y="34"/>
                    </a:lnTo>
                    <a:lnTo>
                      <a:pt x="619" y="42"/>
                    </a:lnTo>
                    <a:lnTo>
                      <a:pt x="619" y="52"/>
                    </a:lnTo>
                    <a:lnTo>
                      <a:pt x="615" y="48"/>
                    </a:lnTo>
                    <a:lnTo>
                      <a:pt x="603" y="29"/>
                    </a:lnTo>
                    <a:lnTo>
                      <a:pt x="593" y="19"/>
                    </a:lnTo>
                    <a:lnTo>
                      <a:pt x="595" y="32"/>
                    </a:lnTo>
                    <a:lnTo>
                      <a:pt x="591" y="31"/>
                    </a:lnTo>
                    <a:lnTo>
                      <a:pt x="590" y="39"/>
                    </a:lnTo>
                    <a:lnTo>
                      <a:pt x="586" y="38"/>
                    </a:lnTo>
                    <a:lnTo>
                      <a:pt x="583" y="43"/>
                    </a:lnTo>
                    <a:lnTo>
                      <a:pt x="581" y="41"/>
                    </a:lnTo>
                    <a:lnTo>
                      <a:pt x="581" y="37"/>
                    </a:lnTo>
                    <a:lnTo>
                      <a:pt x="583" y="29"/>
                    </a:lnTo>
                    <a:lnTo>
                      <a:pt x="578" y="32"/>
                    </a:lnTo>
                    <a:lnTo>
                      <a:pt x="573" y="38"/>
                    </a:lnTo>
                    <a:lnTo>
                      <a:pt x="571" y="46"/>
                    </a:lnTo>
                    <a:lnTo>
                      <a:pt x="567" y="48"/>
                    </a:lnTo>
                    <a:lnTo>
                      <a:pt x="569" y="58"/>
                    </a:lnTo>
                    <a:lnTo>
                      <a:pt x="570" y="63"/>
                    </a:lnTo>
                    <a:lnTo>
                      <a:pt x="559" y="72"/>
                    </a:lnTo>
                    <a:lnTo>
                      <a:pt x="555" y="85"/>
                    </a:lnTo>
                    <a:lnTo>
                      <a:pt x="549" y="91"/>
                    </a:lnTo>
                    <a:lnTo>
                      <a:pt x="557" y="77"/>
                    </a:lnTo>
                    <a:lnTo>
                      <a:pt x="558" y="69"/>
                    </a:lnTo>
                    <a:lnTo>
                      <a:pt x="558" y="54"/>
                    </a:lnTo>
                    <a:lnTo>
                      <a:pt x="559" y="42"/>
                    </a:lnTo>
                    <a:lnTo>
                      <a:pt x="558" y="29"/>
                    </a:lnTo>
                    <a:lnTo>
                      <a:pt x="550" y="32"/>
                    </a:lnTo>
                    <a:lnTo>
                      <a:pt x="546" y="41"/>
                    </a:lnTo>
                    <a:lnTo>
                      <a:pt x="540" y="50"/>
                    </a:lnTo>
                    <a:lnTo>
                      <a:pt x="537" y="66"/>
                    </a:lnTo>
                    <a:lnTo>
                      <a:pt x="534" y="79"/>
                    </a:lnTo>
                    <a:lnTo>
                      <a:pt x="534" y="44"/>
                    </a:lnTo>
                    <a:lnTo>
                      <a:pt x="516" y="46"/>
                    </a:lnTo>
                    <a:lnTo>
                      <a:pt x="511" y="58"/>
                    </a:lnTo>
                    <a:lnTo>
                      <a:pt x="510" y="62"/>
                    </a:lnTo>
                    <a:lnTo>
                      <a:pt x="512" y="75"/>
                    </a:lnTo>
                    <a:lnTo>
                      <a:pt x="517" y="85"/>
                    </a:lnTo>
                    <a:lnTo>
                      <a:pt x="524" y="87"/>
                    </a:lnTo>
                    <a:lnTo>
                      <a:pt x="528" y="96"/>
                    </a:lnTo>
                    <a:lnTo>
                      <a:pt x="527" y="102"/>
                    </a:lnTo>
                    <a:lnTo>
                      <a:pt x="522" y="101"/>
                    </a:lnTo>
                    <a:lnTo>
                      <a:pt x="517" y="91"/>
                    </a:lnTo>
                    <a:lnTo>
                      <a:pt x="511" y="86"/>
                    </a:lnTo>
                    <a:lnTo>
                      <a:pt x="504" y="76"/>
                    </a:lnTo>
                    <a:lnTo>
                      <a:pt x="500" y="69"/>
                    </a:lnTo>
                    <a:lnTo>
                      <a:pt x="491" y="72"/>
                    </a:lnTo>
                    <a:lnTo>
                      <a:pt x="495" y="83"/>
                    </a:lnTo>
                    <a:lnTo>
                      <a:pt x="504" y="91"/>
                    </a:lnTo>
                    <a:lnTo>
                      <a:pt x="499" y="97"/>
                    </a:lnTo>
                    <a:lnTo>
                      <a:pt x="493" y="92"/>
                    </a:lnTo>
                    <a:lnTo>
                      <a:pt x="490" y="97"/>
                    </a:lnTo>
                    <a:lnTo>
                      <a:pt x="489" y="88"/>
                    </a:lnTo>
                    <a:lnTo>
                      <a:pt x="483" y="91"/>
                    </a:lnTo>
                    <a:lnTo>
                      <a:pt x="483" y="88"/>
                    </a:lnTo>
                    <a:lnTo>
                      <a:pt x="484" y="79"/>
                    </a:lnTo>
                    <a:lnTo>
                      <a:pt x="481" y="75"/>
                    </a:lnTo>
                    <a:lnTo>
                      <a:pt x="479" y="79"/>
                    </a:lnTo>
                    <a:lnTo>
                      <a:pt x="474" y="95"/>
                    </a:lnTo>
                    <a:lnTo>
                      <a:pt x="476" y="101"/>
                    </a:lnTo>
                    <a:lnTo>
                      <a:pt x="479" y="106"/>
                    </a:lnTo>
                    <a:lnTo>
                      <a:pt x="464" y="114"/>
                    </a:lnTo>
                    <a:lnTo>
                      <a:pt x="459" y="118"/>
                    </a:lnTo>
                    <a:lnTo>
                      <a:pt x="458" y="123"/>
                    </a:lnTo>
                    <a:lnTo>
                      <a:pt x="457" y="130"/>
                    </a:lnTo>
                    <a:lnTo>
                      <a:pt x="458" y="135"/>
                    </a:lnTo>
                    <a:lnTo>
                      <a:pt x="465" y="133"/>
                    </a:lnTo>
                    <a:lnTo>
                      <a:pt x="468" y="138"/>
                    </a:lnTo>
                    <a:lnTo>
                      <a:pt x="460" y="138"/>
                    </a:lnTo>
                    <a:lnTo>
                      <a:pt x="462" y="145"/>
                    </a:lnTo>
                    <a:lnTo>
                      <a:pt x="462" y="149"/>
                    </a:lnTo>
                    <a:lnTo>
                      <a:pt x="455" y="146"/>
                    </a:lnTo>
                    <a:lnTo>
                      <a:pt x="451" y="147"/>
                    </a:lnTo>
                    <a:lnTo>
                      <a:pt x="456" y="153"/>
                    </a:lnTo>
                    <a:lnTo>
                      <a:pt x="453" y="157"/>
                    </a:lnTo>
                    <a:lnTo>
                      <a:pt x="445" y="154"/>
                    </a:lnTo>
                    <a:lnTo>
                      <a:pt x="444" y="158"/>
                    </a:lnTo>
                    <a:lnTo>
                      <a:pt x="438" y="157"/>
                    </a:lnTo>
                    <a:lnTo>
                      <a:pt x="427" y="161"/>
                    </a:lnTo>
                    <a:lnTo>
                      <a:pt x="425" y="167"/>
                    </a:lnTo>
                    <a:lnTo>
                      <a:pt x="421" y="169"/>
                    </a:lnTo>
                    <a:lnTo>
                      <a:pt x="420" y="172"/>
                    </a:lnTo>
                    <a:lnTo>
                      <a:pt x="426" y="177"/>
                    </a:lnTo>
                    <a:lnTo>
                      <a:pt x="433" y="175"/>
                    </a:lnTo>
                    <a:lnTo>
                      <a:pt x="436" y="170"/>
                    </a:lnTo>
                    <a:lnTo>
                      <a:pt x="447" y="177"/>
                    </a:lnTo>
                    <a:lnTo>
                      <a:pt x="455" y="171"/>
                    </a:lnTo>
                    <a:lnTo>
                      <a:pt x="457" y="173"/>
                    </a:lnTo>
                    <a:lnTo>
                      <a:pt x="459" y="179"/>
                    </a:lnTo>
                    <a:lnTo>
                      <a:pt x="453" y="179"/>
                    </a:lnTo>
                    <a:lnTo>
                      <a:pt x="449" y="184"/>
                    </a:lnTo>
                    <a:lnTo>
                      <a:pt x="448" y="193"/>
                    </a:lnTo>
                    <a:lnTo>
                      <a:pt x="438" y="188"/>
                    </a:lnTo>
                    <a:lnTo>
                      <a:pt x="431" y="188"/>
                    </a:lnTo>
                    <a:lnTo>
                      <a:pt x="429" y="183"/>
                    </a:lnTo>
                    <a:lnTo>
                      <a:pt x="421" y="181"/>
                    </a:lnTo>
                    <a:lnTo>
                      <a:pt x="412" y="188"/>
                    </a:lnTo>
                    <a:lnTo>
                      <a:pt x="410" y="192"/>
                    </a:lnTo>
                    <a:lnTo>
                      <a:pt x="415" y="203"/>
                    </a:lnTo>
                    <a:lnTo>
                      <a:pt x="416" y="209"/>
                    </a:lnTo>
                    <a:lnTo>
                      <a:pt x="412" y="209"/>
                    </a:lnTo>
                    <a:lnTo>
                      <a:pt x="415" y="217"/>
                    </a:lnTo>
                    <a:lnTo>
                      <a:pt x="415" y="225"/>
                    </a:lnTo>
                    <a:lnTo>
                      <a:pt x="411" y="223"/>
                    </a:lnTo>
                    <a:lnTo>
                      <a:pt x="411" y="230"/>
                    </a:lnTo>
                    <a:lnTo>
                      <a:pt x="405" y="232"/>
                    </a:lnTo>
                    <a:lnTo>
                      <a:pt x="402" y="206"/>
                    </a:lnTo>
                    <a:lnTo>
                      <a:pt x="397" y="207"/>
                    </a:lnTo>
                    <a:lnTo>
                      <a:pt x="394" y="216"/>
                    </a:lnTo>
                    <a:lnTo>
                      <a:pt x="390" y="214"/>
                    </a:lnTo>
                    <a:lnTo>
                      <a:pt x="388" y="217"/>
                    </a:lnTo>
                    <a:lnTo>
                      <a:pt x="394" y="221"/>
                    </a:lnTo>
                    <a:lnTo>
                      <a:pt x="393" y="223"/>
                    </a:lnTo>
                    <a:lnTo>
                      <a:pt x="388" y="224"/>
                    </a:lnTo>
                    <a:lnTo>
                      <a:pt x="382" y="227"/>
                    </a:lnTo>
                    <a:lnTo>
                      <a:pt x="381" y="234"/>
                    </a:lnTo>
                    <a:lnTo>
                      <a:pt x="381" y="240"/>
                    </a:lnTo>
                    <a:lnTo>
                      <a:pt x="388" y="245"/>
                    </a:lnTo>
                    <a:lnTo>
                      <a:pt x="382" y="247"/>
                    </a:lnTo>
                    <a:lnTo>
                      <a:pt x="386" y="250"/>
                    </a:lnTo>
                    <a:lnTo>
                      <a:pt x="382" y="252"/>
                    </a:lnTo>
                    <a:lnTo>
                      <a:pt x="379" y="260"/>
                    </a:lnTo>
                    <a:lnTo>
                      <a:pt x="377" y="262"/>
                    </a:lnTo>
                    <a:lnTo>
                      <a:pt x="372" y="261"/>
                    </a:lnTo>
                    <a:lnTo>
                      <a:pt x="374" y="264"/>
                    </a:lnTo>
                    <a:lnTo>
                      <a:pt x="380" y="267"/>
                    </a:lnTo>
                    <a:lnTo>
                      <a:pt x="393" y="262"/>
                    </a:lnTo>
                    <a:lnTo>
                      <a:pt x="384" y="272"/>
                    </a:lnTo>
                    <a:lnTo>
                      <a:pt x="380" y="275"/>
                    </a:lnTo>
                    <a:lnTo>
                      <a:pt x="368" y="272"/>
                    </a:lnTo>
                    <a:lnTo>
                      <a:pt x="365" y="269"/>
                    </a:lnTo>
                    <a:lnTo>
                      <a:pt x="364" y="264"/>
                    </a:lnTo>
                    <a:lnTo>
                      <a:pt x="359" y="265"/>
                    </a:lnTo>
                    <a:lnTo>
                      <a:pt x="352" y="272"/>
                    </a:lnTo>
                    <a:lnTo>
                      <a:pt x="348" y="283"/>
                    </a:lnTo>
                    <a:lnTo>
                      <a:pt x="342" y="288"/>
                    </a:lnTo>
                    <a:lnTo>
                      <a:pt x="342" y="294"/>
                    </a:lnTo>
                    <a:lnTo>
                      <a:pt x="346" y="294"/>
                    </a:lnTo>
                    <a:lnTo>
                      <a:pt x="345" y="299"/>
                    </a:lnTo>
                    <a:lnTo>
                      <a:pt x="344" y="303"/>
                    </a:lnTo>
                    <a:lnTo>
                      <a:pt x="338" y="305"/>
                    </a:lnTo>
                    <a:lnTo>
                      <a:pt x="335" y="317"/>
                    </a:lnTo>
                    <a:lnTo>
                      <a:pt x="331" y="316"/>
                    </a:lnTo>
                    <a:lnTo>
                      <a:pt x="326" y="318"/>
                    </a:lnTo>
                    <a:lnTo>
                      <a:pt x="322" y="319"/>
                    </a:lnTo>
                    <a:lnTo>
                      <a:pt x="316" y="327"/>
                    </a:lnTo>
                    <a:lnTo>
                      <a:pt x="321" y="333"/>
                    </a:lnTo>
                    <a:lnTo>
                      <a:pt x="319" y="337"/>
                    </a:lnTo>
                    <a:lnTo>
                      <a:pt x="311" y="338"/>
                    </a:lnTo>
                    <a:lnTo>
                      <a:pt x="311" y="343"/>
                    </a:lnTo>
                    <a:lnTo>
                      <a:pt x="303" y="344"/>
                    </a:lnTo>
                    <a:lnTo>
                      <a:pt x="305" y="349"/>
                    </a:lnTo>
                    <a:lnTo>
                      <a:pt x="302" y="351"/>
                    </a:lnTo>
                    <a:lnTo>
                      <a:pt x="301" y="356"/>
                    </a:lnTo>
                    <a:lnTo>
                      <a:pt x="310" y="359"/>
                    </a:lnTo>
                    <a:lnTo>
                      <a:pt x="308" y="363"/>
                    </a:lnTo>
                    <a:lnTo>
                      <a:pt x="302" y="366"/>
                    </a:lnTo>
                    <a:lnTo>
                      <a:pt x="298" y="363"/>
                    </a:lnTo>
                    <a:lnTo>
                      <a:pt x="298" y="364"/>
                    </a:lnTo>
                    <a:lnTo>
                      <a:pt x="298" y="374"/>
                    </a:lnTo>
                    <a:lnTo>
                      <a:pt x="302" y="379"/>
                    </a:lnTo>
                    <a:lnTo>
                      <a:pt x="305" y="375"/>
                    </a:lnTo>
                    <a:lnTo>
                      <a:pt x="308" y="377"/>
                    </a:lnTo>
                    <a:lnTo>
                      <a:pt x="307" y="384"/>
                    </a:lnTo>
                    <a:lnTo>
                      <a:pt x="293" y="386"/>
                    </a:lnTo>
                    <a:lnTo>
                      <a:pt x="290" y="388"/>
                    </a:lnTo>
                    <a:lnTo>
                      <a:pt x="289" y="398"/>
                    </a:lnTo>
                    <a:lnTo>
                      <a:pt x="283" y="402"/>
                    </a:lnTo>
                    <a:lnTo>
                      <a:pt x="278" y="405"/>
                    </a:lnTo>
                    <a:lnTo>
                      <a:pt x="275" y="413"/>
                    </a:lnTo>
                    <a:lnTo>
                      <a:pt x="280" y="413"/>
                    </a:lnTo>
                    <a:lnTo>
                      <a:pt x="286" y="407"/>
                    </a:lnTo>
                    <a:lnTo>
                      <a:pt x="292" y="405"/>
                    </a:lnTo>
                    <a:lnTo>
                      <a:pt x="292" y="410"/>
                    </a:lnTo>
                    <a:lnTo>
                      <a:pt x="297" y="419"/>
                    </a:lnTo>
                    <a:lnTo>
                      <a:pt x="283" y="414"/>
                    </a:lnTo>
                    <a:lnTo>
                      <a:pt x="282" y="421"/>
                    </a:lnTo>
                    <a:lnTo>
                      <a:pt x="286" y="423"/>
                    </a:lnTo>
                    <a:lnTo>
                      <a:pt x="281" y="426"/>
                    </a:lnTo>
                    <a:lnTo>
                      <a:pt x="279" y="431"/>
                    </a:lnTo>
                    <a:lnTo>
                      <a:pt x="281" y="436"/>
                    </a:lnTo>
                    <a:lnTo>
                      <a:pt x="279" y="437"/>
                    </a:lnTo>
                    <a:lnTo>
                      <a:pt x="275" y="435"/>
                    </a:lnTo>
                    <a:lnTo>
                      <a:pt x="273" y="440"/>
                    </a:lnTo>
                    <a:lnTo>
                      <a:pt x="274" y="446"/>
                    </a:lnTo>
                    <a:lnTo>
                      <a:pt x="278" y="449"/>
                    </a:lnTo>
                    <a:lnTo>
                      <a:pt x="279" y="463"/>
                    </a:lnTo>
                    <a:lnTo>
                      <a:pt x="275" y="457"/>
                    </a:lnTo>
                    <a:lnTo>
                      <a:pt x="270" y="455"/>
                    </a:lnTo>
                    <a:lnTo>
                      <a:pt x="266" y="447"/>
                    </a:lnTo>
                    <a:lnTo>
                      <a:pt x="267" y="458"/>
                    </a:lnTo>
                    <a:lnTo>
                      <a:pt x="265" y="462"/>
                    </a:lnTo>
                    <a:lnTo>
                      <a:pt x="260" y="464"/>
                    </a:lnTo>
                    <a:lnTo>
                      <a:pt x="258" y="470"/>
                    </a:lnTo>
                    <a:lnTo>
                      <a:pt x="262" y="472"/>
                    </a:lnTo>
                    <a:lnTo>
                      <a:pt x="265" y="470"/>
                    </a:lnTo>
                    <a:lnTo>
                      <a:pt x="268" y="465"/>
                    </a:lnTo>
                    <a:lnTo>
                      <a:pt x="269" y="467"/>
                    </a:lnTo>
                    <a:lnTo>
                      <a:pt x="268" y="470"/>
                    </a:lnTo>
                    <a:lnTo>
                      <a:pt x="268" y="475"/>
                    </a:lnTo>
                    <a:lnTo>
                      <a:pt x="269" y="479"/>
                    </a:lnTo>
                    <a:lnTo>
                      <a:pt x="265" y="483"/>
                    </a:lnTo>
                    <a:lnTo>
                      <a:pt x="258" y="480"/>
                    </a:lnTo>
                    <a:lnTo>
                      <a:pt x="254" y="486"/>
                    </a:lnTo>
                    <a:lnTo>
                      <a:pt x="249" y="483"/>
                    </a:lnTo>
                    <a:lnTo>
                      <a:pt x="245" y="490"/>
                    </a:lnTo>
                    <a:lnTo>
                      <a:pt x="244" y="495"/>
                    </a:lnTo>
                    <a:lnTo>
                      <a:pt x="240" y="500"/>
                    </a:lnTo>
                    <a:lnTo>
                      <a:pt x="234" y="502"/>
                    </a:lnTo>
                    <a:lnTo>
                      <a:pt x="231" y="515"/>
                    </a:lnTo>
                    <a:lnTo>
                      <a:pt x="237" y="513"/>
                    </a:lnTo>
                    <a:lnTo>
                      <a:pt x="244" y="510"/>
                    </a:lnTo>
                    <a:lnTo>
                      <a:pt x="246" y="512"/>
                    </a:lnTo>
                    <a:lnTo>
                      <a:pt x="235" y="516"/>
                    </a:lnTo>
                    <a:lnTo>
                      <a:pt x="235" y="524"/>
                    </a:lnTo>
                    <a:lnTo>
                      <a:pt x="236" y="531"/>
                    </a:lnTo>
                    <a:lnTo>
                      <a:pt x="234" y="535"/>
                    </a:lnTo>
                    <a:lnTo>
                      <a:pt x="226" y="537"/>
                    </a:lnTo>
                    <a:lnTo>
                      <a:pt x="218" y="529"/>
                    </a:lnTo>
                    <a:lnTo>
                      <a:pt x="215" y="529"/>
                    </a:lnTo>
                    <a:lnTo>
                      <a:pt x="210" y="539"/>
                    </a:lnTo>
                    <a:lnTo>
                      <a:pt x="203" y="545"/>
                    </a:lnTo>
                    <a:lnTo>
                      <a:pt x="202" y="549"/>
                    </a:lnTo>
                    <a:lnTo>
                      <a:pt x="198" y="552"/>
                    </a:lnTo>
                    <a:lnTo>
                      <a:pt x="187" y="569"/>
                    </a:lnTo>
                    <a:lnTo>
                      <a:pt x="185" y="573"/>
                    </a:lnTo>
                    <a:lnTo>
                      <a:pt x="187" y="580"/>
                    </a:lnTo>
                    <a:lnTo>
                      <a:pt x="187" y="582"/>
                    </a:lnTo>
                    <a:lnTo>
                      <a:pt x="173" y="591"/>
                    </a:lnTo>
                    <a:lnTo>
                      <a:pt x="172" y="597"/>
                    </a:lnTo>
                    <a:lnTo>
                      <a:pt x="175" y="601"/>
                    </a:lnTo>
                    <a:lnTo>
                      <a:pt x="183" y="597"/>
                    </a:lnTo>
                    <a:lnTo>
                      <a:pt x="179" y="607"/>
                    </a:lnTo>
                    <a:lnTo>
                      <a:pt x="185" y="615"/>
                    </a:lnTo>
                    <a:lnTo>
                      <a:pt x="188" y="617"/>
                    </a:lnTo>
                    <a:lnTo>
                      <a:pt x="213" y="600"/>
                    </a:lnTo>
                    <a:lnTo>
                      <a:pt x="228" y="593"/>
                    </a:lnTo>
                    <a:lnTo>
                      <a:pt x="231" y="589"/>
                    </a:lnTo>
                    <a:lnTo>
                      <a:pt x="234" y="591"/>
                    </a:lnTo>
                    <a:lnTo>
                      <a:pt x="232" y="594"/>
                    </a:lnTo>
                    <a:lnTo>
                      <a:pt x="222" y="600"/>
                    </a:lnTo>
                    <a:lnTo>
                      <a:pt x="218" y="600"/>
                    </a:lnTo>
                    <a:lnTo>
                      <a:pt x="211" y="605"/>
                    </a:lnTo>
                    <a:lnTo>
                      <a:pt x="204" y="610"/>
                    </a:lnTo>
                    <a:lnTo>
                      <a:pt x="209" y="615"/>
                    </a:lnTo>
                    <a:lnTo>
                      <a:pt x="208" y="618"/>
                    </a:lnTo>
                    <a:lnTo>
                      <a:pt x="197" y="623"/>
                    </a:lnTo>
                    <a:lnTo>
                      <a:pt x="190" y="623"/>
                    </a:lnTo>
                    <a:lnTo>
                      <a:pt x="188" y="625"/>
                    </a:lnTo>
                    <a:lnTo>
                      <a:pt x="189" y="629"/>
                    </a:lnTo>
                    <a:lnTo>
                      <a:pt x="187" y="630"/>
                    </a:lnTo>
                    <a:lnTo>
                      <a:pt x="180" y="629"/>
                    </a:lnTo>
                    <a:lnTo>
                      <a:pt x="180" y="623"/>
                    </a:lnTo>
                    <a:lnTo>
                      <a:pt x="175" y="613"/>
                    </a:lnTo>
                    <a:lnTo>
                      <a:pt x="173" y="609"/>
                    </a:lnTo>
                    <a:lnTo>
                      <a:pt x="168" y="609"/>
                    </a:lnTo>
                    <a:lnTo>
                      <a:pt x="166" y="613"/>
                    </a:lnTo>
                    <a:lnTo>
                      <a:pt x="162" y="614"/>
                    </a:lnTo>
                    <a:lnTo>
                      <a:pt x="157" y="618"/>
                    </a:lnTo>
                    <a:lnTo>
                      <a:pt x="157" y="623"/>
                    </a:lnTo>
                    <a:lnTo>
                      <a:pt x="161" y="626"/>
                    </a:lnTo>
                    <a:lnTo>
                      <a:pt x="162" y="629"/>
                    </a:lnTo>
                    <a:lnTo>
                      <a:pt x="154" y="633"/>
                    </a:lnTo>
                    <a:lnTo>
                      <a:pt x="152" y="629"/>
                    </a:lnTo>
                    <a:lnTo>
                      <a:pt x="152" y="624"/>
                    </a:lnTo>
                    <a:lnTo>
                      <a:pt x="150" y="619"/>
                    </a:lnTo>
                    <a:lnTo>
                      <a:pt x="132" y="627"/>
                    </a:lnTo>
                    <a:lnTo>
                      <a:pt x="130" y="630"/>
                    </a:lnTo>
                    <a:lnTo>
                      <a:pt x="127" y="638"/>
                    </a:lnTo>
                    <a:lnTo>
                      <a:pt x="122" y="637"/>
                    </a:lnTo>
                    <a:lnTo>
                      <a:pt x="123" y="642"/>
                    </a:lnTo>
                    <a:lnTo>
                      <a:pt x="122" y="644"/>
                    </a:lnTo>
                    <a:lnTo>
                      <a:pt x="117" y="644"/>
                    </a:lnTo>
                    <a:lnTo>
                      <a:pt x="117" y="642"/>
                    </a:lnTo>
                    <a:lnTo>
                      <a:pt x="116" y="639"/>
                    </a:lnTo>
                    <a:lnTo>
                      <a:pt x="112" y="640"/>
                    </a:lnTo>
                    <a:lnTo>
                      <a:pt x="111" y="642"/>
                    </a:lnTo>
                    <a:lnTo>
                      <a:pt x="111" y="646"/>
                    </a:lnTo>
                    <a:lnTo>
                      <a:pt x="110" y="648"/>
                    </a:lnTo>
                    <a:lnTo>
                      <a:pt x="105" y="648"/>
                    </a:lnTo>
                    <a:lnTo>
                      <a:pt x="95" y="652"/>
                    </a:lnTo>
                    <a:lnTo>
                      <a:pt x="94" y="661"/>
                    </a:lnTo>
                    <a:lnTo>
                      <a:pt x="90" y="669"/>
                    </a:lnTo>
                    <a:lnTo>
                      <a:pt x="85" y="665"/>
                    </a:lnTo>
                    <a:lnTo>
                      <a:pt x="79" y="664"/>
                    </a:lnTo>
                    <a:lnTo>
                      <a:pt x="73" y="670"/>
                    </a:lnTo>
                    <a:lnTo>
                      <a:pt x="72" y="674"/>
                    </a:lnTo>
                    <a:lnTo>
                      <a:pt x="78" y="678"/>
                    </a:lnTo>
                    <a:lnTo>
                      <a:pt x="75" y="682"/>
                    </a:lnTo>
                    <a:lnTo>
                      <a:pt x="80" y="684"/>
                    </a:lnTo>
                    <a:lnTo>
                      <a:pt x="88" y="682"/>
                    </a:lnTo>
                    <a:lnTo>
                      <a:pt x="91" y="686"/>
                    </a:lnTo>
                    <a:lnTo>
                      <a:pt x="95" y="687"/>
                    </a:lnTo>
                    <a:lnTo>
                      <a:pt x="90" y="693"/>
                    </a:lnTo>
                    <a:lnTo>
                      <a:pt x="92" y="697"/>
                    </a:lnTo>
                    <a:lnTo>
                      <a:pt x="87" y="695"/>
                    </a:lnTo>
                    <a:lnTo>
                      <a:pt x="82" y="695"/>
                    </a:lnTo>
                    <a:lnTo>
                      <a:pt x="66" y="693"/>
                    </a:lnTo>
                    <a:lnTo>
                      <a:pt x="62" y="693"/>
                    </a:lnTo>
                    <a:lnTo>
                      <a:pt x="58" y="696"/>
                    </a:lnTo>
                    <a:lnTo>
                      <a:pt x="54" y="695"/>
                    </a:lnTo>
                    <a:lnTo>
                      <a:pt x="50" y="698"/>
                    </a:lnTo>
                    <a:lnTo>
                      <a:pt x="51" y="699"/>
                    </a:lnTo>
                    <a:lnTo>
                      <a:pt x="54" y="701"/>
                    </a:lnTo>
                    <a:lnTo>
                      <a:pt x="51" y="703"/>
                    </a:lnTo>
                    <a:lnTo>
                      <a:pt x="51" y="707"/>
                    </a:lnTo>
                    <a:lnTo>
                      <a:pt x="55" y="706"/>
                    </a:lnTo>
                    <a:lnTo>
                      <a:pt x="60" y="705"/>
                    </a:lnTo>
                    <a:lnTo>
                      <a:pt x="54" y="711"/>
                    </a:lnTo>
                    <a:lnTo>
                      <a:pt x="55" y="716"/>
                    </a:lnTo>
                    <a:lnTo>
                      <a:pt x="57" y="727"/>
                    </a:lnTo>
                    <a:lnTo>
                      <a:pt x="55" y="727"/>
                    </a:lnTo>
                    <a:lnTo>
                      <a:pt x="53" y="718"/>
                    </a:lnTo>
                    <a:lnTo>
                      <a:pt x="50" y="713"/>
                    </a:lnTo>
                    <a:lnTo>
                      <a:pt x="43" y="718"/>
                    </a:lnTo>
                    <a:lnTo>
                      <a:pt x="40" y="723"/>
                    </a:lnTo>
                    <a:lnTo>
                      <a:pt x="38" y="730"/>
                    </a:lnTo>
                    <a:lnTo>
                      <a:pt x="41" y="733"/>
                    </a:lnTo>
                    <a:lnTo>
                      <a:pt x="42" y="738"/>
                    </a:lnTo>
                    <a:lnTo>
                      <a:pt x="35" y="733"/>
                    </a:lnTo>
                    <a:lnTo>
                      <a:pt x="33" y="728"/>
                    </a:lnTo>
                    <a:lnTo>
                      <a:pt x="28" y="730"/>
                    </a:lnTo>
                    <a:lnTo>
                      <a:pt x="19" y="730"/>
                    </a:lnTo>
                    <a:lnTo>
                      <a:pt x="19" y="734"/>
                    </a:lnTo>
                    <a:lnTo>
                      <a:pt x="19" y="738"/>
                    </a:lnTo>
                    <a:lnTo>
                      <a:pt x="9" y="729"/>
                    </a:lnTo>
                    <a:lnTo>
                      <a:pt x="6" y="731"/>
                    </a:lnTo>
                    <a:lnTo>
                      <a:pt x="10" y="742"/>
                    </a:lnTo>
                    <a:lnTo>
                      <a:pt x="8" y="745"/>
                    </a:lnTo>
                    <a:lnTo>
                      <a:pt x="9" y="746"/>
                    </a:lnTo>
                    <a:lnTo>
                      <a:pt x="28" y="746"/>
                    </a:lnTo>
                    <a:lnTo>
                      <a:pt x="44" y="742"/>
                    </a:lnTo>
                    <a:lnTo>
                      <a:pt x="34" y="749"/>
                    </a:lnTo>
                    <a:lnTo>
                      <a:pt x="37" y="751"/>
                    </a:lnTo>
                    <a:lnTo>
                      <a:pt x="44" y="750"/>
                    </a:lnTo>
                    <a:lnTo>
                      <a:pt x="50" y="747"/>
                    </a:lnTo>
                    <a:lnTo>
                      <a:pt x="51" y="750"/>
                    </a:lnTo>
                    <a:lnTo>
                      <a:pt x="45" y="753"/>
                    </a:lnTo>
                    <a:lnTo>
                      <a:pt x="34" y="755"/>
                    </a:lnTo>
                    <a:lnTo>
                      <a:pt x="24" y="755"/>
                    </a:lnTo>
                    <a:lnTo>
                      <a:pt x="20" y="752"/>
                    </a:lnTo>
                    <a:lnTo>
                      <a:pt x="17" y="752"/>
                    </a:lnTo>
                    <a:lnTo>
                      <a:pt x="9" y="757"/>
                    </a:lnTo>
                    <a:lnTo>
                      <a:pt x="8" y="762"/>
                    </a:lnTo>
                    <a:lnTo>
                      <a:pt x="4" y="761"/>
                    </a:lnTo>
                    <a:lnTo>
                      <a:pt x="1" y="762"/>
                    </a:lnTo>
                    <a:lnTo>
                      <a:pt x="1" y="767"/>
                    </a:lnTo>
                    <a:lnTo>
                      <a:pt x="11" y="770"/>
                    </a:lnTo>
                    <a:lnTo>
                      <a:pt x="10" y="775"/>
                    </a:lnTo>
                    <a:lnTo>
                      <a:pt x="10" y="779"/>
                    </a:lnTo>
                    <a:lnTo>
                      <a:pt x="7" y="781"/>
                    </a:lnTo>
                    <a:lnTo>
                      <a:pt x="2" y="788"/>
                    </a:lnTo>
                    <a:lnTo>
                      <a:pt x="5" y="792"/>
                    </a:lnTo>
                    <a:lnTo>
                      <a:pt x="2" y="795"/>
                    </a:lnTo>
                    <a:lnTo>
                      <a:pt x="2" y="800"/>
                    </a:lnTo>
                    <a:lnTo>
                      <a:pt x="5" y="802"/>
                    </a:lnTo>
                    <a:lnTo>
                      <a:pt x="5" y="807"/>
                    </a:lnTo>
                    <a:lnTo>
                      <a:pt x="16" y="809"/>
                    </a:lnTo>
                    <a:lnTo>
                      <a:pt x="35" y="801"/>
                    </a:lnTo>
                    <a:lnTo>
                      <a:pt x="40" y="804"/>
                    </a:lnTo>
                    <a:lnTo>
                      <a:pt x="47" y="804"/>
                    </a:lnTo>
                    <a:lnTo>
                      <a:pt x="50" y="797"/>
                    </a:lnTo>
                    <a:lnTo>
                      <a:pt x="55" y="786"/>
                    </a:lnTo>
                    <a:lnTo>
                      <a:pt x="57" y="792"/>
                    </a:lnTo>
                    <a:lnTo>
                      <a:pt x="55" y="801"/>
                    </a:lnTo>
                    <a:lnTo>
                      <a:pt x="58" y="803"/>
                    </a:lnTo>
                    <a:lnTo>
                      <a:pt x="66" y="803"/>
                    </a:lnTo>
                    <a:lnTo>
                      <a:pt x="71" y="801"/>
                    </a:lnTo>
                    <a:lnTo>
                      <a:pt x="74" y="803"/>
                    </a:lnTo>
                    <a:lnTo>
                      <a:pt x="82" y="796"/>
                    </a:lnTo>
                    <a:lnTo>
                      <a:pt x="84" y="780"/>
                    </a:lnTo>
                    <a:lnTo>
                      <a:pt x="92" y="776"/>
                    </a:lnTo>
                    <a:lnTo>
                      <a:pt x="92" y="779"/>
                    </a:lnTo>
                    <a:lnTo>
                      <a:pt x="87" y="789"/>
                    </a:lnTo>
                    <a:lnTo>
                      <a:pt x="86" y="797"/>
                    </a:lnTo>
                    <a:lnTo>
                      <a:pt x="85" y="800"/>
                    </a:lnTo>
                    <a:lnTo>
                      <a:pt x="89" y="799"/>
                    </a:lnTo>
                    <a:lnTo>
                      <a:pt x="94" y="797"/>
                    </a:lnTo>
                    <a:lnTo>
                      <a:pt x="97" y="798"/>
                    </a:lnTo>
                    <a:lnTo>
                      <a:pt x="87" y="805"/>
                    </a:lnTo>
                    <a:lnTo>
                      <a:pt x="76" y="809"/>
                    </a:lnTo>
                    <a:lnTo>
                      <a:pt x="75" y="815"/>
                    </a:lnTo>
                    <a:lnTo>
                      <a:pt x="79" y="821"/>
                    </a:lnTo>
                    <a:lnTo>
                      <a:pt x="69" y="826"/>
                    </a:lnTo>
                    <a:lnTo>
                      <a:pt x="69" y="819"/>
                    </a:lnTo>
                    <a:lnTo>
                      <a:pt x="67" y="814"/>
                    </a:lnTo>
                    <a:lnTo>
                      <a:pt x="62" y="809"/>
                    </a:lnTo>
                    <a:lnTo>
                      <a:pt x="54" y="809"/>
                    </a:lnTo>
                    <a:lnTo>
                      <a:pt x="45" y="812"/>
                    </a:lnTo>
                    <a:lnTo>
                      <a:pt x="39" y="810"/>
                    </a:lnTo>
                    <a:lnTo>
                      <a:pt x="32" y="811"/>
                    </a:lnTo>
                    <a:lnTo>
                      <a:pt x="26" y="811"/>
                    </a:lnTo>
                    <a:lnTo>
                      <a:pt x="20" y="815"/>
                    </a:lnTo>
                    <a:lnTo>
                      <a:pt x="8" y="813"/>
                    </a:lnTo>
                    <a:lnTo>
                      <a:pt x="4" y="821"/>
                    </a:lnTo>
                    <a:lnTo>
                      <a:pt x="4" y="827"/>
                    </a:lnTo>
                    <a:lnTo>
                      <a:pt x="9" y="828"/>
                    </a:lnTo>
                    <a:lnTo>
                      <a:pt x="12" y="827"/>
                    </a:lnTo>
                    <a:lnTo>
                      <a:pt x="12" y="837"/>
                    </a:lnTo>
                    <a:lnTo>
                      <a:pt x="7" y="835"/>
                    </a:lnTo>
                    <a:lnTo>
                      <a:pt x="2" y="831"/>
                    </a:lnTo>
                    <a:lnTo>
                      <a:pt x="1" y="833"/>
                    </a:lnTo>
                    <a:lnTo>
                      <a:pt x="0" y="833"/>
                    </a:lnTo>
                    <a:lnTo>
                      <a:pt x="0" y="835"/>
                    </a:lnTo>
                    <a:lnTo>
                      <a:pt x="7" y="847"/>
                    </a:lnTo>
                    <a:lnTo>
                      <a:pt x="11" y="848"/>
                    </a:lnTo>
                    <a:lnTo>
                      <a:pt x="20" y="842"/>
                    </a:lnTo>
                    <a:lnTo>
                      <a:pt x="26" y="841"/>
                    </a:lnTo>
                    <a:lnTo>
                      <a:pt x="17" y="849"/>
                    </a:lnTo>
                    <a:lnTo>
                      <a:pt x="15" y="854"/>
                    </a:lnTo>
                    <a:lnTo>
                      <a:pt x="17" y="857"/>
                    </a:lnTo>
                    <a:lnTo>
                      <a:pt x="9" y="861"/>
                    </a:lnTo>
                    <a:lnTo>
                      <a:pt x="6" y="865"/>
                    </a:lnTo>
                    <a:lnTo>
                      <a:pt x="8" y="870"/>
                    </a:lnTo>
                    <a:lnTo>
                      <a:pt x="10" y="873"/>
                    </a:lnTo>
                    <a:lnTo>
                      <a:pt x="12" y="878"/>
                    </a:lnTo>
                    <a:lnTo>
                      <a:pt x="17" y="874"/>
                    </a:lnTo>
                    <a:lnTo>
                      <a:pt x="21" y="870"/>
                    </a:lnTo>
                    <a:lnTo>
                      <a:pt x="21" y="877"/>
                    </a:lnTo>
                    <a:lnTo>
                      <a:pt x="27" y="885"/>
                    </a:lnTo>
                    <a:lnTo>
                      <a:pt x="21" y="885"/>
                    </a:lnTo>
                    <a:lnTo>
                      <a:pt x="16" y="890"/>
                    </a:lnTo>
                    <a:lnTo>
                      <a:pt x="16" y="893"/>
                    </a:lnTo>
                    <a:lnTo>
                      <a:pt x="19" y="896"/>
                    </a:lnTo>
                    <a:lnTo>
                      <a:pt x="26" y="892"/>
                    </a:lnTo>
                    <a:lnTo>
                      <a:pt x="30" y="884"/>
                    </a:lnTo>
                    <a:lnTo>
                      <a:pt x="30" y="877"/>
                    </a:lnTo>
                    <a:lnTo>
                      <a:pt x="35" y="872"/>
                    </a:lnTo>
                    <a:lnTo>
                      <a:pt x="42" y="864"/>
                    </a:lnTo>
                    <a:lnTo>
                      <a:pt x="49" y="850"/>
                    </a:lnTo>
                    <a:lnTo>
                      <a:pt x="55" y="845"/>
                    </a:lnTo>
                    <a:lnTo>
                      <a:pt x="58" y="848"/>
                    </a:lnTo>
                    <a:lnTo>
                      <a:pt x="58" y="851"/>
                    </a:lnTo>
                    <a:lnTo>
                      <a:pt x="67" y="849"/>
                    </a:lnTo>
                    <a:lnTo>
                      <a:pt x="73" y="850"/>
                    </a:lnTo>
                    <a:lnTo>
                      <a:pt x="63" y="855"/>
                    </a:lnTo>
                    <a:lnTo>
                      <a:pt x="62" y="862"/>
                    </a:lnTo>
                    <a:lnTo>
                      <a:pt x="60" y="867"/>
                    </a:lnTo>
                    <a:lnTo>
                      <a:pt x="58" y="859"/>
                    </a:lnTo>
                    <a:lnTo>
                      <a:pt x="55" y="858"/>
                    </a:lnTo>
                    <a:lnTo>
                      <a:pt x="50" y="868"/>
                    </a:lnTo>
                    <a:lnTo>
                      <a:pt x="43" y="874"/>
                    </a:lnTo>
                    <a:lnTo>
                      <a:pt x="46" y="878"/>
                    </a:lnTo>
                    <a:lnTo>
                      <a:pt x="47" y="880"/>
                    </a:lnTo>
                    <a:lnTo>
                      <a:pt x="40" y="884"/>
                    </a:lnTo>
                    <a:lnTo>
                      <a:pt x="27" y="901"/>
                    </a:lnTo>
                    <a:lnTo>
                      <a:pt x="32" y="904"/>
                    </a:lnTo>
                    <a:lnTo>
                      <a:pt x="44" y="904"/>
                    </a:lnTo>
                    <a:lnTo>
                      <a:pt x="49" y="901"/>
                    </a:lnTo>
                    <a:lnTo>
                      <a:pt x="50" y="903"/>
                    </a:lnTo>
                    <a:lnTo>
                      <a:pt x="37" y="908"/>
                    </a:lnTo>
                    <a:lnTo>
                      <a:pt x="32" y="913"/>
                    </a:lnTo>
                    <a:lnTo>
                      <a:pt x="32" y="915"/>
                    </a:lnTo>
                    <a:lnTo>
                      <a:pt x="26" y="915"/>
                    </a:lnTo>
                    <a:lnTo>
                      <a:pt x="22" y="917"/>
                    </a:lnTo>
                    <a:lnTo>
                      <a:pt x="18" y="915"/>
                    </a:lnTo>
                    <a:lnTo>
                      <a:pt x="12" y="923"/>
                    </a:lnTo>
                    <a:lnTo>
                      <a:pt x="9" y="929"/>
                    </a:lnTo>
                    <a:lnTo>
                      <a:pt x="9" y="935"/>
                    </a:lnTo>
                    <a:lnTo>
                      <a:pt x="11" y="937"/>
                    </a:lnTo>
                    <a:lnTo>
                      <a:pt x="12" y="939"/>
                    </a:lnTo>
                    <a:lnTo>
                      <a:pt x="18" y="938"/>
                    </a:lnTo>
                    <a:lnTo>
                      <a:pt x="21" y="933"/>
                    </a:lnTo>
                    <a:lnTo>
                      <a:pt x="22" y="938"/>
                    </a:lnTo>
                    <a:lnTo>
                      <a:pt x="27" y="938"/>
                    </a:lnTo>
                    <a:lnTo>
                      <a:pt x="29" y="934"/>
                    </a:lnTo>
                    <a:lnTo>
                      <a:pt x="28" y="930"/>
                    </a:lnTo>
                    <a:lnTo>
                      <a:pt x="32" y="933"/>
                    </a:lnTo>
                    <a:lnTo>
                      <a:pt x="42" y="928"/>
                    </a:lnTo>
                    <a:lnTo>
                      <a:pt x="45" y="924"/>
                    </a:lnTo>
                    <a:lnTo>
                      <a:pt x="49" y="926"/>
                    </a:lnTo>
                    <a:lnTo>
                      <a:pt x="40" y="937"/>
                    </a:lnTo>
                    <a:lnTo>
                      <a:pt x="43" y="937"/>
                    </a:lnTo>
                    <a:lnTo>
                      <a:pt x="43" y="943"/>
                    </a:lnTo>
                    <a:lnTo>
                      <a:pt x="40" y="950"/>
                    </a:lnTo>
                    <a:lnTo>
                      <a:pt x="38" y="954"/>
                    </a:lnTo>
                    <a:lnTo>
                      <a:pt x="33" y="958"/>
                    </a:lnTo>
                    <a:lnTo>
                      <a:pt x="34" y="963"/>
                    </a:lnTo>
                    <a:lnTo>
                      <a:pt x="34" y="965"/>
                    </a:lnTo>
                    <a:lnTo>
                      <a:pt x="30" y="965"/>
                    </a:lnTo>
                    <a:lnTo>
                      <a:pt x="27" y="966"/>
                    </a:lnTo>
                    <a:lnTo>
                      <a:pt x="24" y="962"/>
                    </a:lnTo>
                    <a:lnTo>
                      <a:pt x="22" y="962"/>
                    </a:lnTo>
                    <a:lnTo>
                      <a:pt x="18" y="983"/>
                    </a:lnTo>
                    <a:lnTo>
                      <a:pt x="26" y="994"/>
                    </a:lnTo>
                    <a:lnTo>
                      <a:pt x="40" y="1006"/>
                    </a:lnTo>
                    <a:lnTo>
                      <a:pt x="50" y="1012"/>
                    </a:lnTo>
                    <a:lnTo>
                      <a:pt x="57" y="1014"/>
                    </a:lnTo>
                    <a:lnTo>
                      <a:pt x="62" y="1005"/>
                    </a:lnTo>
                    <a:lnTo>
                      <a:pt x="62" y="1017"/>
                    </a:lnTo>
                    <a:lnTo>
                      <a:pt x="61" y="1026"/>
                    </a:lnTo>
                    <a:lnTo>
                      <a:pt x="65" y="1022"/>
                    </a:lnTo>
                    <a:lnTo>
                      <a:pt x="71" y="1026"/>
                    </a:lnTo>
                    <a:lnTo>
                      <a:pt x="74" y="1020"/>
                    </a:lnTo>
                    <a:lnTo>
                      <a:pt x="84" y="1020"/>
                    </a:lnTo>
                    <a:lnTo>
                      <a:pt x="78" y="1026"/>
                    </a:lnTo>
                    <a:lnTo>
                      <a:pt x="89" y="1030"/>
                    </a:lnTo>
                    <a:lnTo>
                      <a:pt x="98" y="1027"/>
                    </a:lnTo>
                    <a:lnTo>
                      <a:pt x="106" y="1020"/>
                    </a:lnTo>
                    <a:lnTo>
                      <a:pt x="109" y="1011"/>
                    </a:lnTo>
                    <a:lnTo>
                      <a:pt x="113" y="1018"/>
                    </a:lnTo>
                    <a:lnTo>
                      <a:pt x="127" y="1009"/>
                    </a:lnTo>
                    <a:lnTo>
                      <a:pt x="140" y="992"/>
                    </a:lnTo>
                    <a:lnTo>
                      <a:pt x="148" y="987"/>
                    </a:lnTo>
                    <a:lnTo>
                      <a:pt x="150" y="981"/>
                    </a:lnTo>
                    <a:lnTo>
                      <a:pt x="154" y="976"/>
                    </a:lnTo>
                    <a:lnTo>
                      <a:pt x="156" y="973"/>
                    </a:lnTo>
                    <a:lnTo>
                      <a:pt x="167" y="961"/>
                    </a:lnTo>
                    <a:lnTo>
                      <a:pt x="165" y="956"/>
                    </a:lnTo>
                    <a:lnTo>
                      <a:pt x="174" y="961"/>
                    </a:lnTo>
                    <a:lnTo>
                      <a:pt x="183" y="961"/>
                    </a:lnTo>
                    <a:lnTo>
                      <a:pt x="188" y="958"/>
                    </a:lnTo>
                    <a:lnTo>
                      <a:pt x="190" y="950"/>
                    </a:lnTo>
                    <a:lnTo>
                      <a:pt x="190" y="946"/>
                    </a:lnTo>
                    <a:lnTo>
                      <a:pt x="196" y="941"/>
                    </a:lnTo>
                    <a:lnTo>
                      <a:pt x="196" y="934"/>
                    </a:lnTo>
                    <a:lnTo>
                      <a:pt x="191" y="929"/>
                    </a:lnTo>
                    <a:lnTo>
                      <a:pt x="188" y="924"/>
                    </a:lnTo>
                    <a:lnTo>
                      <a:pt x="190" y="922"/>
                    </a:lnTo>
                    <a:lnTo>
                      <a:pt x="191" y="919"/>
                    </a:lnTo>
                    <a:lnTo>
                      <a:pt x="189" y="911"/>
                    </a:lnTo>
                    <a:lnTo>
                      <a:pt x="192" y="914"/>
                    </a:lnTo>
                    <a:lnTo>
                      <a:pt x="195" y="918"/>
                    </a:lnTo>
                    <a:lnTo>
                      <a:pt x="195" y="924"/>
                    </a:lnTo>
                    <a:lnTo>
                      <a:pt x="199" y="923"/>
                    </a:lnTo>
                    <a:lnTo>
                      <a:pt x="200" y="918"/>
                    </a:lnTo>
                    <a:lnTo>
                      <a:pt x="197" y="913"/>
                    </a:lnTo>
                    <a:lnTo>
                      <a:pt x="196" y="902"/>
                    </a:lnTo>
                    <a:lnTo>
                      <a:pt x="198" y="900"/>
                    </a:lnTo>
                    <a:lnTo>
                      <a:pt x="199" y="901"/>
                    </a:lnTo>
                    <a:lnTo>
                      <a:pt x="203" y="899"/>
                    </a:lnTo>
                    <a:lnTo>
                      <a:pt x="207" y="900"/>
                    </a:lnTo>
                    <a:lnTo>
                      <a:pt x="207" y="905"/>
                    </a:lnTo>
                    <a:lnTo>
                      <a:pt x="201" y="907"/>
                    </a:lnTo>
                    <a:lnTo>
                      <a:pt x="201" y="912"/>
                    </a:lnTo>
                    <a:lnTo>
                      <a:pt x="203" y="919"/>
                    </a:lnTo>
                    <a:lnTo>
                      <a:pt x="204" y="938"/>
                    </a:lnTo>
                    <a:lnTo>
                      <a:pt x="207" y="946"/>
                    </a:lnTo>
                    <a:lnTo>
                      <a:pt x="211" y="945"/>
                    </a:lnTo>
                    <a:lnTo>
                      <a:pt x="218" y="950"/>
                    </a:lnTo>
                    <a:lnTo>
                      <a:pt x="222" y="950"/>
                    </a:lnTo>
                    <a:lnTo>
                      <a:pt x="224" y="954"/>
                    </a:lnTo>
                    <a:lnTo>
                      <a:pt x="226" y="958"/>
                    </a:lnTo>
                    <a:lnTo>
                      <a:pt x="226" y="972"/>
                    </a:lnTo>
                    <a:lnTo>
                      <a:pt x="229" y="963"/>
                    </a:lnTo>
                    <a:lnTo>
                      <a:pt x="231" y="969"/>
                    </a:lnTo>
                    <a:lnTo>
                      <a:pt x="236" y="965"/>
                    </a:lnTo>
                    <a:lnTo>
                      <a:pt x="242" y="940"/>
                    </a:lnTo>
                    <a:lnTo>
                      <a:pt x="238" y="933"/>
                    </a:lnTo>
                    <a:lnTo>
                      <a:pt x="237" y="922"/>
                    </a:lnTo>
                    <a:lnTo>
                      <a:pt x="246" y="907"/>
                    </a:lnTo>
                    <a:lnTo>
                      <a:pt x="246" y="899"/>
                    </a:lnTo>
                    <a:lnTo>
                      <a:pt x="265" y="891"/>
                    </a:lnTo>
                    <a:lnTo>
                      <a:pt x="268" y="884"/>
                    </a:lnTo>
                    <a:lnTo>
                      <a:pt x="269" y="873"/>
                    </a:lnTo>
                    <a:lnTo>
                      <a:pt x="266" y="868"/>
                    </a:lnTo>
                    <a:lnTo>
                      <a:pt x="271" y="848"/>
                    </a:lnTo>
                    <a:lnTo>
                      <a:pt x="266" y="826"/>
                    </a:lnTo>
                    <a:lnTo>
                      <a:pt x="259" y="818"/>
                    </a:lnTo>
                    <a:lnTo>
                      <a:pt x="262" y="814"/>
                    </a:lnTo>
                    <a:lnTo>
                      <a:pt x="270" y="810"/>
                    </a:lnTo>
                    <a:lnTo>
                      <a:pt x="278" y="802"/>
                    </a:lnTo>
                    <a:lnTo>
                      <a:pt x="281" y="790"/>
                    </a:lnTo>
                    <a:lnTo>
                      <a:pt x="279" y="776"/>
                    </a:lnTo>
                    <a:lnTo>
                      <a:pt x="266" y="766"/>
                    </a:lnTo>
                    <a:lnTo>
                      <a:pt x="260" y="756"/>
                    </a:lnTo>
                    <a:lnTo>
                      <a:pt x="259" y="742"/>
                    </a:lnTo>
                    <a:lnTo>
                      <a:pt x="260" y="715"/>
                    </a:lnTo>
                    <a:lnTo>
                      <a:pt x="257" y="705"/>
                    </a:lnTo>
                    <a:lnTo>
                      <a:pt x="255" y="703"/>
                    </a:lnTo>
                    <a:lnTo>
                      <a:pt x="255" y="694"/>
                    </a:lnTo>
                    <a:lnTo>
                      <a:pt x="257" y="688"/>
                    </a:lnTo>
                    <a:lnTo>
                      <a:pt x="257" y="675"/>
                    </a:lnTo>
                    <a:lnTo>
                      <a:pt x="259" y="669"/>
                    </a:lnTo>
                    <a:lnTo>
                      <a:pt x="260" y="661"/>
                    </a:lnTo>
                    <a:lnTo>
                      <a:pt x="265" y="654"/>
                    </a:lnTo>
                    <a:lnTo>
                      <a:pt x="262" y="651"/>
                    </a:lnTo>
                    <a:lnTo>
                      <a:pt x="257" y="641"/>
                    </a:lnTo>
                    <a:lnTo>
                      <a:pt x="255" y="630"/>
                    </a:lnTo>
                    <a:lnTo>
                      <a:pt x="257" y="617"/>
                    </a:lnTo>
                    <a:lnTo>
                      <a:pt x="262" y="606"/>
                    </a:lnTo>
                    <a:lnTo>
                      <a:pt x="278" y="586"/>
                    </a:lnTo>
                    <a:lnTo>
                      <a:pt x="289" y="579"/>
                    </a:lnTo>
                    <a:lnTo>
                      <a:pt x="303" y="574"/>
                    </a:lnTo>
                    <a:lnTo>
                      <a:pt x="315" y="578"/>
                    </a:lnTo>
                    <a:lnTo>
                      <a:pt x="324" y="578"/>
                    </a:lnTo>
                    <a:lnTo>
                      <a:pt x="331" y="570"/>
                    </a:lnTo>
                    <a:lnTo>
                      <a:pt x="333" y="562"/>
                    </a:lnTo>
                    <a:lnTo>
                      <a:pt x="333" y="549"/>
                    </a:lnTo>
                    <a:lnTo>
                      <a:pt x="328" y="541"/>
                    </a:lnTo>
                    <a:lnTo>
                      <a:pt x="319" y="531"/>
                    </a:lnTo>
                    <a:lnTo>
                      <a:pt x="319" y="525"/>
                    </a:lnTo>
                    <a:lnTo>
                      <a:pt x="332" y="503"/>
                    </a:lnTo>
                    <a:lnTo>
                      <a:pt x="343" y="479"/>
                    </a:lnTo>
                    <a:lnTo>
                      <a:pt x="348" y="445"/>
                    </a:lnTo>
                    <a:lnTo>
                      <a:pt x="349" y="426"/>
                    </a:lnTo>
                    <a:lnTo>
                      <a:pt x="349" y="412"/>
                    </a:lnTo>
                    <a:lnTo>
                      <a:pt x="348" y="402"/>
                    </a:lnTo>
                    <a:lnTo>
                      <a:pt x="353" y="399"/>
                    </a:lnTo>
                    <a:lnTo>
                      <a:pt x="360" y="399"/>
                    </a:lnTo>
                    <a:lnTo>
                      <a:pt x="372" y="390"/>
                    </a:lnTo>
                    <a:lnTo>
                      <a:pt x="376" y="383"/>
                    </a:lnTo>
                    <a:lnTo>
                      <a:pt x="377" y="368"/>
                    </a:lnTo>
                    <a:lnTo>
                      <a:pt x="381" y="359"/>
                    </a:lnTo>
                    <a:lnTo>
                      <a:pt x="397" y="338"/>
                    </a:lnTo>
                    <a:lnTo>
                      <a:pt x="401" y="329"/>
                    </a:lnTo>
                    <a:lnTo>
                      <a:pt x="410" y="320"/>
                    </a:lnTo>
                    <a:lnTo>
                      <a:pt x="414" y="311"/>
                    </a:lnTo>
                    <a:lnTo>
                      <a:pt x="415" y="306"/>
                    </a:lnTo>
                    <a:lnTo>
                      <a:pt x="414" y="297"/>
                    </a:lnTo>
                    <a:lnTo>
                      <a:pt x="405" y="283"/>
                    </a:lnTo>
                    <a:lnTo>
                      <a:pt x="408" y="273"/>
                    </a:lnTo>
                    <a:lnTo>
                      <a:pt x="417" y="262"/>
                    </a:lnTo>
                    <a:lnTo>
                      <a:pt x="421" y="256"/>
                    </a:lnTo>
                    <a:lnTo>
                      <a:pt x="422" y="247"/>
                    </a:lnTo>
                    <a:lnTo>
                      <a:pt x="425" y="236"/>
                    </a:lnTo>
                    <a:lnTo>
                      <a:pt x="431" y="228"/>
                    </a:lnTo>
                    <a:lnTo>
                      <a:pt x="443" y="215"/>
                    </a:lnTo>
                    <a:lnTo>
                      <a:pt x="451" y="213"/>
                    </a:lnTo>
                    <a:lnTo>
                      <a:pt x="459" y="217"/>
                    </a:lnTo>
                    <a:lnTo>
                      <a:pt x="466" y="226"/>
                    </a:lnTo>
                    <a:lnTo>
                      <a:pt x="469" y="227"/>
                    </a:lnTo>
                    <a:lnTo>
                      <a:pt x="474" y="216"/>
                    </a:lnTo>
                    <a:lnTo>
                      <a:pt x="478" y="202"/>
                    </a:lnTo>
                    <a:lnTo>
                      <a:pt x="479" y="196"/>
                    </a:lnTo>
                    <a:lnTo>
                      <a:pt x="478" y="180"/>
                    </a:lnTo>
                    <a:lnTo>
                      <a:pt x="481" y="173"/>
                    </a:lnTo>
                    <a:lnTo>
                      <a:pt x="484" y="171"/>
                    </a:lnTo>
                    <a:lnTo>
                      <a:pt x="491" y="170"/>
                    </a:lnTo>
                    <a:lnTo>
                      <a:pt x="512" y="172"/>
                    </a:lnTo>
                    <a:lnTo>
                      <a:pt x="540" y="182"/>
                    </a:lnTo>
                    <a:lnTo>
                      <a:pt x="546" y="181"/>
                    </a:lnTo>
                    <a:lnTo>
                      <a:pt x="550" y="176"/>
                    </a:lnTo>
                    <a:lnTo>
                      <a:pt x="544" y="169"/>
                    </a:lnTo>
                    <a:lnTo>
                      <a:pt x="543" y="163"/>
                    </a:lnTo>
                    <a:lnTo>
                      <a:pt x="547" y="156"/>
                    </a:lnTo>
                    <a:lnTo>
                      <a:pt x="549" y="145"/>
                    </a:lnTo>
                    <a:lnTo>
                      <a:pt x="552" y="142"/>
                    </a:lnTo>
                    <a:lnTo>
                      <a:pt x="554" y="136"/>
                    </a:lnTo>
                    <a:lnTo>
                      <a:pt x="552" y="129"/>
                    </a:lnTo>
                    <a:lnTo>
                      <a:pt x="549" y="125"/>
                    </a:lnTo>
                    <a:lnTo>
                      <a:pt x="549" y="119"/>
                    </a:lnTo>
                    <a:lnTo>
                      <a:pt x="552" y="117"/>
                    </a:lnTo>
                    <a:lnTo>
                      <a:pt x="568" y="118"/>
                    </a:lnTo>
                    <a:lnTo>
                      <a:pt x="570" y="112"/>
                    </a:lnTo>
                    <a:lnTo>
                      <a:pt x="575" y="110"/>
                    </a:lnTo>
                    <a:lnTo>
                      <a:pt x="581" y="112"/>
                    </a:lnTo>
                    <a:lnTo>
                      <a:pt x="586" y="110"/>
                    </a:lnTo>
                    <a:lnTo>
                      <a:pt x="585" y="102"/>
                    </a:lnTo>
                    <a:lnTo>
                      <a:pt x="584" y="95"/>
                    </a:lnTo>
                    <a:lnTo>
                      <a:pt x="593" y="90"/>
                    </a:lnTo>
                    <a:lnTo>
                      <a:pt x="602" y="94"/>
                    </a:lnTo>
                    <a:lnTo>
                      <a:pt x="610" y="101"/>
                    </a:lnTo>
                    <a:lnTo>
                      <a:pt x="629" y="131"/>
                    </a:lnTo>
                    <a:lnTo>
                      <a:pt x="633" y="143"/>
                    </a:lnTo>
                    <a:lnTo>
                      <a:pt x="636" y="148"/>
                    </a:lnTo>
                    <a:lnTo>
                      <a:pt x="653" y="152"/>
                    </a:lnTo>
                    <a:lnTo>
                      <a:pt x="663" y="156"/>
                    </a:lnTo>
                    <a:lnTo>
                      <a:pt x="671" y="156"/>
                    </a:lnTo>
                    <a:lnTo>
                      <a:pt x="681" y="149"/>
                    </a:lnTo>
                    <a:lnTo>
                      <a:pt x="693" y="136"/>
                    </a:lnTo>
                    <a:lnTo>
                      <a:pt x="698" y="142"/>
                    </a:lnTo>
                    <a:lnTo>
                      <a:pt x="705" y="149"/>
                    </a:lnTo>
                    <a:lnTo>
                      <a:pt x="707" y="156"/>
                    </a:lnTo>
                    <a:lnTo>
                      <a:pt x="714" y="157"/>
                    </a:lnTo>
                    <a:lnTo>
                      <a:pt x="724" y="153"/>
                    </a:lnTo>
                    <a:lnTo>
                      <a:pt x="732" y="146"/>
                    </a:lnTo>
                    <a:lnTo>
                      <a:pt x="738" y="137"/>
                    </a:lnTo>
                    <a:lnTo>
                      <a:pt x="756" y="124"/>
                    </a:lnTo>
                    <a:lnTo>
                      <a:pt x="757" y="117"/>
                    </a:lnTo>
                    <a:lnTo>
                      <a:pt x="756" y="101"/>
                    </a:lnTo>
                    <a:lnTo>
                      <a:pt x="756" y="92"/>
                    </a:lnTo>
                    <a:lnTo>
                      <a:pt x="758" y="64"/>
                    </a:lnTo>
                    <a:lnTo>
                      <a:pt x="766" y="43"/>
                    </a:lnTo>
                    <a:lnTo>
                      <a:pt x="774" y="34"/>
                    </a:lnTo>
                    <a:lnTo>
                      <a:pt x="782" y="30"/>
                    </a:lnTo>
                    <a:lnTo>
                      <a:pt x="798" y="28"/>
                    </a:lnTo>
                    <a:lnTo>
                      <a:pt x="824" y="17"/>
                    </a:lnTo>
                    <a:lnTo>
                      <a:pt x="840" y="14"/>
                    </a:lnTo>
                    <a:lnTo>
                      <a:pt x="843" y="17"/>
                    </a:lnTo>
                    <a:lnTo>
                      <a:pt x="850" y="30"/>
                    </a:lnTo>
                    <a:lnTo>
                      <a:pt x="856" y="37"/>
                    </a:lnTo>
                    <a:lnTo>
                      <a:pt x="869" y="41"/>
                    </a:lnTo>
                    <a:lnTo>
                      <a:pt x="881" y="52"/>
                    </a:lnTo>
                    <a:lnTo>
                      <a:pt x="885" y="71"/>
                    </a:lnTo>
                    <a:lnTo>
                      <a:pt x="886" y="81"/>
                    </a:lnTo>
                    <a:lnTo>
                      <a:pt x="873" y="97"/>
                    </a:lnTo>
                    <a:lnTo>
                      <a:pt x="871" y="106"/>
                    </a:lnTo>
                    <a:lnTo>
                      <a:pt x="871" y="112"/>
                    </a:lnTo>
                    <a:lnTo>
                      <a:pt x="877" y="118"/>
                    </a:lnTo>
                    <a:lnTo>
                      <a:pt x="880" y="117"/>
                    </a:lnTo>
                    <a:lnTo>
                      <a:pt x="885" y="111"/>
                    </a:lnTo>
                    <a:lnTo>
                      <a:pt x="886" y="109"/>
                    </a:lnTo>
                    <a:lnTo>
                      <a:pt x="886" y="101"/>
                    </a:lnTo>
                    <a:lnTo>
                      <a:pt x="888" y="98"/>
                    </a:lnTo>
                    <a:lnTo>
                      <a:pt x="909" y="86"/>
                    </a:lnTo>
                    <a:lnTo>
                      <a:pt x="914" y="80"/>
                    </a:lnTo>
                    <a:lnTo>
                      <a:pt x="918" y="61"/>
                    </a:lnTo>
                    <a:lnTo>
                      <a:pt x="932" y="69"/>
                    </a:lnTo>
                    <a:lnTo>
                      <a:pt x="940" y="67"/>
                    </a:lnTo>
                    <a:lnTo>
                      <a:pt x="942" y="64"/>
                    </a:lnTo>
                    <a:lnTo>
                      <a:pt x="944" y="56"/>
                    </a:lnTo>
                    <a:lnTo>
                      <a:pt x="945" y="49"/>
                    </a:lnTo>
                    <a:lnTo>
                      <a:pt x="943" y="45"/>
                    </a:lnTo>
                    <a:lnTo>
                      <a:pt x="928" y="42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6" name="Iceland" descr="{&quot;Key&quot;:&quot;iceland&quot;,&quot;Name&quot;:&quot;Iceland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12E7B79F-2AA7-24A5-EAB2-35255E65A2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5473" y="5608373"/>
                <a:ext cx="514299" cy="450271"/>
              </a:xfrm>
              <a:custGeom>
                <a:avLst/>
                <a:gdLst>
                  <a:gd name="T0" fmla="*/ 28 w 347"/>
                  <a:gd name="T1" fmla="*/ 178 h 276"/>
                  <a:gd name="T2" fmla="*/ 38 w 347"/>
                  <a:gd name="T3" fmla="*/ 178 h 276"/>
                  <a:gd name="T4" fmla="*/ 80 w 347"/>
                  <a:gd name="T5" fmla="*/ 168 h 276"/>
                  <a:gd name="T6" fmla="*/ 56 w 347"/>
                  <a:gd name="T7" fmla="*/ 162 h 276"/>
                  <a:gd name="T8" fmla="*/ 67 w 347"/>
                  <a:gd name="T9" fmla="*/ 151 h 276"/>
                  <a:gd name="T10" fmla="*/ 79 w 347"/>
                  <a:gd name="T11" fmla="*/ 147 h 276"/>
                  <a:gd name="T12" fmla="*/ 60 w 347"/>
                  <a:gd name="T13" fmla="*/ 134 h 276"/>
                  <a:gd name="T14" fmla="*/ 55 w 347"/>
                  <a:gd name="T15" fmla="*/ 120 h 276"/>
                  <a:gd name="T16" fmla="*/ 39 w 347"/>
                  <a:gd name="T17" fmla="*/ 110 h 276"/>
                  <a:gd name="T18" fmla="*/ 23 w 347"/>
                  <a:gd name="T19" fmla="*/ 95 h 276"/>
                  <a:gd name="T20" fmla="*/ 50 w 347"/>
                  <a:gd name="T21" fmla="*/ 107 h 276"/>
                  <a:gd name="T22" fmla="*/ 67 w 347"/>
                  <a:gd name="T23" fmla="*/ 112 h 276"/>
                  <a:gd name="T24" fmla="*/ 85 w 347"/>
                  <a:gd name="T25" fmla="*/ 111 h 276"/>
                  <a:gd name="T26" fmla="*/ 98 w 347"/>
                  <a:gd name="T27" fmla="*/ 92 h 276"/>
                  <a:gd name="T28" fmla="*/ 103 w 347"/>
                  <a:gd name="T29" fmla="*/ 77 h 276"/>
                  <a:gd name="T30" fmla="*/ 80 w 347"/>
                  <a:gd name="T31" fmla="*/ 68 h 276"/>
                  <a:gd name="T32" fmla="*/ 73 w 347"/>
                  <a:gd name="T33" fmla="*/ 62 h 276"/>
                  <a:gd name="T34" fmla="*/ 45 w 347"/>
                  <a:gd name="T35" fmla="*/ 62 h 276"/>
                  <a:gd name="T36" fmla="*/ 55 w 347"/>
                  <a:gd name="T37" fmla="*/ 57 h 276"/>
                  <a:gd name="T38" fmla="*/ 69 w 347"/>
                  <a:gd name="T39" fmla="*/ 49 h 276"/>
                  <a:gd name="T40" fmla="*/ 65 w 347"/>
                  <a:gd name="T41" fmla="*/ 34 h 276"/>
                  <a:gd name="T42" fmla="*/ 83 w 347"/>
                  <a:gd name="T43" fmla="*/ 32 h 276"/>
                  <a:gd name="T44" fmla="*/ 112 w 347"/>
                  <a:gd name="T45" fmla="*/ 42 h 276"/>
                  <a:gd name="T46" fmla="*/ 120 w 347"/>
                  <a:gd name="T47" fmla="*/ 30 h 276"/>
                  <a:gd name="T48" fmla="*/ 119 w 347"/>
                  <a:gd name="T49" fmla="*/ 23 h 276"/>
                  <a:gd name="T50" fmla="*/ 113 w 347"/>
                  <a:gd name="T51" fmla="*/ 12 h 276"/>
                  <a:gd name="T52" fmla="*/ 125 w 347"/>
                  <a:gd name="T53" fmla="*/ 18 h 276"/>
                  <a:gd name="T54" fmla="*/ 131 w 347"/>
                  <a:gd name="T55" fmla="*/ 38 h 276"/>
                  <a:gd name="T56" fmla="*/ 129 w 347"/>
                  <a:gd name="T57" fmla="*/ 56 h 276"/>
                  <a:gd name="T58" fmla="*/ 128 w 347"/>
                  <a:gd name="T59" fmla="*/ 79 h 276"/>
                  <a:gd name="T60" fmla="*/ 124 w 347"/>
                  <a:gd name="T61" fmla="*/ 88 h 276"/>
                  <a:gd name="T62" fmla="*/ 116 w 347"/>
                  <a:gd name="T63" fmla="*/ 109 h 276"/>
                  <a:gd name="T64" fmla="*/ 140 w 347"/>
                  <a:gd name="T65" fmla="*/ 100 h 276"/>
                  <a:gd name="T66" fmla="*/ 179 w 347"/>
                  <a:gd name="T67" fmla="*/ 104 h 276"/>
                  <a:gd name="T68" fmla="*/ 197 w 347"/>
                  <a:gd name="T69" fmla="*/ 83 h 276"/>
                  <a:gd name="T70" fmla="*/ 215 w 347"/>
                  <a:gd name="T71" fmla="*/ 93 h 276"/>
                  <a:gd name="T72" fmla="*/ 215 w 347"/>
                  <a:gd name="T73" fmla="*/ 128 h 276"/>
                  <a:gd name="T74" fmla="*/ 239 w 347"/>
                  <a:gd name="T75" fmla="*/ 112 h 276"/>
                  <a:gd name="T76" fmla="*/ 243 w 347"/>
                  <a:gd name="T77" fmla="*/ 113 h 276"/>
                  <a:gd name="T78" fmla="*/ 269 w 347"/>
                  <a:gd name="T79" fmla="*/ 109 h 276"/>
                  <a:gd name="T80" fmla="*/ 279 w 347"/>
                  <a:gd name="T81" fmla="*/ 105 h 276"/>
                  <a:gd name="T82" fmla="*/ 294 w 347"/>
                  <a:gd name="T83" fmla="*/ 90 h 276"/>
                  <a:gd name="T84" fmla="*/ 304 w 347"/>
                  <a:gd name="T85" fmla="*/ 125 h 276"/>
                  <a:gd name="T86" fmla="*/ 334 w 347"/>
                  <a:gd name="T87" fmla="*/ 118 h 276"/>
                  <a:gd name="T88" fmla="*/ 312 w 347"/>
                  <a:gd name="T89" fmla="*/ 132 h 276"/>
                  <a:gd name="T90" fmla="*/ 307 w 347"/>
                  <a:gd name="T91" fmla="*/ 158 h 276"/>
                  <a:gd name="T92" fmla="*/ 319 w 347"/>
                  <a:gd name="T93" fmla="*/ 165 h 276"/>
                  <a:gd name="T94" fmla="*/ 309 w 347"/>
                  <a:gd name="T95" fmla="*/ 179 h 276"/>
                  <a:gd name="T96" fmla="*/ 332 w 347"/>
                  <a:gd name="T97" fmla="*/ 178 h 276"/>
                  <a:gd name="T98" fmla="*/ 316 w 347"/>
                  <a:gd name="T99" fmla="*/ 206 h 276"/>
                  <a:gd name="T100" fmla="*/ 318 w 347"/>
                  <a:gd name="T101" fmla="*/ 229 h 276"/>
                  <a:gd name="T102" fmla="*/ 312 w 347"/>
                  <a:gd name="T103" fmla="*/ 234 h 276"/>
                  <a:gd name="T104" fmla="*/ 295 w 347"/>
                  <a:gd name="T105" fmla="*/ 240 h 276"/>
                  <a:gd name="T106" fmla="*/ 273 w 347"/>
                  <a:gd name="T107" fmla="*/ 254 h 276"/>
                  <a:gd name="T108" fmla="*/ 250 w 347"/>
                  <a:gd name="T109" fmla="*/ 254 h 276"/>
                  <a:gd name="T110" fmla="*/ 227 w 347"/>
                  <a:gd name="T111" fmla="*/ 257 h 276"/>
                  <a:gd name="T112" fmla="*/ 193 w 347"/>
                  <a:gd name="T113" fmla="*/ 259 h 276"/>
                  <a:gd name="T114" fmla="*/ 162 w 347"/>
                  <a:gd name="T115" fmla="*/ 260 h 276"/>
                  <a:gd name="T116" fmla="*/ 99 w 347"/>
                  <a:gd name="T117" fmla="*/ 248 h 276"/>
                  <a:gd name="T118" fmla="*/ 88 w 347"/>
                  <a:gd name="T119" fmla="*/ 219 h 276"/>
                  <a:gd name="T120" fmla="*/ 74 w 347"/>
                  <a:gd name="T121" fmla="*/ 216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47" h="276">
                    <a:moveTo>
                      <a:pt x="61" y="204"/>
                    </a:moveTo>
                    <a:cubicBezTo>
                      <a:pt x="59" y="203"/>
                      <a:pt x="23" y="186"/>
                      <a:pt x="21" y="185"/>
                    </a:cubicBezTo>
                    <a:cubicBezTo>
                      <a:pt x="19" y="183"/>
                      <a:pt x="26" y="181"/>
                      <a:pt x="28" y="178"/>
                    </a:cubicBezTo>
                    <a:cubicBezTo>
                      <a:pt x="30" y="176"/>
                      <a:pt x="28" y="167"/>
                      <a:pt x="31" y="168"/>
                    </a:cubicBezTo>
                    <a:cubicBezTo>
                      <a:pt x="35" y="170"/>
                      <a:pt x="33" y="177"/>
                      <a:pt x="35" y="181"/>
                    </a:cubicBezTo>
                    <a:cubicBezTo>
                      <a:pt x="36" y="182"/>
                      <a:pt x="37" y="178"/>
                      <a:pt x="38" y="178"/>
                    </a:cubicBezTo>
                    <a:cubicBezTo>
                      <a:pt x="43" y="177"/>
                      <a:pt x="48" y="181"/>
                      <a:pt x="52" y="180"/>
                    </a:cubicBezTo>
                    <a:cubicBezTo>
                      <a:pt x="69" y="173"/>
                      <a:pt x="46" y="167"/>
                      <a:pt x="68" y="165"/>
                    </a:cubicBezTo>
                    <a:cubicBezTo>
                      <a:pt x="72" y="165"/>
                      <a:pt x="76" y="168"/>
                      <a:pt x="80" y="168"/>
                    </a:cubicBezTo>
                    <a:cubicBezTo>
                      <a:pt x="82" y="169"/>
                      <a:pt x="75" y="164"/>
                      <a:pt x="73" y="163"/>
                    </a:cubicBezTo>
                    <a:cubicBezTo>
                      <a:pt x="72" y="163"/>
                      <a:pt x="71" y="163"/>
                      <a:pt x="69" y="163"/>
                    </a:cubicBezTo>
                    <a:cubicBezTo>
                      <a:pt x="65" y="163"/>
                      <a:pt x="60" y="164"/>
                      <a:pt x="56" y="162"/>
                    </a:cubicBezTo>
                    <a:cubicBezTo>
                      <a:pt x="54" y="160"/>
                      <a:pt x="63" y="163"/>
                      <a:pt x="65" y="161"/>
                    </a:cubicBezTo>
                    <a:cubicBezTo>
                      <a:pt x="67" y="160"/>
                      <a:pt x="61" y="159"/>
                      <a:pt x="61" y="158"/>
                    </a:cubicBezTo>
                    <a:cubicBezTo>
                      <a:pt x="61" y="155"/>
                      <a:pt x="64" y="152"/>
                      <a:pt x="67" y="151"/>
                    </a:cubicBezTo>
                    <a:cubicBezTo>
                      <a:pt x="68" y="151"/>
                      <a:pt x="71" y="152"/>
                      <a:pt x="73" y="152"/>
                    </a:cubicBezTo>
                    <a:cubicBezTo>
                      <a:pt x="77" y="152"/>
                      <a:pt x="82" y="151"/>
                      <a:pt x="85" y="148"/>
                    </a:cubicBezTo>
                    <a:cubicBezTo>
                      <a:pt x="87" y="147"/>
                      <a:pt x="81" y="148"/>
                      <a:pt x="79" y="147"/>
                    </a:cubicBezTo>
                    <a:cubicBezTo>
                      <a:pt x="77" y="146"/>
                      <a:pt x="63" y="153"/>
                      <a:pt x="59" y="152"/>
                    </a:cubicBezTo>
                    <a:cubicBezTo>
                      <a:pt x="56" y="152"/>
                      <a:pt x="61" y="146"/>
                      <a:pt x="61" y="143"/>
                    </a:cubicBezTo>
                    <a:cubicBezTo>
                      <a:pt x="61" y="140"/>
                      <a:pt x="59" y="137"/>
                      <a:pt x="60" y="134"/>
                    </a:cubicBezTo>
                    <a:cubicBezTo>
                      <a:pt x="60" y="130"/>
                      <a:pt x="67" y="128"/>
                      <a:pt x="65" y="124"/>
                    </a:cubicBezTo>
                    <a:cubicBezTo>
                      <a:pt x="65" y="122"/>
                      <a:pt x="60" y="125"/>
                      <a:pt x="58" y="124"/>
                    </a:cubicBezTo>
                    <a:cubicBezTo>
                      <a:pt x="56" y="124"/>
                      <a:pt x="56" y="119"/>
                      <a:pt x="55" y="120"/>
                    </a:cubicBezTo>
                    <a:cubicBezTo>
                      <a:pt x="54" y="121"/>
                      <a:pt x="56" y="124"/>
                      <a:pt x="55" y="123"/>
                    </a:cubicBezTo>
                    <a:cubicBezTo>
                      <a:pt x="51" y="121"/>
                      <a:pt x="46" y="113"/>
                      <a:pt x="42" y="111"/>
                    </a:cubicBezTo>
                    <a:cubicBezTo>
                      <a:pt x="42" y="109"/>
                      <a:pt x="40" y="110"/>
                      <a:pt x="39" y="110"/>
                    </a:cubicBezTo>
                    <a:cubicBezTo>
                      <a:pt x="38" y="110"/>
                      <a:pt x="37" y="112"/>
                      <a:pt x="36" y="111"/>
                    </a:cubicBezTo>
                    <a:cubicBezTo>
                      <a:pt x="35" y="111"/>
                      <a:pt x="35" y="108"/>
                      <a:pt x="34" y="107"/>
                    </a:cubicBezTo>
                    <a:cubicBezTo>
                      <a:pt x="31" y="106"/>
                      <a:pt x="0" y="106"/>
                      <a:pt x="23" y="95"/>
                    </a:cubicBezTo>
                    <a:cubicBezTo>
                      <a:pt x="29" y="92"/>
                      <a:pt x="28" y="98"/>
                      <a:pt x="34" y="102"/>
                    </a:cubicBezTo>
                    <a:cubicBezTo>
                      <a:pt x="39" y="104"/>
                      <a:pt x="47" y="97"/>
                      <a:pt x="52" y="100"/>
                    </a:cubicBezTo>
                    <a:cubicBezTo>
                      <a:pt x="54" y="101"/>
                      <a:pt x="48" y="105"/>
                      <a:pt x="50" y="107"/>
                    </a:cubicBezTo>
                    <a:cubicBezTo>
                      <a:pt x="52" y="109"/>
                      <a:pt x="53" y="104"/>
                      <a:pt x="55" y="103"/>
                    </a:cubicBezTo>
                    <a:cubicBezTo>
                      <a:pt x="59" y="102"/>
                      <a:pt x="64" y="100"/>
                      <a:pt x="67" y="102"/>
                    </a:cubicBezTo>
                    <a:cubicBezTo>
                      <a:pt x="69" y="104"/>
                      <a:pt x="66" y="109"/>
                      <a:pt x="67" y="112"/>
                    </a:cubicBezTo>
                    <a:cubicBezTo>
                      <a:pt x="67" y="113"/>
                      <a:pt x="67" y="109"/>
                      <a:pt x="67" y="108"/>
                    </a:cubicBezTo>
                    <a:cubicBezTo>
                      <a:pt x="70" y="105"/>
                      <a:pt x="112" y="133"/>
                      <a:pt x="98" y="108"/>
                    </a:cubicBezTo>
                    <a:cubicBezTo>
                      <a:pt x="95" y="105"/>
                      <a:pt x="90" y="111"/>
                      <a:pt x="85" y="111"/>
                    </a:cubicBezTo>
                    <a:cubicBezTo>
                      <a:pt x="80" y="110"/>
                      <a:pt x="76" y="104"/>
                      <a:pt x="74" y="99"/>
                    </a:cubicBezTo>
                    <a:cubicBezTo>
                      <a:pt x="74" y="99"/>
                      <a:pt x="74" y="99"/>
                      <a:pt x="75" y="98"/>
                    </a:cubicBezTo>
                    <a:cubicBezTo>
                      <a:pt x="81" y="94"/>
                      <a:pt x="91" y="92"/>
                      <a:pt x="98" y="92"/>
                    </a:cubicBezTo>
                    <a:cubicBezTo>
                      <a:pt x="102" y="92"/>
                      <a:pt x="106" y="95"/>
                      <a:pt x="108" y="92"/>
                    </a:cubicBezTo>
                    <a:cubicBezTo>
                      <a:pt x="112" y="89"/>
                      <a:pt x="91" y="90"/>
                      <a:pt x="91" y="84"/>
                    </a:cubicBezTo>
                    <a:cubicBezTo>
                      <a:pt x="92" y="80"/>
                      <a:pt x="103" y="82"/>
                      <a:pt x="103" y="77"/>
                    </a:cubicBezTo>
                    <a:cubicBezTo>
                      <a:pt x="102" y="51"/>
                      <a:pt x="83" y="80"/>
                      <a:pt x="82" y="75"/>
                    </a:cubicBezTo>
                    <a:cubicBezTo>
                      <a:pt x="81" y="72"/>
                      <a:pt x="84" y="68"/>
                      <a:pt x="83" y="65"/>
                    </a:cubicBezTo>
                    <a:cubicBezTo>
                      <a:pt x="82" y="64"/>
                      <a:pt x="81" y="68"/>
                      <a:pt x="80" y="68"/>
                    </a:cubicBezTo>
                    <a:cubicBezTo>
                      <a:pt x="78" y="68"/>
                      <a:pt x="81" y="65"/>
                      <a:pt x="80" y="65"/>
                    </a:cubicBezTo>
                    <a:cubicBezTo>
                      <a:pt x="76" y="66"/>
                      <a:pt x="76" y="73"/>
                      <a:pt x="73" y="65"/>
                    </a:cubicBezTo>
                    <a:cubicBezTo>
                      <a:pt x="72" y="65"/>
                      <a:pt x="73" y="62"/>
                      <a:pt x="73" y="62"/>
                    </a:cubicBezTo>
                    <a:cubicBezTo>
                      <a:pt x="71" y="64"/>
                      <a:pt x="71" y="68"/>
                      <a:pt x="68" y="69"/>
                    </a:cubicBezTo>
                    <a:cubicBezTo>
                      <a:pt x="66" y="69"/>
                      <a:pt x="67" y="65"/>
                      <a:pt x="65" y="64"/>
                    </a:cubicBezTo>
                    <a:cubicBezTo>
                      <a:pt x="61" y="63"/>
                      <a:pt x="46" y="71"/>
                      <a:pt x="45" y="62"/>
                    </a:cubicBezTo>
                    <a:cubicBezTo>
                      <a:pt x="45" y="60"/>
                      <a:pt x="48" y="60"/>
                      <a:pt x="48" y="59"/>
                    </a:cubicBezTo>
                    <a:cubicBezTo>
                      <a:pt x="46" y="53"/>
                      <a:pt x="33" y="54"/>
                      <a:pt x="34" y="48"/>
                    </a:cubicBezTo>
                    <a:cubicBezTo>
                      <a:pt x="38" y="25"/>
                      <a:pt x="52" y="59"/>
                      <a:pt x="55" y="57"/>
                    </a:cubicBezTo>
                    <a:cubicBezTo>
                      <a:pt x="63" y="52"/>
                      <a:pt x="46" y="35"/>
                      <a:pt x="57" y="35"/>
                    </a:cubicBezTo>
                    <a:cubicBezTo>
                      <a:pt x="67" y="35"/>
                      <a:pt x="60" y="73"/>
                      <a:pt x="73" y="56"/>
                    </a:cubicBezTo>
                    <a:cubicBezTo>
                      <a:pt x="75" y="53"/>
                      <a:pt x="67" y="51"/>
                      <a:pt x="69" y="49"/>
                    </a:cubicBezTo>
                    <a:cubicBezTo>
                      <a:pt x="71" y="46"/>
                      <a:pt x="77" y="52"/>
                      <a:pt x="80" y="49"/>
                    </a:cubicBezTo>
                    <a:cubicBezTo>
                      <a:pt x="82" y="47"/>
                      <a:pt x="73" y="49"/>
                      <a:pt x="71" y="47"/>
                    </a:cubicBezTo>
                    <a:cubicBezTo>
                      <a:pt x="67" y="44"/>
                      <a:pt x="66" y="39"/>
                      <a:pt x="65" y="34"/>
                    </a:cubicBezTo>
                    <a:cubicBezTo>
                      <a:pt x="63" y="15"/>
                      <a:pt x="76" y="52"/>
                      <a:pt x="81" y="46"/>
                    </a:cubicBezTo>
                    <a:cubicBezTo>
                      <a:pt x="83" y="44"/>
                      <a:pt x="64" y="29"/>
                      <a:pt x="72" y="25"/>
                    </a:cubicBezTo>
                    <a:cubicBezTo>
                      <a:pt x="76" y="23"/>
                      <a:pt x="79" y="34"/>
                      <a:pt x="83" y="32"/>
                    </a:cubicBezTo>
                    <a:cubicBezTo>
                      <a:pt x="85" y="31"/>
                      <a:pt x="72" y="13"/>
                      <a:pt x="89" y="18"/>
                    </a:cubicBezTo>
                    <a:cubicBezTo>
                      <a:pt x="102" y="23"/>
                      <a:pt x="87" y="47"/>
                      <a:pt x="102" y="57"/>
                    </a:cubicBezTo>
                    <a:cubicBezTo>
                      <a:pt x="102" y="57"/>
                      <a:pt x="112" y="53"/>
                      <a:pt x="112" y="42"/>
                    </a:cubicBezTo>
                    <a:cubicBezTo>
                      <a:pt x="112" y="39"/>
                      <a:pt x="109" y="40"/>
                      <a:pt x="108" y="39"/>
                    </a:cubicBezTo>
                    <a:cubicBezTo>
                      <a:pt x="106" y="37"/>
                      <a:pt x="100" y="26"/>
                      <a:pt x="102" y="23"/>
                    </a:cubicBezTo>
                    <a:cubicBezTo>
                      <a:pt x="106" y="18"/>
                      <a:pt x="114" y="27"/>
                      <a:pt x="120" y="30"/>
                    </a:cubicBezTo>
                    <a:cubicBezTo>
                      <a:pt x="121" y="30"/>
                      <a:pt x="115" y="29"/>
                      <a:pt x="115" y="27"/>
                    </a:cubicBezTo>
                    <a:cubicBezTo>
                      <a:pt x="114" y="25"/>
                      <a:pt x="117" y="26"/>
                      <a:pt x="119" y="25"/>
                    </a:cubicBezTo>
                    <a:cubicBezTo>
                      <a:pt x="119" y="25"/>
                      <a:pt x="119" y="23"/>
                      <a:pt x="119" y="23"/>
                    </a:cubicBezTo>
                    <a:cubicBezTo>
                      <a:pt x="111" y="24"/>
                      <a:pt x="112" y="35"/>
                      <a:pt x="103" y="17"/>
                    </a:cubicBezTo>
                    <a:cubicBezTo>
                      <a:pt x="96" y="0"/>
                      <a:pt x="112" y="13"/>
                      <a:pt x="112" y="13"/>
                    </a:cubicBezTo>
                    <a:cubicBezTo>
                      <a:pt x="112" y="13"/>
                      <a:pt x="113" y="12"/>
                      <a:pt x="113" y="12"/>
                    </a:cubicBezTo>
                    <a:cubicBezTo>
                      <a:pt x="113" y="10"/>
                      <a:pt x="112" y="8"/>
                      <a:pt x="113" y="9"/>
                    </a:cubicBezTo>
                    <a:cubicBezTo>
                      <a:pt x="115" y="10"/>
                      <a:pt x="115" y="14"/>
                      <a:pt x="117" y="16"/>
                    </a:cubicBezTo>
                    <a:cubicBezTo>
                      <a:pt x="119" y="17"/>
                      <a:pt x="123" y="17"/>
                      <a:pt x="125" y="18"/>
                    </a:cubicBezTo>
                    <a:cubicBezTo>
                      <a:pt x="131" y="23"/>
                      <a:pt x="123" y="29"/>
                      <a:pt x="123" y="31"/>
                    </a:cubicBezTo>
                    <a:cubicBezTo>
                      <a:pt x="123" y="32"/>
                      <a:pt x="126" y="31"/>
                      <a:pt x="127" y="32"/>
                    </a:cubicBezTo>
                    <a:cubicBezTo>
                      <a:pt x="128" y="32"/>
                      <a:pt x="132" y="36"/>
                      <a:pt x="131" y="38"/>
                    </a:cubicBezTo>
                    <a:cubicBezTo>
                      <a:pt x="129" y="39"/>
                      <a:pt x="127" y="38"/>
                      <a:pt x="127" y="39"/>
                    </a:cubicBezTo>
                    <a:cubicBezTo>
                      <a:pt x="128" y="42"/>
                      <a:pt x="133" y="41"/>
                      <a:pt x="133" y="44"/>
                    </a:cubicBezTo>
                    <a:cubicBezTo>
                      <a:pt x="133" y="48"/>
                      <a:pt x="128" y="52"/>
                      <a:pt x="129" y="56"/>
                    </a:cubicBezTo>
                    <a:cubicBezTo>
                      <a:pt x="130" y="59"/>
                      <a:pt x="138" y="57"/>
                      <a:pt x="138" y="60"/>
                    </a:cubicBezTo>
                    <a:cubicBezTo>
                      <a:pt x="138" y="64"/>
                      <a:pt x="129" y="58"/>
                      <a:pt x="128" y="61"/>
                    </a:cubicBezTo>
                    <a:cubicBezTo>
                      <a:pt x="128" y="64"/>
                      <a:pt x="154" y="75"/>
                      <a:pt x="128" y="79"/>
                    </a:cubicBezTo>
                    <a:cubicBezTo>
                      <a:pt x="123" y="80"/>
                      <a:pt x="121" y="72"/>
                      <a:pt x="117" y="70"/>
                    </a:cubicBezTo>
                    <a:cubicBezTo>
                      <a:pt x="115" y="70"/>
                      <a:pt x="117" y="74"/>
                      <a:pt x="119" y="76"/>
                    </a:cubicBezTo>
                    <a:cubicBezTo>
                      <a:pt x="120" y="80"/>
                      <a:pt x="125" y="84"/>
                      <a:pt x="124" y="88"/>
                    </a:cubicBezTo>
                    <a:cubicBezTo>
                      <a:pt x="123" y="92"/>
                      <a:pt x="114" y="92"/>
                      <a:pt x="114" y="97"/>
                    </a:cubicBezTo>
                    <a:cubicBezTo>
                      <a:pt x="112" y="100"/>
                      <a:pt x="120" y="98"/>
                      <a:pt x="121" y="101"/>
                    </a:cubicBezTo>
                    <a:cubicBezTo>
                      <a:pt x="122" y="104"/>
                      <a:pt x="117" y="107"/>
                      <a:pt x="116" y="109"/>
                    </a:cubicBezTo>
                    <a:cubicBezTo>
                      <a:pt x="115" y="113"/>
                      <a:pt x="111" y="120"/>
                      <a:pt x="115" y="120"/>
                    </a:cubicBezTo>
                    <a:cubicBezTo>
                      <a:pt x="127" y="122"/>
                      <a:pt x="126" y="99"/>
                      <a:pt x="133" y="95"/>
                    </a:cubicBezTo>
                    <a:cubicBezTo>
                      <a:pt x="157" y="82"/>
                      <a:pt x="141" y="98"/>
                      <a:pt x="140" y="100"/>
                    </a:cubicBezTo>
                    <a:cubicBezTo>
                      <a:pt x="137" y="115"/>
                      <a:pt x="154" y="99"/>
                      <a:pt x="155" y="98"/>
                    </a:cubicBezTo>
                    <a:cubicBezTo>
                      <a:pt x="162" y="90"/>
                      <a:pt x="159" y="68"/>
                      <a:pt x="165" y="68"/>
                    </a:cubicBezTo>
                    <a:cubicBezTo>
                      <a:pt x="185" y="70"/>
                      <a:pt x="167" y="95"/>
                      <a:pt x="179" y="104"/>
                    </a:cubicBezTo>
                    <a:cubicBezTo>
                      <a:pt x="188" y="112"/>
                      <a:pt x="183" y="94"/>
                      <a:pt x="185" y="89"/>
                    </a:cubicBezTo>
                    <a:cubicBezTo>
                      <a:pt x="185" y="86"/>
                      <a:pt x="188" y="83"/>
                      <a:pt x="190" y="82"/>
                    </a:cubicBezTo>
                    <a:cubicBezTo>
                      <a:pt x="192" y="81"/>
                      <a:pt x="194" y="82"/>
                      <a:pt x="197" y="83"/>
                    </a:cubicBezTo>
                    <a:cubicBezTo>
                      <a:pt x="197" y="84"/>
                      <a:pt x="197" y="86"/>
                      <a:pt x="198" y="86"/>
                    </a:cubicBezTo>
                    <a:cubicBezTo>
                      <a:pt x="202" y="85"/>
                      <a:pt x="207" y="78"/>
                      <a:pt x="211" y="81"/>
                    </a:cubicBezTo>
                    <a:cubicBezTo>
                      <a:pt x="215" y="82"/>
                      <a:pt x="214" y="89"/>
                      <a:pt x="215" y="93"/>
                    </a:cubicBezTo>
                    <a:cubicBezTo>
                      <a:pt x="215" y="96"/>
                      <a:pt x="211" y="98"/>
                      <a:pt x="212" y="100"/>
                    </a:cubicBezTo>
                    <a:cubicBezTo>
                      <a:pt x="215" y="115"/>
                      <a:pt x="222" y="90"/>
                      <a:pt x="218" y="111"/>
                    </a:cubicBezTo>
                    <a:cubicBezTo>
                      <a:pt x="216" y="123"/>
                      <a:pt x="212" y="117"/>
                      <a:pt x="215" y="128"/>
                    </a:cubicBezTo>
                    <a:cubicBezTo>
                      <a:pt x="219" y="147"/>
                      <a:pt x="219" y="91"/>
                      <a:pt x="225" y="90"/>
                    </a:cubicBezTo>
                    <a:cubicBezTo>
                      <a:pt x="240" y="86"/>
                      <a:pt x="236" y="110"/>
                      <a:pt x="237" y="116"/>
                    </a:cubicBezTo>
                    <a:cubicBezTo>
                      <a:pt x="237" y="117"/>
                      <a:pt x="237" y="113"/>
                      <a:pt x="239" y="112"/>
                    </a:cubicBezTo>
                    <a:cubicBezTo>
                      <a:pt x="239" y="112"/>
                      <a:pt x="241" y="112"/>
                      <a:pt x="241" y="112"/>
                    </a:cubicBezTo>
                    <a:cubicBezTo>
                      <a:pt x="237" y="104"/>
                      <a:pt x="242" y="115"/>
                      <a:pt x="242" y="115"/>
                    </a:cubicBezTo>
                    <a:cubicBezTo>
                      <a:pt x="243" y="115"/>
                      <a:pt x="243" y="113"/>
                      <a:pt x="243" y="113"/>
                    </a:cubicBezTo>
                    <a:cubicBezTo>
                      <a:pt x="246" y="108"/>
                      <a:pt x="252" y="100"/>
                      <a:pt x="258" y="100"/>
                    </a:cubicBezTo>
                    <a:cubicBezTo>
                      <a:pt x="264" y="99"/>
                      <a:pt x="263" y="112"/>
                      <a:pt x="269" y="116"/>
                    </a:cubicBezTo>
                    <a:cubicBezTo>
                      <a:pt x="271" y="117"/>
                      <a:pt x="267" y="111"/>
                      <a:pt x="269" y="109"/>
                    </a:cubicBezTo>
                    <a:cubicBezTo>
                      <a:pt x="273" y="105"/>
                      <a:pt x="275" y="114"/>
                      <a:pt x="275" y="114"/>
                    </a:cubicBezTo>
                    <a:cubicBezTo>
                      <a:pt x="275" y="115"/>
                      <a:pt x="274" y="111"/>
                      <a:pt x="275" y="110"/>
                    </a:cubicBezTo>
                    <a:cubicBezTo>
                      <a:pt x="276" y="108"/>
                      <a:pt x="279" y="107"/>
                      <a:pt x="279" y="105"/>
                    </a:cubicBezTo>
                    <a:cubicBezTo>
                      <a:pt x="280" y="103"/>
                      <a:pt x="279" y="100"/>
                      <a:pt x="279" y="97"/>
                    </a:cubicBezTo>
                    <a:cubicBezTo>
                      <a:pt x="280" y="94"/>
                      <a:pt x="279" y="89"/>
                      <a:pt x="282" y="87"/>
                    </a:cubicBezTo>
                    <a:cubicBezTo>
                      <a:pt x="286" y="86"/>
                      <a:pt x="290" y="89"/>
                      <a:pt x="294" y="90"/>
                    </a:cubicBezTo>
                    <a:cubicBezTo>
                      <a:pt x="304" y="92"/>
                      <a:pt x="296" y="96"/>
                      <a:pt x="297" y="100"/>
                    </a:cubicBezTo>
                    <a:cubicBezTo>
                      <a:pt x="298" y="103"/>
                      <a:pt x="301" y="102"/>
                      <a:pt x="303" y="104"/>
                    </a:cubicBezTo>
                    <a:cubicBezTo>
                      <a:pt x="306" y="112"/>
                      <a:pt x="286" y="115"/>
                      <a:pt x="304" y="125"/>
                    </a:cubicBezTo>
                    <a:cubicBezTo>
                      <a:pt x="306" y="126"/>
                      <a:pt x="306" y="120"/>
                      <a:pt x="309" y="119"/>
                    </a:cubicBezTo>
                    <a:cubicBezTo>
                      <a:pt x="311" y="117"/>
                      <a:pt x="314" y="120"/>
                      <a:pt x="316" y="119"/>
                    </a:cubicBezTo>
                    <a:cubicBezTo>
                      <a:pt x="321" y="117"/>
                      <a:pt x="327" y="104"/>
                      <a:pt x="334" y="118"/>
                    </a:cubicBezTo>
                    <a:cubicBezTo>
                      <a:pt x="335" y="120"/>
                      <a:pt x="329" y="119"/>
                      <a:pt x="326" y="120"/>
                    </a:cubicBezTo>
                    <a:cubicBezTo>
                      <a:pt x="318" y="121"/>
                      <a:pt x="314" y="120"/>
                      <a:pt x="309" y="129"/>
                    </a:cubicBezTo>
                    <a:cubicBezTo>
                      <a:pt x="308" y="130"/>
                      <a:pt x="312" y="130"/>
                      <a:pt x="312" y="132"/>
                    </a:cubicBezTo>
                    <a:cubicBezTo>
                      <a:pt x="312" y="133"/>
                      <a:pt x="309" y="134"/>
                      <a:pt x="310" y="135"/>
                    </a:cubicBezTo>
                    <a:cubicBezTo>
                      <a:pt x="313" y="137"/>
                      <a:pt x="318" y="135"/>
                      <a:pt x="321" y="138"/>
                    </a:cubicBezTo>
                    <a:cubicBezTo>
                      <a:pt x="330" y="145"/>
                      <a:pt x="308" y="157"/>
                      <a:pt x="307" y="158"/>
                    </a:cubicBezTo>
                    <a:cubicBezTo>
                      <a:pt x="306" y="159"/>
                      <a:pt x="309" y="156"/>
                      <a:pt x="311" y="157"/>
                    </a:cubicBezTo>
                    <a:cubicBezTo>
                      <a:pt x="315" y="158"/>
                      <a:pt x="319" y="161"/>
                      <a:pt x="322" y="164"/>
                    </a:cubicBezTo>
                    <a:cubicBezTo>
                      <a:pt x="323" y="164"/>
                      <a:pt x="319" y="164"/>
                      <a:pt x="319" y="165"/>
                    </a:cubicBezTo>
                    <a:cubicBezTo>
                      <a:pt x="319" y="167"/>
                      <a:pt x="322" y="169"/>
                      <a:pt x="322" y="171"/>
                    </a:cubicBezTo>
                    <a:cubicBezTo>
                      <a:pt x="322" y="172"/>
                      <a:pt x="320" y="170"/>
                      <a:pt x="319" y="171"/>
                    </a:cubicBezTo>
                    <a:cubicBezTo>
                      <a:pt x="316" y="173"/>
                      <a:pt x="305" y="177"/>
                      <a:pt x="309" y="179"/>
                    </a:cubicBezTo>
                    <a:cubicBezTo>
                      <a:pt x="314" y="181"/>
                      <a:pt x="318" y="168"/>
                      <a:pt x="322" y="172"/>
                    </a:cubicBezTo>
                    <a:cubicBezTo>
                      <a:pt x="324" y="174"/>
                      <a:pt x="326" y="176"/>
                      <a:pt x="328" y="178"/>
                    </a:cubicBezTo>
                    <a:cubicBezTo>
                      <a:pt x="329" y="179"/>
                      <a:pt x="331" y="177"/>
                      <a:pt x="332" y="178"/>
                    </a:cubicBezTo>
                    <a:cubicBezTo>
                      <a:pt x="335" y="184"/>
                      <a:pt x="338" y="193"/>
                      <a:pt x="331" y="198"/>
                    </a:cubicBezTo>
                    <a:cubicBezTo>
                      <a:pt x="327" y="200"/>
                      <a:pt x="322" y="199"/>
                      <a:pt x="319" y="201"/>
                    </a:cubicBezTo>
                    <a:cubicBezTo>
                      <a:pt x="317" y="202"/>
                      <a:pt x="315" y="205"/>
                      <a:pt x="316" y="206"/>
                    </a:cubicBezTo>
                    <a:cubicBezTo>
                      <a:pt x="318" y="207"/>
                      <a:pt x="347" y="211"/>
                      <a:pt x="324" y="224"/>
                    </a:cubicBezTo>
                    <a:cubicBezTo>
                      <a:pt x="319" y="227"/>
                      <a:pt x="306" y="215"/>
                      <a:pt x="306" y="215"/>
                    </a:cubicBezTo>
                    <a:cubicBezTo>
                      <a:pt x="302" y="210"/>
                      <a:pt x="324" y="224"/>
                      <a:pt x="318" y="229"/>
                    </a:cubicBezTo>
                    <a:cubicBezTo>
                      <a:pt x="316" y="231"/>
                      <a:pt x="311" y="223"/>
                      <a:pt x="308" y="225"/>
                    </a:cubicBezTo>
                    <a:cubicBezTo>
                      <a:pt x="306" y="227"/>
                      <a:pt x="314" y="229"/>
                      <a:pt x="315" y="232"/>
                    </a:cubicBezTo>
                    <a:cubicBezTo>
                      <a:pt x="316" y="233"/>
                      <a:pt x="313" y="234"/>
                      <a:pt x="312" y="234"/>
                    </a:cubicBezTo>
                    <a:cubicBezTo>
                      <a:pt x="306" y="237"/>
                      <a:pt x="300" y="243"/>
                      <a:pt x="296" y="239"/>
                    </a:cubicBezTo>
                    <a:cubicBezTo>
                      <a:pt x="293" y="236"/>
                      <a:pt x="293" y="225"/>
                      <a:pt x="291" y="228"/>
                    </a:cubicBezTo>
                    <a:cubicBezTo>
                      <a:pt x="288" y="231"/>
                      <a:pt x="297" y="236"/>
                      <a:pt x="295" y="240"/>
                    </a:cubicBezTo>
                    <a:cubicBezTo>
                      <a:pt x="293" y="244"/>
                      <a:pt x="286" y="240"/>
                      <a:pt x="283" y="242"/>
                    </a:cubicBezTo>
                    <a:cubicBezTo>
                      <a:pt x="279" y="245"/>
                      <a:pt x="282" y="252"/>
                      <a:pt x="279" y="255"/>
                    </a:cubicBezTo>
                    <a:cubicBezTo>
                      <a:pt x="278" y="257"/>
                      <a:pt x="274" y="254"/>
                      <a:pt x="273" y="254"/>
                    </a:cubicBezTo>
                    <a:cubicBezTo>
                      <a:pt x="269" y="255"/>
                      <a:pt x="266" y="261"/>
                      <a:pt x="262" y="261"/>
                    </a:cubicBezTo>
                    <a:cubicBezTo>
                      <a:pt x="259" y="262"/>
                      <a:pt x="261" y="247"/>
                      <a:pt x="252" y="245"/>
                    </a:cubicBezTo>
                    <a:cubicBezTo>
                      <a:pt x="249" y="244"/>
                      <a:pt x="252" y="251"/>
                      <a:pt x="250" y="254"/>
                    </a:cubicBezTo>
                    <a:cubicBezTo>
                      <a:pt x="250" y="255"/>
                      <a:pt x="248" y="253"/>
                      <a:pt x="247" y="254"/>
                    </a:cubicBezTo>
                    <a:cubicBezTo>
                      <a:pt x="246" y="254"/>
                      <a:pt x="249" y="255"/>
                      <a:pt x="248" y="255"/>
                    </a:cubicBezTo>
                    <a:cubicBezTo>
                      <a:pt x="233" y="258"/>
                      <a:pt x="241" y="254"/>
                      <a:pt x="227" y="257"/>
                    </a:cubicBezTo>
                    <a:cubicBezTo>
                      <a:pt x="220" y="258"/>
                      <a:pt x="214" y="264"/>
                      <a:pt x="206" y="267"/>
                    </a:cubicBezTo>
                    <a:cubicBezTo>
                      <a:pt x="205" y="267"/>
                      <a:pt x="203" y="268"/>
                      <a:pt x="202" y="267"/>
                    </a:cubicBezTo>
                    <a:cubicBezTo>
                      <a:pt x="198" y="266"/>
                      <a:pt x="197" y="259"/>
                      <a:pt x="193" y="259"/>
                    </a:cubicBezTo>
                    <a:cubicBezTo>
                      <a:pt x="189" y="260"/>
                      <a:pt x="190" y="267"/>
                      <a:pt x="188" y="268"/>
                    </a:cubicBezTo>
                    <a:cubicBezTo>
                      <a:pt x="185" y="269"/>
                      <a:pt x="185" y="264"/>
                      <a:pt x="183" y="263"/>
                    </a:cubicBezTo>
                    <a:cubicBezTo>
                      <a:pt x="179" y="262"/>
                      <a:pt x="167" y="262"/>
                      <a:pt x="162" y="260"/>
                    </a:cubicBezTo>
                    <a:cubicBezTo>
                      <a:pt x="154" y="258"/>
                      <a:pt x="154" y="271"/>
                      <a:pt x="152" y="273"/>
                    </a:cubicBezTo>
                    <a:cubicBezTo>
                      <a:pt x="148" y="276"/>
                      <a:pt x="127" y="274"/>
                      <a:pt x="123" y="272"/>
                    </a:cubicBezTo>
                    <a:cubicBezTo>
                      <a:pt x="113" y="269"/>
                      <a:pt x="104" y="253"/>
                      <a:pt x="99" y="248"/>
                    </a:cubicBezTo>
                    <a:cubicBezTo>
                      <a:pt x="92" y="241"/>
                      <a:pt x="86" y="246"/>
                      <a:pt x="82" y="235"/>
                    </a:cubicBezTo>
                    <a:cubicBezTo>
                      <a:pt x="81" y="232"/>
                      <a:pt x="78" y="229"/>
                      <a:pt x="80" y="226"/>
                    </a:cubicBezTo>
                    <a:cubicBezTo>
                      <a:pt x="81" y="222"/>
                      <a:pt x="91" y="220"/>
                      <a:pt x="88" y="219"/>
                    </a:cubicBezTo>
                    <a:cubicBezTo>
                      <a:pt x="85" y="217"/>
                      <a:pt x="82" y="228"/>
                      <a:pt x="79" y="225"/>
                    </a:cubicBezTo>
                    <a:cubicBezTo>
                      <a:pt x="76" y="223"/>
                      <a:pt x="83" y="216"/>
                      <a:pt x="81" y="212"/>
                    </a:cubicBezTo>
                    <a:cubicBezTo>
                      <a:pt x="80" y="210"/>
                      <a:pt x="77" y="218"/>
                      <a:pt x="74" y="216"/>
                    </a:cubicBezTo>
                    <a:cubicBezTo>
                      <a:pt x="71" y="214"/>
                      <a:pt x="71" y="208"/>
                      <a:pt x="67" y="206"/>
                    </a:cubicBezTo>
                    <a:cubicBezTo>
                      <a:pt x="65" y="204"/>
                      <a:pt x="63" y="205"/>
                      <a:pt x="61" y="204"/>
                    </a:cubicBez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8" name="Portugal" descr="{&quot;Key&quot;:&quot;portugal&quot;,&quot;Name&quot;:&quot;Portugal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0694BE96-8318-32A1-89D6-586929DBEA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5264" y="8802088"/>
                <a:ext cx="390978" cy="684937"/>
              </a:xfrm>
              <a:custGeom>
                <a:avLst/>
                <a:gdLst>
                  <a:gd name="T0" fmla="*/ 110 w 234"/>
                  <a:gd name="T1" fmla="*/ 327 h 381"/>
                  <a:gd name="T2" fmla="*/ 138 w 234"/>
                  <a:gd name="T3" fmla="*/ 304 h 381"/>
                  <a:gd name="T4" fmla="*/ 125 w 234"/>
                  <a:gd name="T5" fmla="*/ 294 h 381"/>
                  <a:gd name="T6" fmla="*/ 117 w 234"/>
                  <a:gd name="T7" fmla="*/ 282 h 381"/>
                  <a:gd name="T8" fmla="*/ 128 w 234"/>
                  <a:gd name="T9" fmla="*/ 262 h 381"/>
                  <a:gd name="T10" fmla="*/ 136 w 234"/>
                  <a:gd name="T11" fmla="*/ 229 h 381"/>
                  <a:gd name="T12" fmla="*/ 127 w 234"/>
                  <a:gd name="T13" fmla="*/ 190 h 381"/>
                  <a:gd name="T14" fmla="*/ 143 w 234"/>
                  <a:gd name="T15" fmla="*/ 194 h 381"/>
                  <a:gd name="T16" fmla="*/ 164 w 234"/>
                  <a:gd name="T17" fmla="*/ 163 h 381"/>
                  <a:gd name="T18" fmla="*/ 178 w 234"/>
                  <a:gd name="T19" fmla="*/ 142 h 381"/>
                  <a:gd name="T20" fmla="*/ 183 w 234"/>
                  <a:gd name="T21" fmla="*/ 127 h 381"/>
                  <a:gd name="T22" fmla="*/ 182 w 234"/>
                  <a:gd name="T23" fmla="*/ 100 h 381"/>
                  <a:gd name="T24" fmla="*/ 202 w 234"/>
                  <a:gd name="T25" fmla="*/ 88 h 381"/>
                  <a:gd name="T26" fmla="*/ 215 w 234"/>
                  <a:gd name="T27" fmla="*/ 60 h 381"/>
                  <a:gd name="T28" fmla="*/ 189 w 234"/>
                  <a:gd name="T29" fmla="*/ 31 h 381"/>
                  <a:gd name="T30" fmla="*/ 182 w 234"/>
                  <a:gd name="T31" fmla="*/ 33 h 381"/>
                  <a:gd name="T32" fmla="*/ 157 w 234"/>
                  <a:gd name="T33" fmla="*/ 32 h 381"/>
                  <a:gd name="T34" fmla="*/ 153 w 234"/>
                  <a:gd name="T35" fmla="*/ 26 h 381"/>
                  <a:gd name="T36" fmla="*/ 143 w 234"/>
                  <a:gd name="T37" fmla="*/ 23 h 381"/>
                  <a:gd name="T38" fmla="*/ 129 w 234"/>
                  <a:gd name="T39" fmla="*/ 26 h 381"/>
                  <a:gd name="T40" fmla="*/ 130 w 234"/>
                  <a:gd name="T41" fmla="*/ 6 h 381"/>
                  <a:gd name="T42" fmla="*/ 99 w 234"/>
                  <a:gd name="T43" fmla="*/ 8 h 381"/>
                  <a:gd name="T44" fmla="*/ 97 w 234"/>
                  <a:gd name="T45" fmla="*/ 27 h 381"/>
                  <a:gd name="T46" fmla="*/ 87 w 234"/>
                  <a:gd name="T47" fmla="*/ 64 h 381"/>
                  <a:gd name="T48" fmla="*/ 82 w 234"/>
                  <a:gd name="T49" fmla="*/ 92 h 381"/>
                  <a:gd name="T50" fmla="*/ 84 w 234"/>
                  <a:gd name="T51" fmla="*/ 91 h 381"/>
                  <a:gd name="T52" fmla="*/ 74 w 234"/>
                  <a:gd name="T53" fmla="*/ 105 h 381"/>
                  <a:gd name="T54" fmla="*/ 59 w 234"/>
                  <a:gd name="T55" fmla="*/ 134 h 381"/>
                  <a:gd name="T56" fmla="*/ 61 w 234"/>
                  <a:gd name="T57" fmla="*/ 139 h 381"/>
                  <a:gd name="T58" fmla="*/ 36 w 234"/>
                  <a:gd name="T59" fmla="*/ 177 h 381"/>
                  <a:gd name="T60" fmla="*/ 30 w 234"/>
                  <a:gd name="T61" fmla="*/ 185 h 381"/>
                  <a:gd name="T62" fmla="*/ 18 w 234"/>
                  <a:gd name="T63" fmla="*/ 196 h 381"/>
                  <a:gd name="T64" fmla="*/ 8 w 234"/>
                  <a:gd name="T65" fmla="*/ 242 h 381"/>
                  <a:gd name="T66" fmla="*/ 25 w 234"/>
                  <a:gd name="T67" fmla="*/ 256 h 381"/>
                  <a:gd name="T68" fmla="*/ 37 w 234"/>
                  <a:gd name="T69" fmla="*/ 258 h 381"/>
                  <a:gd name="T70" fmla="*/ 40 w 234"/>
                  <a:gd name="T71" fmla="*/ 262 h 381"/>
                  <a:gd name="T72" fmla="*/ 28 w 234"/>
                  <a:gd name="T73" fmla="*/ 256 h 381"/>
                  <a:gd name="T74" fmla="*/ 33 w 234"/>
                  <a:gd name="T75" fmla="*/ 275 h 381"/>
                  <a:gd name="T76" fmla="*/ 26 w 234"/>
                  <a:gd name="T77" fmla="*/ 301 h 381"/>
                  <a:gd name="T78" fmla="*/ 28 w 234"/>
                  <a:gd name="T79" fmla="*/ 313 h 381"/>
                  <a:gd name="T80" fmla="*/ 18 w 234"/>
                  <a:gd name="T81" fmla="*/ 333 h 381"/>
                  <a:gd name="T82" fmla="*/ 10 w 234"/>
                  <a:gd name="T83" fmla="*/ 361 h 381"/>
                  <a:gd name="T84" fmla="*/ 26 w 234"/>
                  <a:gd name="T85" fmla="*/ 359 h 381"/>
                  <a:gd name="T86" fmla="*/ 88 w 234"/>
                  <a:gd name="T87" fmla="*/ 371 h 3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34" h="381">
                    <a:moveTo>
                      <a:pt x="96" y="371"/>
                    </a:moveTo>
                    <a:cubicBezTo>
                      <a:pt x="97" y="348"/>
                      <a:pt x="91" y="344"/>
                      <a:pt x="110" y="327"/>
                    </a:cubicBezTo>
                    <a:cubicBezTo>
                      <a:pt x="113" y="324"/>
                      <a:pt x="113" y="318"/>
                      <a:pt x="116" y="316"/>
                    </a:cubicBezTo>
                    <a:cubicBezTo>
                      <a:pt x="117" y="316"/>
                      <a:pt x="145" y="315"/>
                      <a:pt x="138" y="304"/>
                    </a:cubicBezTo>
                    <a:cubicBezTo>
                      <a:pt x="137" y="301"/>
                      <a:pt x="131" y="306"/>
                      <a:pt x="128" y="304"/>
                    </a:cubicBezTo>
                    <a:cubicBezTo>
                      <a:pt x="125" y="302"/>
                      <a:pt x="126" y="297"/>
                      <a:pt x="125" y="294"/>
                    </a:cubicBezTo>
                    <a:cubicBezTo>
                      <a:pt x="124" y="290"/>
                      <a:pt x="124" y="286"/>
                      <a:pt x="121" y="284"/>
                    </a:cubicBezTo>
                    <a:cubicBezTo>
                      <a:pt x="121" y="282"/>
                      <a:pt x="117" y="284"/>
                      <a:pt x="117" y="282"/>
                    </a:cubicBezTo>
                    <a:cubicBezTo>
                      <a:pt x="119" y="279"/>
                      <a:pt x="123" y="276"/>
                      <a:pt x="125" y="272"/>
                    </a:cubicBezTo>
                    <a:cubicBezTo>
                      <a:pt x="128" y="265"/>
                      <a:pt x="118" y="270"/>
                      <a:pt x="128" y="262"/>
                    </a:cubicBezTo>
                    <a:cubicBezTo>
                      <a:pt x="137" y="255"/>
                      <a:pt x="148" y="256"/>
                      <a:pt x="149" y="242"/>
                    </a:cubicBezTo>
                    <a:cubicBezTo>
                      <a:pt x="149" y="241"/>
                      <a:pt x="138" y="233"/>
                      <a:pt x="136" y="229"/>
                    </a:cubicBezTo>
                    <a:cubicBezTo>
                      <a:pt x="133" y="221"/>
                      <a:pt x="137" y="210"/>
                      <a:pt x="137" y="208"/>
                    </a:cubicBezTo>
                    <a:cubicBezTo>
                      <a:pt x="136" y="208"/>
                      <a:pt x="127" y="190"/>
                      <a:pt x="127" y="190"/>
                    </a:cubicBezTo>
                    <a:cubicBezTo>
                      <a:pt x="126" y="189"/>
                      <a:pt x="129" y="190"/>
                      <a:pt x="130" y="190"/>
                    </a:cubicBezTo>
                    <a:cubicBezTo>
                      <a:pt x="135" y="192"/>
                      <a:pt x="138" y="193"/>
                      <a:pt x="143" y="194"/>
                    </a:cubicBezTo>
                    <a:cubicBezTo>
                      <a:pt x="156" y="197"/>
                      <a:pt x="159" y="198"/>
                      <a:pt x="166" y="185"/>
                    </a:cubicBezTo>
                    <a:cubicBezTo>
                      <a:pt x="174" y="169"/>
                      <a:pt x="165" y="175"/>
                      <a:pt x="164" y="163"/>
                    </a:cubicBezTo>
                    <a:cubicBezTo>
                      <a:pt x="162" y="152"/>
                      <a:pt x="180" y="157"/>
                      <a:pt x="180" y="150"/>
                    </a:cubicBezTo>
                    <a:cubicBezTo>
                      <a:pt x="181" y="144"/>
                      <a:pt x="174" y="149"/>
                      <a:pt x="178" y="142"/>
                    </a:cubicBezTo>
                    <a:cubicBezTo>
                      <a:pt x="178" y="141"/>
                      <a:pt x="181" y="141"/>
                      <a:pt x="181" y="139"/>
                    </a:cubicBezTo>
                    <a:cubicBezTo>
                      <a:pt x="183" y="135"/>
                      <a:pt x="183" y="131"/>
                      <a:pt x="183" y="127"/>
                    </a:cubicBezTo>
                    <a:cubicBezTo>
                      <a:pt x="184" y="123"/>
                      <a:pt x="187" y="118"/>
                      <a:pt x="187" y="114"/>
                    </a:cubicBezTo>
                    <a:cubicBezTo>
                      <a:pt x="182" y="100"/>
                      <a:pt x="182" y="100"/>
                      <a:pt x="182" y="100"/>
                    </a:cubicBezTo>
                    <a:cubicBezTo>
                      <a:pt x="183" y="99"/>
                      <a:pt x="187" y="102"/>
                      <a:pt x="190" y="101"/>
                    </a:cubicBezTo>
                    <a:cubicBezTo>
                      <a:pt x="202" y="88"/>
                      <a:pt x="202" y="88"/>
                      <a:pt x="202" y="88"/>
                    </a:cubicBezTo>
                    <a:cubicBezTo>
                      <a:pt x="210" y="84"/>
                      <a:pt x="226" y="83"/>
                      <a:pt x="230" y="71"/>
                    </a:cubicBezTo>
                    <a:cubicBezTo>
                      <a:pt x="234" y="60"/>
                      <a:pt x="219" y="61"/>
                      <a:pt x="215" y="60"/>
                    </a:cubicBezTo>
                    <a:cubicBezTo>
                      <a:pt x="212" y="60"/>
                      <a:pt x="217" y="38"/>
                      <a:pt x="215" y="37"/>
                    </a:cubicBezTo>
                    <a:cubicBezTo>
                      <a:pt x="204" y="31"/>
                      <a:pt x="202" y="36"/>
                      <a:pt x="189" y="31"/>
                    </a:cubicBezTo>
                    <a:cubicBezTo>
                      <a:pt x="187" y="30"/>
                      <a:pt x="187" y="24"/>
                      <a:pt x="182" y="28"/>
                    </a:cubicBezTo>
                    <a:cubicBezTo>
                      <a:pt x="181" y="29"/>
                      <a:pt x="183" y="32"/>
                      <a:pt x="182" y="33"/>
                    </a:cubicBezTo>
                    <a:cubicBezTo>
                      <a:pt x="174" y="40"/>
                      <a:pt x="166" y="32"/>
                      <a:pt x="164" y="31"/>
                    </a:cubicBezTo>
                    <a:cubicBezTo>
                      <a:pt x="161" y="30"/>
                      <a:pt x="159" y="33"/>
                      <a:pt x="157" y="32"/>
                    </a:cubicBezTo>
                    <a:cubicBezTo>
                      <a:pt x="156" y="31"/>
                      <a:pt x="160" y="30"/>
                      <a:pt x="159" y="29"/>
                    </a:cubicBezTo>
                    <a:cubicBezTo>
                      <a:pt x="159" y="27"/>
                      <a:pt x="156" y="26"/>
                      <a:pt x="153" y="26"/>
                    </a:cubicBezTo>
                    <a:cubicBezTo>
                      <a:pt x="150" y="26"/>
                      <a:pt x="146" y="27"/>
                      <a:pt x="143" y="26"/>
                    </a:cubicBezTo>
                    <a:cubicBezTo>
                      <a:pt x="142" y="26"/>
                      <a:pt x="143" y="24"/>
                      <a:pt x="143" y="23"/>
                    </a:cubicBezTo>
                    <a:cubicBezTo>
                      <a:pt x="143" y="23"/>
                      <a:pt x="144" y="21"/>
                      <a:pt x="143" y="21"/>
                    </a:cubicBezTo>
                    <a:cubicBezTo>
                      <a:pt x="140" y="22"/>
                      <a:pt x="134" y="30"/>
                      <a:pt x="129" y="26"/>
                    </a:cubicBezTo>
                    <a:cubicBezTo>
                      <a:pt x="115" y="17"/>
                      <a:pt x="142" y="14"/>
                      <a:pt x="135" y="8"/>
                    </a:cubicBezTo>
                    <a:cubicBezTo>
                      <a:pt x="134" y="6"/>
                      <a:pt x="131" y="8"/>
                      <a:pt x="130" y="6"/>
                    </a:cubicBezTo>
                    <a:cubicBezTo>
                      <a:pt x="130" y="5"/>
                      <a:pt x="133" y="3"/>
                      <a:pt x="131" y="2"/>
                    </a:cubicBezTo>
                    <a:cubicBezTo>
                      <a:pt x="121" y="0"/>
                      <a:pt x="107" y="4"/>
                      <a:pt x="99" y="8"/>
                    </a:cubicBezTo>
                    <a:cubicBezTo>
                      <a:pt x="97" y="14"/>
                      <a:pt x="83" y="17"/>
                      <a:pt x="87" y="22"/>
                    </a:cubicBezTo>
                    <a:cubicBezTo>
                      <a:pt x="89" y="24"/>
                      <a:pt x="96" y="23"/>
                      <a:pt x="97" y="27"/>
                    </a:cubicBezTo>
                    <a:cubicBezTo>
                      <a:pt x="98" y="30"/>
                      <a:pt x="91" y="26"/>
                      <a:pt x="89" y="28"/>
                    </a:cubicBezTo>
                    <a:cubicBezTo>
                      <a:pt x="86" y="34"/>
                      <a:pt x="86" y="58"/>
                      <a:pt x="87" y="64"/>
                    </a:cubicBezTo>
                    <a:cubicBezTo>
                      <a:pt x="87" y="66"/>
                      <a:pt x="90" y="66"/>
                      <a:pt x="90" y="69"/>
                    </a:cubicBezTo>
                    <a:cubicBezTo>
                      <a:pt x="90" y="78"/>
                      <a:pt x="86" y="84"/>
                      <a:pt x="82" y="92"/>
                    </a:cubicBezTo>
                    <a:cubicBezTo>
                      <a:pt x="80" y="95"/>
                      <a:pt x="73" y="103"/>
                      <a:pt x="77" y="102"/>
                    </a:cubicBezTo>
                    <a:cubicBezTo>
                      <a:pt x="81" y="101"/>
                      <a:pt x="81" y="92"/>
                      <a:pt x="84" y="91"/>
                    </a:cubicBezTo>
                    <a:cubicBezTo>
                      <a:pt x="87" y="91"/>
                      <a:pt x="89" y="96"/>
                      <a:pt x="88" y="99"/>
                    </a:cubicBezTo>
                    <a:cubicBezTo>
                      <a:pt x="85" y="103"/>
                      <a:pt x="77" y="101"/>
                      <a:pt x="74" y="105"/>
                    </a:cubicBezTo>
                    <a:cubicBezTo>
                      <a:pt x="70" y="112"/>
                      <a:pt x="68" y="120"/>
                      <a:pt x="64" y="127"/>
                    </a:cubicBezTo>
                    <a:cubicBezTo>
                      <a:pt x="62" y="130"/>
                      <a:pt x="58" y="131"/>
                      <a:pt x="59" y="134"/>
                    </a:cubicBezTo>
                    <a:cubicBezTo>
                      <a:pt x="59" y="137"/>
                      <a:pt x="64" y="138"/>
                      <a:pt x="65" y="141"/>
                    </a:cubicBezTo>
                    <a:cubicBezTo>
                      <a:pt x="66" y="142"/>
                      <a:pt x="62" y="138"/>
                      <a:pt x="61" y="139"/>
                    </a:cubicBezTo>
                    <a:cubicBezTo>
                      <a:pt x="58" y="140"/>
                      <a:pt x="57" y="145"/>
                      <a:pt x="54" y="148"/>
                    </a:cubicBezTo>
                    <a:cubicBezTo>
                      <a:pt x="49" y="157"/>
                      <a:pt x="43" y="169"/>
                      <a:pt x="36" y="177"/>
                    </a:cubicBezTo>
                    <a:cubicBezTo>
                      <a:pt x="34" y="179"/>
                      <a:pt x="31" y="180"/>
                      <a:pt x="28" y="182"/>
                    </a:cubicBezTo>
                    <a:cubicBezTo>
                      <a:pt x="28" y="183"/>
                      <a:pt x="31" y="185"/>
                      <a:pt x="30" y="185"/>
                    </a:cubicBezTo>
                    <a:cubicBezTo>
                      <a:pt x="26" y="186"/>
                      <a:pt x="20" y="182"/>
                      <a:pt x="17" y="185"/>
                    </a:cubicBezTo>
                    <a:cubicBezTo>
                      <a:pt x="14" y="188"/>
                      <a:pt x="19" y="193"/>
                      <a:pt x="18" y="196"/>
                    </a:cubicBezTo>
                    <a:cubicBezTo>
                      <a:pt x="17" y="202"/>
                      <a:pt x="0" y="225"/>
                      <a:pt x="1" y="231"/>
                    </a:cubicBezTo>
                    <a:cubicBezTo>
                      <a:pt x="2" y="235"/>
                      <a:pt x="5" y="238"/>
                      <a:pt x="8" y="242"/>
                    </a:cubicBezTo>
                    <a:cubicBezTo>
                      <a:pt x="13" y="252"/>
                      <a:pt x="11" y="256"/>
                      <a:pt x="11" y="256"/>
                    </a:cubicBezTo>
                    <a:cubicBezTo>
                      <a:pt x="15" y="258"/>
                      <a:pt x="21" y="257"/>
                      <a:pt x="25" y="256"/>
                    </a:cubicBezTo>
                    <a:cubicBezTo>
                      <a:pt x="27" y="256"/>
                      <a:pt x="28" y="254"/>
                      <a:pt x="31" y="254"/>
                    </a:cubicBezTo>
                    <a:cubicBezTo>
                      <a:pt x="33" y="254"/>
                      <a:pt x="34" y="258"/>
                      <a:pt x="37" y="258"/>
                    </a:cubicBezTo>
                    <a:cubicBezTo>
                      <a:pt x="39" y="259"/>
                      <a:pt x="39" y="251"/>
                      <a:pt x="40" y="253"/>
                    </a:cubicBezTo>
                    <a:cubicBezTo>
                      <a:pt x="41" y="255"/>
                      <a:pt x="39" y="259"/>
                      <a:pt x="40" y="262"/>
                    </a:cubicBezTo>
                    <a:cubicBezTo>
                      <a:pt x="41" y="264"/>
                      <a:pt x="49" y="265"/>
                      <a:pt x="47" y="266"/>
                    </a:cubicBezTo>
                    <a:cubicBezTo>
                      <a:pt x="32" y="273"/>
                      <a:pt x="41" y="254"/>
                      <a:pt x="28" y="256"/>
                    </a:cubicBezTo>
                    <a:cubicBezTo>
                      <a:pt x="25" y="256"/>
                      <a:pt x="32" y="261"/>
                      <a:pt x="34" y="264"/>
                    </a:cubicBezTo>
                    <a:cubicBezTo>
                      <a:pt x="34" y="267"/>
                      <a:pt x="34" y="271"/>
                      <a:pt x="33" y="275"/>
                    </a:cubicBezTo>
                    <a:cubicBezTo>
                      <a:pt x="32" y="282"/>
                      <a:pt x="22" y="289"/>
                      <a:pt x="22" y="295"/>
                    </a:cubicBezTo>
                    <a:cubicBezTo>
                      <a:pt x="22" y="297"/>
                      <a:pt x="26" y="299"/>
                      <a:pt x="26" y="301"/>
                    </a:cubicBezTo>
                    <a:cubicBezTo>
                      <a:pt x="26" y="305"/>
                      <a:pt x="20" y="312"/>
                      <a:pt x="24" y="314"/>
                    </a:cubicBezTo>
                    <a:cubicBezTo>
                      <a:pt x="25" y="314"/>
                      <a:pt x="29" y="312"/>
                      <a:pt x="28" y="313"/>
                    </a:cubicBezTo>
                    <a:cubicBezTo>
                      <a:pt x="27" y="315"/>
                      <a:pt x="23" y="314"/>
                      <a:pt x="22" y="315"/>
                    </a:cubicBezTo>
                    <a:cubicBezTo>
                      <a:pt x="19" y="321"/>
                      <a:pt x="21" y="328"/>
                      <a:pt x="18" y="333"/>
                    </a:cubicBezTo>
                    <a:cubicBezTo>
                      <a:pt x="16" y="338"/>
                      <a:pt x="2" y="357"/>
                      <a:pt x="4" y="363"/>
                    </a:cubicBezTo>
                    <a:cubicBezTo>
                      <a:pt x="4" y="365"/>
                      <a:pt x="8" y="361"/>
                      <a:pt x="10" y="361"/>
                    </a:cubicBezTo>
                    <a:cubicBezTo>
                      <a:pt x="14" y="360"/>
                      <a:pt x="17" y="361"/>
                      <a:pt x="21" y="361"/>
                    </a:cubicBezTo>
                    <a:cubicBezTo>
                      <a:pt x="22" y="361"/>
                      <a:pt x="24" y="359"/>
                      <a:pt x="26" y="359"/>
                    </a:cubicBezTo>
                    <a:cubicBezTo>
                      <a:pt x="35" y="362"/>
                      <a:pt x="64" y="381"/>
                      <a:pt x="68" y="380"/>
                    </a:cubicBezTo>
                    <a:cubicBezTo>
                      <a:pt x="70" y="380"/>
                      <a:pt x="87" y="372"/>
                      <a:pt x="88" y="371"/>
                    </a:cubicBezTo>
                    <a:cubicBezTo>
                      <a:pt x="90" y="371"/>
                      <a:pt x="93" y="371"/>
                      <a:pt x="96" y="371"/>
                    </a:cubicBezTo>
                    <a:close/>
                  </a:path>
                </a:pathLst>
              </a:custGeom>
              <a:solidFill>
                <a:srgbClr val="D9D9D9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9" name="Spain" descr="{&quot;Key&quot;:&quot;spain&quot;,&quot;Name&quot;:&quot;Spain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3C6B7CC8-6E8A-D4AD-EC7A-1AC8A520ECF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04476" y="8595013"/>
                <a:ext cx="1215881" cy="1231294"/>
              </a:xfrm>
              <a:custGeom>
                <a:avLst/>
                <a:gdLst>
                  <a:gd name="T0" fmla="*/ 622 w 727"/>
                  <a:gd name="T1" fmla="*/ 200 h 684"/>
                  <a:gd name="T2" fmla="*/ 674 w 727"/>
                  <a:gd name="T3" fmla="*/ 205 h 684"/>
                  <a:gd name="T4" fmla="*/ 634 w 727"/>
                  <a:gd name="T5" fmla="*/ 264 h 684"/>
                  <a:gd name="T6" fmla="*/ 520 w 727"/>
                  <a:gd name="T7" fmla="*/ 310 h 684"/>
                  <a:gd name="T8" fmla="*/ 450 w 727"/>
                  <a:gd name="T9" fmla="*/ 397 h 684"/>
                  <a:gd name="T10" fmla="*/ 454 w 727"/>
                  <a:gd name="T11" fmla="*/ 469 h 684"/>
                  <a:gd name="T12" fmla="*/ 428 w 727"/>
                  <a:gd name="T13" fmla="*/ 481 h 684"/>
                  <a:gd name="T14" fmla="*/ 402 w 727"/>
                  <a:gd name="T15" fmla="*/ 521 h 684"/>
                  <a:gd name="T16" fmla="*/ 352 w 727"/>
                  <a:gd name="T17" fmla="*/ 540 h 684"/>
                  <a:gd name="T18" fmla="*/ 260 w 727"/>
                  <a:gd name="T19" fmla="*/ 571 h 684"/>
                  <a:gd name="T20" fmla="*/ 165 w 727"/>
                  <a:gd name="T21" fmla="*/ 572 h 684"/>
                  <a:gd name="T22" fmla="*/ 101 w 727"/>
                  <a:gd name="T23" fmla="*/ 597 h 684"/>
                  <a:gd name="T24" fmla="*/ 77 w 727"/>
                  <a:gd name="T25" fmla="*/ 577 h 684"/>
                  <a:gd name="T26" fmla="*/ 72 w 727"/>
                  <a:gd name="T27" fmla="*/ 547 h 684"/>
                  <a:gd name="T28" fmla="*/ 63 w 727"/>
                  <a:gd name="T29" fmla="*/ 518 h 684"/>
                  <a:gd name="T30" fmla="*/ 40 w 727"/>
                  <a:gd name="T31" fmla="*/ 495 h 684"/>
                  <a:gd name="T32" fmla="*/ 32 w 727"/>
                  <a:gd name="T33" fmla="*/ 431 h 684"/>
                  <a:gd name="T34" fmla="*/ 37 w 727"/>
                  <a:gd name="T35" fmla="*/ 399 h 684"/>
                  <a:gd name="T36" fmla="*/ 65 w 727"/>
                  <a:gd name="T37" fmla="*/ 357 h 684"/>
                  <a:gd name="T38" fmla="*/ 46 w 727"/>
                  <a:gd name="T39" fmla="*/ 305 h 684"/>
                  <a:gd name="T40" fmla="*/ 96 w 727"/>
                  <a:gd name="T41" fmla="*/ 265 h 684"/>
                  <a:gd name="T42" fmla="*/ 103 w 727"/>
                  <a:gd name="T43" fmla="*/ 229 h 684"/>
                  <a:gd name="T44" fmla="*/ 146 w 727"/>
                  <a:gd name="T45" fmla="*/ 186 h 684"/>
                  <a:gd name="T46" fmla="*/ 98 w 727"/>
                  <a:gd name="T47" fmla="*/ 143 h 684"/>
                  <a:gd name="T48" fmla="*/ 75 w 727"/>
                  <a:gd name="T49" fmla="*/ 144 h 684"/>
                  <a:gd name="T50" fmla="*/ 59 w 727"/>
                  <a:gd name="T51" fmla="*/ 136 h 684"/>
                  <a:gd name="T52" fmla="*/ 47 w 727"/>
                  <a:gd name="T53" fmla="*/ 117 h 684"/>
                  <a:gd name="T54" fmla="*/ 13 w 727"/>
                  <a:gd name="T55" fmla="*/ 107 h 684"/>
                  <a:gd name="T56" fmla="*/ 16 w 727"/>
                  <a:gd name="T57" fmla="*/ 95 h 684"/>
                  <a:gd name="T58" fmla="*/ 19 w 727"/>
                  <a:gd name="T59" fmla="*/ 86 h 684"/>
                  <a:gd name="T60" fmla="*/ 17 w 727"/>
                  <a:gd name="T61" fmla="*/ 33 h 684"/>
                  <a:gd name="T62" fmla="*/ 75 w 727"/>
                  <a:gd name="T63" fmla="*/ 10 h 684"/>
                  <a:gd name="T64" fmla="*/ 131 w 727"/>
                  <a:gd name="T65" fmla="*/ 35 h 684"/>
                  <a:gd name="T66" fmla="*/ 184 w 727"/>
                  <a:gd name="T67" fmla="*/ 41 h 684"/>
                  <a:gd name="T68" fmla="*/ 217 w 727"/>
                  <a:gd name="T69" fmla="*/ 53 h 684"/>
                  <a:gd name="T70" fmla="*/ 302 w 727"/>
                  <a:gd name="T71" fmla="*/ 71 h 684"/>
                  <a:gd name="T72" fmla="*/ 342 w 727"/>
                  <a:gd name="T73" fmla="*/ 87 h 684"/>
                  <a:gd name="T74" fmla="*/ 377 w 727"/>
                  <a:gd name="T75" fmla="*/ 100 h 684"/>
                  <a:gd name="T76" fmla="*/ 430 w 727"/>
                  <a:gd name="T77" fmla="*/ 111 h 684"/>
                  <a:gd name="T78" fmla="*/ 462 w 727"/>
                  <a:gd name="T79" fmla="*/ 138 h 684"/>
                  <a:gd name="T80" fmla="*/ 509 w 727"/>
                  <a:gd name="T81" fmla="*/ 163 h 684"/>
                  <a:gd name="T82" fmla="*/ 541 w 727"/>
                  <a:gd name="T83" fmla="*/ 157 h 684"/>
                  <a:gd name="T84" fmla="*/ 578 w 727"/>
                  <a:gd name="T85" fmla="*/ 182 h 684"/>
                  <a:gd name="T86" fmla="*/ 103 w 727"/>
                  <a:gd name="T87" fmla="*/ 627 h 684"/>
                  <a:gd name="T88" fmla="*/ 119 w 727"/>
                  <a:gd name="T89" fmla="*/ 608 h 684"/>
                  <a:gd name="T90" fmla="*/ 254 w 727"/>
                  <a:gd name="T91" fmla="*/ 669 h 684"/>
                  <a:gd name="T92" fmla="*/ 256 w 727"/>
                  <a:gd name="T93" fmla="*/ 683 h 684"/>
                  <a:gd name="T94" fmla="*/ 643 w 727"/>
                  <a:gd name="T95" fmla="*/ 437 h 684"/>
                  <a:gd name="T96" fmla="*/ 615 w 727"/>
                  <a:gd name="T97" fmla="*/ 414 h 684"/>
                  <a:gd name="T98" fmla="*/ 714 w 727"/>
                  <a:gd name="T99" fmla="*/ 387 h 684"/>
                  <a:gd name="T100" fmla="*/ 613 w 727"/>
                  <a:gd name="T101" fmla="*/ 440 h 684"/>
                  <a:gd name="T102" fmla="*/ 620 w 727"/>
                  <a:gd name="T103" fmla="*/ 442 h 684"/>
                  <a:gd name="T104" fmla="*/ 592 w 727"/>
                  <a:gd name="T105" fmla="*/ 430 h 684"/>
                  <a:gd name="T106" fmla="*/ 605 w 727"/>
                  <a:gd name="T107" fmla="*/ 422 h 6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727" h="684">
                    <a:moveTo>
                      <a:pt x="592" y="192"/>
                    </a:moveTo>
                    <a:cubicBezTo>
                      <a:pt x="596" y="193"/>
                      <a:pt x="600" y="194"/>
                      <a:pt x="603" y="197"/>
                    </a:cubicBezTo>
                    <a:cubicBezTo>
                      <a:pt x="604" y="198"/>
                      <a:pt x="605" y="204"/>
                      <a:pt x="608" y="203"/>
                    </a:cubicBezTo>
                    <a:cubicBezTo>
                      <a:pt x="613" y="203"/>
                      <a:pt x="617" y="200"/>
                      <a:pt x="622" y="200"/>
                    </a:cubicBezTo>
                    <a:cubicBezTo>
                      <a:pt x="627" y="200"/>
                      <a:pt x="637" y="211"/>
                      <a:pt x="643" y="210"/>
                    </a:cubicBezTo>
                    <a:cubicBezTo>
                      <a:pt x="645" y="209"/>
                      <a:pt x="643" y="205"/>
                      <a:pt x="644" y="203"/>
                    </a:cubicBezTo>
                    <a:cubicBezTo>
                      <a:pt x="653" y="198"/>
                      <a:pt x="663" y="203"/>
                      <a:pt x="672" y="205"/>
                    </a:cubicBezTo>
                    <a:cubicBezTo>
                      <a:pt x="674" y="205"/>
                      <a:pt x="674" y="205"/>
                      <a:pt x="674" y="205"/>
                    </a:cubicBezTo>
                    <a:cubicBezTo>
                      <a:pt x="677" y="208"/>
                      <a:pt x="679" y="211"/>
                      <a:pt x="678" y="214"/>
                    </a:cubicBezTo>
                    <a:cubicBezTo>
                      <a:pt x="677" y="219"/>
                      <a:pt x="670" y="218"/>
                      <a:pt x="667" y="220"/>
                    </a:cubicBezTo>
                    <a:cubicBezTo>
                      <a:pt x="665" y="223"/>
                      <a:pt x="674" y="236"/>
                      <a:pt x="668" y="245"/>
                    </a:cubicBezTo>
                    <a:cubicBezTo>
                      <a:pt x="665" y="252"/>
                      <a:pt x="641" y="261"/>
                      <a:pt x="634" y="264"/>
                    </a:cubicBezTo>
                    <a:cubicBezTo>
                      <a:pt x="628" y="266"/>
                      <a:pt x="618" y="268"/>
                      <a:pt x="614" y="272"/>
                    </a:cubicBezTo>
                    <a:cubicBezTo>
                      <a:pt x="610" y="275"/>
                      <a:pt x="605" y="283"/>
                      <a:pt x="600" y="284"/>
                    </a:cubicBezTo>
                    <a:cubicBezTo>
                      <a:pt x="581" y="290"/>
                      <a:pt x="546" y="286"/>
                      <a:pt x="531" y="298"/>
                    </a:cubicBezTo>
                    <a:cubicBezTo>
                      <a:pt x="527" y="302"/>
                      <a:pt x="519" y="305"/>
                      <a:pt x="520" y="310"/>
                    </a:cubicBezTo>
                    <a:cubicBezTo>
                      <a:pt x="522" y="314"/>
                      <a:pt x="531" y="313"/>
                      <a:pt x="530" y="317"/>
                    </a:cubicBezTo>
                    <a:cubicBezTo>
                      <a:pt x="530" y="319"/>
                      <a:pt x="513" y="323"/>
                      <a:pt x="511" y="323"/>
                    </a:cubicBezTo>
                    <a:cubicBezTo>
                      <a:pt x="505" y="328"/>
                      <a:pt x="502" y="338"/>
                      <a:pt x="497" y="344"/>
                    </a:cubicBezTo>
                    <a:cubicBezTo>
                      <a:pt x="481" y="360"/>
                      <a:pt x="460" y="376"/>
                      <a:pt x="450" y="397"/>
                    </a:cubicBezTo>
                    <a:cubicBezTo>
                      <a:pt x="445" y="405"/>
                      <a:pt x="451" y="433"/>
                      <a:pt x="457" y="440"/>
                    </a:cubicBezTo>
                    <a:cubicBezTo>
                      <a:pt x="458" y="442"/>
                      <a:pt x="479" y="454"/>
                      <a:pt x="474" y="457"/>
                    </a:cubicBezTo>
                    <a:cubicBezTo>
                      <a:pt x="470" y="461"/>
                      <a:pt x="460" y="462"/>
                      <a:pt x="457" y="465"/>
                    </a:cubicBezTo>
                    <a:cubicBezTo>
                      <a:pt x="455" y="466"/>
                      <a:pt x="455" y="469"/>
                      <a:pt x="454" y="469"/>
                    </a:cubicBezTo>
                    <a:cubicBezTo>
                      <a:pt x="453" y="470"/>
                      <a:pt x="451" y="469"/>
                      <a:pt x="450" y="469"/>
                    </a:cubicBezTo>
                    <a:cubicBezTo>
                      <a:pt x="446" y="470"/>
                      <a:pt x="441" y="470"/>
                      <a:pt x="437" y="473"/>
                    </a:cubicBezTo>
                    <a:cubicBezTo>
                      <a:pt x="435" y="475"/>
                      <a:pt x="436" y="479"/>
                      <a:pt x="434" y="481"/>
                    </a:cubicBezTo>
                    <a:cubicBezTo>
                      <a:pt x="432" y="482"/>
                      <a:pt x="429" y="480"/>
                      <a:pt x="428" y="481"/>
                    </a:cubicBezTo>
                    <a:cubicBezTo>
                      <a:pt x="426" y="483"/>
                      <a:pt x="428" y="488"/>
                      <a:pt x="426" y="490"/>
                    </a:cubicBezTo>
                    <a:cubicBezTo>
                      <a:pt x="424" y="493"/>
                      <a:pt x="419" y="490"/>
                      <a:pt x="417" y="493"/>
                    </a:cubicBezTo>
                    <a:cubicBezTo>
                      <a:pt x="415" y="497"/>
                      <a:pt x="419" y="502"/>
                      <a:pt x="417" y="505"/>
                    </a:cubicBezTo>
                    <a:cubicBezTo>
                      <a:pt x="412" y="516"/>
                      <a:pt x="402" y="503"/>
                      <a:pt x="402" y="521"/>
                    </a:cubicBezTo>
                    <a:cubicBezTo>
                      <a:pt x="402" y="526"/>
                      <a:pt x="411" y="528"/>
                      <a:pt x="410" y="532"/>
                    </a:cubicBezTo>
                    <a:cubicBezTo>
                      <a:pt x="408" y="536"/>
                      <a:pt x="402" y="535"/>
                      <a:pt x="397" y="534"/>
                    </a:cubicBezTo>
                    <a:cubicBezTo>
                      <a:pt x="394" y="534"/>
                      <a:pt x="391" y="532"/>
                      <a:pt x="389" y="531"/>
                    </a:cubicBezTo>
                    <a:cubicBezTo>
                      <a:pt x="377" y="528"/>
                      <a:pt x="363" y="533"/>
                      <a:pt x="352" y="540"/>
                    </a:cubicBezTo>
                    <a:cubicBezTo>
                      <a:pt x="335" y="551"/>
                      <a:pt x="335" y="573"/>
                      <a:pt x="317" y="583"/>
                    </a:cubicBezTo>
                    <a:cubicBezTo>
                      <a:pt x="310" y="586"/>
                      <a:pt x="308" y="568"/>
                      <a:pt x="291" y="572"/>
                    </a:cubicBezTo>
                    <a:cubicBezTo>
                      <a:pt x="287" y="573"/>
                      <a:pt x="286" y="578"/>
                      <a:pt x="282" y="579"/>
                    </a:cubicBezTo>
                    <a:cubicBezTo>
                      <a:pt x="277" y="581"/>
                      <a:pt x="265" y="571"/>
                      <a:pt x="260" y="571"/>
                    </a:cubicBezTo>
                    <a:cubicBezTo>
                      <a:pt x="253" y="569"/>
                      <a:pt x="245" y="573"/>
                      <a:pt x="238" y="572"/>
                    </a:cubicBezTo>
                    <a:cubicBezTo>
                      <a:pt x="234" y="571"/>
                      <a:pt x="232" y="567"/>
                      <a:pt x="228" y="566"/>
                    </a:cubicBezTo>
                    <a:cubicBezTo>
                      <a:pt x="221" y="563"/>
                      <a:pt x="187" y="558"/>
                      <a:pt x="181" y="559"/>
                    </a:cubicBezTo>
                    <a:cubicBezTo>
                      <a:pt x="174" y="561"/>
                      <a:pt x="171" y="569"/>
                      <a:pt x="165" y="572"/>
                    </a:cubicBezTo>
                    <a:cubicBezTo>
                      <a:pt x="155" y="576"/>
                      <a:pt x="144" y="566"/>
                      <a:pt x="132" y="572"/>
                    </a:cubicBezTo>
                    <a:cubicBezTo>
                      <a:pt x="122" y="577"/>
                      <a:pt x="123" y="581"/>
                      <a:pt x="118" y="589"/>
                    </a:cubicBezTo>
                    <a:cubicBezTo>
                      <a:pt x="117" y="589"/>
                      <a:pt x="114" y="586"/>
                      <a:pt x="111" y="588"/>
                    </a:cubicBezTo>
                    <a:cubicBezTo>
                      <a:pt x="108" y="590"/>
                      <a:pt x="105" y="595"/>
                      <a:pt x="101" y="597"/>
                    </a:cubicBezTo>
                    <a:cubicBezTo>
                      <a:pt x="99" y="597"/>
                      <a:pt x="99" y="593"/>
                      <a:pt x="97" y="592"/>
                    </a:cubicBezTo>
                    <a:cubicBezTo>
                      <a:pt x="95" y="590"/>
                      <a:pt x="92" y="590"/>
                      <a:pt x="90" y="588"/>
                    </a:cubicBezTo>
                    <a:cubicBezTo>
                      <a:pt x="88" y="585"/>
                      <a:pt x="87" y="581"/>
                      <a:pt x="84" y="579"/>
                    </a:cubicBezTo>
                    <a:cubicBezTo>
                      <a:pt x="83" y="577"/>
                      <a:pt x="79" y="579"/>
                      <a:pt x="77" y="577"/>
                    </a:cubicBezTo>
                    <a:cubicBezTo>
                      <a:pt x="73" y="573"/>
                      <a:pt x="68" y="555"/>
                      <a:pt x="67" y="549"/>
                    </a:cubicBezTo>
                    <a:cubicBezTo>
                      <a:pt x="67" y="549"/>
                      <a:pt x="75" y="557"/>
                      <a:pt x="74" y="552"/>
                    </a:cubicBezTo>
                    <a:cubicBezTo>
                      <a:pt x="74" y="550"/>
                      <a:pt x="71" y="552"/>
                      <a:pt x="70" y="551"/>
                    </a:cubicBezTo>
                    <a:cubicBezTo>
                      <a:pt x="69" y="550"/>
                      <a:pt x="72" y="549"/>
                      <a:pt x="72" y="547"/>
                    </a:cubicBezTo>
                    <a:cubicBezTo>
                      <a:pt x="70" y="538"/>
                      <a:pt x="62" y="549"/>
                      <a:pt x="62" y="533"/>
                    </a:cubicBezTo>
                    <a:cubicBezTo>
                      <a:pt x="62" y="533"/>
                      <a:pt x="84" y="523"/>
                      <a:pt x="79" y="521"/>
                    </a:cubicBezTo>
                    <a:cubicBezTo>
                      <a:pt x="75" y="520"/>
                      <a:pt x="72" y="530"/>
                      <a:pt x="67" y="529"/>
                    </a:cubicBezTo>
                    <a:cubicBezTo>
                      <a:pt x="63" y="528"/>
                      <a:pt x="65" y="521"/>
                      <a:pt x="63" y="518"/>
                    </a:cubicBezTo>
                    <a:cubicBezTo>
                      <a:pt x="62" y="515"/>
                      <a:pt x="59" y="512"/>
                      <a:pt x="57" y="509"/>
                    </a:cubicBezTo>
                    <a:cubicBezTo>
                      <a:pt x="42" y="494"/>
                      <a:pt x="42" y="494"/>
                      <a:pt x="42" y="494"/>
                    </a:cubicBezTo>
                    <a:cubicBezTo>
                      <a:pt x="42" y="494"/>
                      <a:pt x="42" y="494"/>
                      <a:pt x="42" y="493"/>
                    </a:cubicBezTo>
                    <a:cubicBezTo>
                      <a:pt x="41" y="494"/>
                      <a:pt x="41" y="495"/>
                      <a:pt x="40" y="495"/>
                    </a:cubicBezTo>
                    <a:cubicBezTo>
                      <a:pt x="36" y="495"/>
                      <a:pt x="34" y="491"/>
                      <a:pt x="32" y="489"/>
                    </a:cubicBezTo>
                    <a:cubicBezTo>
                      <a:pt x="29" y="488"/>
                      <a:pt x="19" y="486"/>
                      <a:pt x="12" y="486"/>
                    </a:cubicBezTo>
                    <a:cubicBezTo>
                      <a:pt x="13" y="463"/>
                      <a:pt x="7" y="459"/>
                      <a:pt x="26" y="442"/>
                    </a:cubicBezTo>
                    <a:cubicBezTo>
                      <a:pt x="29" y="439"/>
                      <a:pt x="29" y="433"/>
                      <a:pt x="32" y="431"/>
                    </a:cubicBezTo>
                    <a:cubicBezTo>
                      <a:pt x="33" y="431"/>
                      <a:pt x="61" y="430"/>
                      <a:pt x="54" y="419"/>
                    </a:cubicBezTo>
                    <a:cubicBezTo>
                      <a:pt x="53" y="416"/>
                      <a:pt x="47" y="421"/>
                      <a:pt x="44" y="419"/>
                    </a:cubicBezTo>
                    <a:cubicBezTo>
                      <a:pt x="41" y="417"/>
                      <a:pt x="42" y="412"/>
                      <a:pt x="41" y="409"/>
                    </a:cubicBezTo>
                    <a:cubicBezTo>
                      <a:pt x="40" y="405"/>
                      <a:pt x="40" y="401"/>
                      <a:pt x="37" y="399"/>
                    </a:cubicBezTo>
                    <a:cubicBezTo>
                      <a:pt x="37" y="397"/>
                      <a:pt x="33" y="399"/>
                      <a:pt x="33" y="397"/>
                    </a:cubicBezTo>
                    <a:cubicBezTo>
                      <a:pt x="35" y="394"/>
                      <a:pt x="39" y="391"/>
                      <a:pt x="41" y="387"/>
                    </a:cubicBezTo>
                    <a:cubicBezTo>
                      <a:pt x="44" y="380"/>
                      <a:pt x="34" y="385"/>
                      <a:pt x="44" y="377"/>
                    </a:cubicBezTo>
                    <a:cubicBezTo>
                      <a:pt x="53" y="370"/>
                      <a:pt x="64" y="371"/>
                      <a:pt x="65" y="357"/>
                    </a:cubicBezTo>
                    <a:cubicBezTo>
                      <a:pt x="65" y="356"/>
                      <a:pt x="54" y="348"/>
                      <a:pt x="52" y="344"/>
                    </a:cubicBezTo>
                    <a:cubicBezTo>
                      <a:pt x="49" y="336"/>
                      <a:pt x="53" y="325"/>
                      <a:pt x="53" y="323"/>
                    </a:cubicBezTo>
                    <a:cubicBezTo>
                      <a:pt x="52" y="323"/>
                      <a:pt x="43" y="305"/>
                      <a:pt x="43" y="305"/>
                    </a:cubicBezTo>
                    <a:cubicBezTo>
                      <a:pt x="42" y="304"/>
                      <a:pt x="45" y="305"/>
                      <a:pt x="46" y="305"/>
                    </a:cubicBezTo>
                    <a:cubicBezTo>
                      <a:pt x="51" y="307"/>
                      <a:pt x="54" y="308"/>
                      <a:pt x="59" y="309"/>
                    </a:cubicBezTo>
                    <a:cubicBezTo>
                      <a:pt x="72" y="312"/>
                      <a:pt x="75" y="313"/>
                      <a:pt x="82" y="300"/>
                    </a:cubicBezTo>
                    <a:cubicBezTo>
                      <a:pt x="90" y="284"/>
                      <a:pt x="81" y="290"/>
                      <a:pt x="80" y="278"/>
                    </a:cubicBezTo>
                    <a:cubicBezTo>
                      <a:pt x="78" y="267"/>
                      <a:pt x="96" y="272"/>
                      <a:pt x="96" y="265"/>
                    </a:cubicBezTo>
                    <a:cubicBezTo>
                      <a:pt x="97" y="259"/>
                      <a:pt x="90" y="264"/>
                      <a:pt x="94" y="257"/>
                    </a:cubicBezTo>
                    <a:cubicBezTo>
                      <a:pt x="94" y="256"/>
                      <a:pt x="97" y="256"/>
                      <a:pt x="97" y="254"/>
                    </a:cubicBezTo>
                    <a:cubicBezTo>
                      <a:pt x="99" y="250"/>
                      <a:pt x="99" y="246"/>
                      <a:pt x="99" y="242"/>
                    </a:cubicBezTo>
                    <a:cubicBezTo>
                      <a:pt x="100" y="238"/>
                      <a:pt x="103" y="233"/>
                      <a:pt x="103" y="229"/>
                    </a:cubicBezTo>
                    <a:cubicBezTo>
                      <a:pt x="98" y="215"/>
                      <a:pt x="98" y="215"/>
                      <a:pt x="98" y="215"/>
                    </a:cubicBezTo>
                    <a:cubicBezTo>
                      <a:pt x="99" y="214"/>
                      <a:pt x="103" y="217"/>
                      <a:pt x="106" y="216"/>
                    </a:cubicBezTo>
                    <a:cubicBezTo>
                      <a:pt x="118" y="203"/>
                      <a:pt x="118" y="203"/>
                      <a:pt x="118" y="203"/>
                    </a:cubicBezTo>
                    <a:cubicBezTo>
                      <a:pt x="126" y="199"/>
                      <a:pt x="142" y="198"/>
                      <a:pt x="146" y="186"/>
                    </a:cubicBezTo>
                    <a:cubicBezTo>
                      <a:pt x="150" y="175"/>
                      <a:pt x="135" y="176"/>
                      <a:pt x="131" y="175"/>
                    </a:cubicBezTo>
                    <a:cubicBezTo>
                      <a:pt x="128" y="175"/>
                      <a:pt x="133" y="153"/>
                      <a:pt x="131" y="152"/>
                    </a:cubicBezTo>
                    <a:cubicBezTo>
                      <a:pt x="120" y="146"/>
                      <a:pt x="118" y="151"/>
                      <a:pt x="105" y="146"/>
                    </a:cubicBezTo>
                    <a:cubicBezTo>
                      <a:pt x="103" y="145"/>
                      <a:pt x="103" y="139"/>
                      <a:pt x="98" y="143"/>
                    </a:cubicBezTo>
                    <a:cubicBezTo>
                      <a:pt x="97" y="144"/>
                      <a:pt x="99" y="147"/>
                      <a:pt x="98" y="148"/>
                    </a:cubicBezTo>
                    <a:cubicBezTo>
                      <a:pt x="90" y="155"/>
                      <a:pt x="82" y="147"/>
                      <a:pt x="80" y="146"/>
                    </a:cubicBezTo>
                    <a:cubicBezTo>
                      <a:pt x="77" y="145"/>
                      <a:pt x="75" y="148"/>
                      <a:pt x="73" y="147"/>
                    </a:cubicBezTo>
                    <a:cubicBezTo>
                      <a:pt x="72" y="146"/>
                      <a:pt x="76" y="145"/>
                      <a:pt x="75" y="144"/>
                    </a:cubicBezTo>
                    <a:cubicBezTo>
                      <a:pt x="75" y="142"/>
                      <a:pt x="72" y="141"/>
                      <a:pt x="69" y="141"/>
                    </a:cubicBezTo>
                    <a:cubicBezTo>
                      <a:pt x="66" y="141"/>
                      <a:pt x="62" y="142"/>
                      <a:pt x="59" y="141"/>
                    </a:cubicBezTo>
                    <a:cubicBezTo>
                      <a:pt x="58" y="141"/>
                      <a:pt x="59" y="139"/>
                      <a:pt x="59" y="138"/>
                    </a:cubicBezTo>
                    <a:cubicBezTo>
                      <a:pt x="59" y="138"/>
                      <a:pt x="60" y="136"/>
                      <a:pt x="59" y="136"/>
                    </a:cubicBezTo>
                    <a:cubicBezTo>
                      <a:pt x="56" y="137"/>
                      <a:pt x="50" y="145"/>
                      <a:pt x="45" y="141"/>
                    </a:cubicBezTo>
                    <a:cubicBezTo>
                      <a:pt x="31" y="132"/>
                      <a:pt x="58" y="129"/>
                      <a:pt x="51" y="123"/>
                    </a:cubicBezTo>
                    <a:cubicBezTo>
                      <a:pt x="50" y="121"/>
                      <a:pt x="47" y="123"/>
                      <a:pt x="46" y="121"/>
                    </a:cubicBezTo>
                    <a:cubicBezTo>
                      <a:pt x="46" y="120"/>
                      <a:pt x="49" y="118"/>
                      <a:pt x="47" y="117"/>
                    </a:cubicBezTo>
                    <a:cubicBezTo>
                      <a:pt x="37" y="115"/>
                      <a:pt x="23" y="119"/>
                      <a:pt x="15" y="123"/>
                    </a:cubicBezTo>
                    <a:cubicBezTo>
                      <a:pt x="16" y="119"/>
                      <a:pt x="10" y="115"/>
                      <a:pt x="10" y="110"/>
                    </a:cubicBezTo>
                    <a:cubicBezTo>
                      <a:pt x="9" y="108"/>
                      <a:pt x="12" y="112"/>
                      <a:pt x="13" y="111"/>
                    </a:cubicBezTo>
                    <a:cubicBezTo>
                      <a:pt x="15" y="111"/>
                      <a:pt x="12" y="108"/>
                      <a:pt x="13" y="107"/>
                    </a:cubicBezTo>
                    <a:cubicBezTo>
                      <a:pt x="14" y="102"/>
                      <a:pt x="23" y="104"/>
                      <a:pt x="26" y="100"/>
                    </a:cubicBezTo>
                    <a:cubicBezTo>
                      <a:pt x="28" y="100"/>
                      <a:pt x="30" y="97"/>
                      <a:pt x="28" y="98"/>
                    </a:cubicBezTo>
                    <a:cubicBezTo>
                      <a:pt x="25" y="98"/>
                      <a:pt x="21" y="102"/>
                      <a:pt x="18" y="102"/>
                    </a:cubicBezTo>
                    <a:cubicBezTo>
                      <a:pt x="15" y="103"/>
                      <a:pt x="14" y="98"/>
                      <a:pt x="16" y="95"/>
                    </a:cubicBezTo>
                    <a:cubicBezTo>
                      <a:pt x="20" y="93"/>
                      <a:pt x="27" y="95"/>
                      <a:pt x="28" y="91"/>
                    </a:cubicBezTo>
                    <a:cubicBezTo>
                      <a:pt x="29" y="87"/>
                      <a:pt x="21" y="92"/>
                      <a:pt x="18" y="91"/>
                    </a:cubicBezTo>
                    <a:cubicBezTo>
                      <a:pt x="16" y="90"/>
                      <a:pt x="14" y="87"/>
                      <a:pt x="13" y="85"/>
                    </a:cubicBezTo>
                    <a:cubicBezTo>
                      <a:pt x="13" y="79"/>
                      <a:pt x="19" y="86"/>
                      <a:pt x="19" y="86"/>
                    </a:cubicBezTo>
                    <a:cubicBezTo>
                      <a:pt x="20" y="83"/>
                      <a:pt x="19" y="81"/>
                      <a:pt x="21" y="78"/>
                    </a:cubicBezTo>
                    <a:cubicBezTo>
                      <a:pt x="23" y="76"/>
                      <a:pt x="28" y="75"/>
                      <a:pt x="28" y="72"/>
                    </a:cubicBezTo>
                    <a:cubicBezTo>
                      <a:pt x="31" y="44"/>
                      <a:pt x="8" y="76"/>
                      <a:pt x="4" y="48"/>
                    </a:cubicBezTo>
                    <a:cubicBezTo>
                      <a:pt x="0" y="30"/>
                      <a:pt x="16" y="35"/>
                      <a:pt x="17" y="33"/>
                    </a:cubicBezTo>
                    <a:cubicBezTo>
                      <a:pt x="17" y="31"/>
                      <a:pt x="12" y="33"/>
                      <a:pt x="11" y="31"/>
                    </a:cubicBezTo>
                    <a:cubicBezTo>
                      <a:pt x="10" y="30"/>
                      <a:pt x="12" y="29"/>
                      <a:pt x="13" y="29"/>
                    </a:cubicBezTo>
                    <a:cubicBezTo>
                      <a:pt x="19" y="28"/>
                      <a:pt x="23" y="30"/>
                      <a:pt x="27" y="29"/>
                    </a:cubicBezTo>
                    <a:cubicBezTo>
                      <a:pt x="42" y="28"/>
                      <a:pt x="62" y="16"/>
                      <a:pt x="75" y="10"/>
                    </a:cubicBezTo>
                    <a:cubicBezTo>
                      <a:pt x="80" y="8"/>
                      <a:pt x="86" y="0"/>
                      <a:pt x="91" y="4"/>
                    </a:cubicBezTo>
                    <a:cubicBezTo>
                      <a:pt x="93" y="5"/>
                      <a:pt x="88" y="12"/>
                      <a:pt x="90" y="13"/>
                    </a:cubicBezTo>
                    <a:cubicBezTo>
                      <a:pt x="95" y="13"/>
                      <a:pt x="98" y="5"/>
                      <a:pt x="102" y="5"/>
                    </a:cubicBezTo>
                    <a:cubicBezTo>
                      <a:pt x="118" y="5"/>
                      <a:pt x="116" y="32"/>
                      <a:pt x="131" y="35"/>
                    </a:cubicBezTo>
                    <a:cubicBezTo>
                      <a:pt x="133" y="36"/>
                      <a:pt x="135" y="30"/>
                      <a:pt x="137" y="30"/>
                    </a:cubicBezTo>
                    <a:cubicBezTo>
                      <a:pt x="153" y="34"/>
                      <a:pt x="145" y="35"/>
                      <a:pt x="161" y="37"/>
                    </a:cubicBezTo>
                    <a:cubicBezTo>
                      <a:pt x="165" y="38"/>
                      <a:pt x="172" y="36"/>
                      <a:pt x="175" y="37"/>
                    </a:cubicBezTo>
                    <a:cubicBezTo>
                      <a:pt x="179" y="38"/>
                      <a:pt x="180" y="41"/>
                      <a:pt x="184" y="41"/>
                    </a:cubicBezTo>
                    <a:cubicBezTo>
                      <a:pt x="188" y="41"/>
                      <a:pt x="192" y="35"/>
                      <a:pt x="197" y="37"/>
                    </a:cubicBezTo>
                    <a:cubicBezTo>
                      <a:pt x="201" y="38"/>
                      <a:pt x="201" y="44"/>
                      <a:pt x="205" y="47"/>
                    </a:cubicBezTo>
                    <a:cubicBezTo>
                      <a:pt x="208" y="50"/>
                      <a:pt x="215" y="47"/>
                      <a:pt x="218" y="50"/>
                    </a:cubicBezTo>
                    <a:cubicBezTo>
                      <a:pt x="219" y="51"/>
                      <a:pt x="216" y="53"/>
                      <a:pt x="217" y="53"/>
                    </a:cubicBezTo>
                    <a:cubicBezTo>
                      <a:pt x="218" y="55"/>
                      <a:pt x="222" y="51"/>
                      <a:pt x="223" y="52"/>
                    </a:cubicBezTo>
                    <a:cubicBezTo>
                      <a:pt x="238" y="62"/>
                      <a:pt x="274" y="80"/>
                      <a:pt x="293" y="74"/>
                    </a:cubicBezTo>
                    <a:cubicBezTo>
                      <a:pt x="294" y="74"/>
                      <a:pt x="294" y="72"/>
                      <a:pt x="295" y="71"/>
                    </a:cubicBezTo>
                    <a:cubicBezTo>
                      <a:pt x="298" y="70"/>
                      <a:pt x="300" y="71"/>
                      <a:pt x="302" y="71"/>
                    </a:cubicBezTo>
                    <a:cubicBezTo>
                      <a:pt x="307" y="72"/>
                      <a:pt x="318" y="70"/>
                      <a:pt x="322" y="77"/>
                    </a:cubicBezTo>
                    <a:cubicBezTo>
                      <a:pt x="322" y="78"/>
                      <a:pt x="321" y="79"/>
                      <a:pt x="321" y="80"/>
                    </a:cubicBezTo>
                    <a:cubicBezTo>
                      <a:pt x="325" y="81"/>
                      <a:pt x="338" y="93"/>
                      <a:pt x="342" y="93"/>
                    </a:cubicBezTo>
                    <a:cubicBezTo>
                      <a:pt x="344" y="93"/>
                      <a:pt x="341" y="89"/>
                      <a:pt x="342" y="87"/>
                    </a:cubicBezTo>
                    <a:cubicBezTo>
                      <a:pt x="343" y="86"/>
                      <a:pt x="346" y="85"/>
                      <a:pt x="348" y="85"/>
                    </a:cubicBezTo>
                    <a:cubicBezTo>
                      <a:pt x="364" y="82"/>
                      <a:pt x="354" y="84"/>
                      <a:pt x="360" y="92"/>
                    </a:cubicBezTo>
                    <a:cubicBezTo>
                      <a:pt x="363" y="94"/>
                      <a:pt x="367" y="91"/>
                      <a:pt x="369" y="93"/>
                    </a:cubicBezTo>
                    <a:cubicBezTo>
                      <a:pt x="373" y="94"/>
                      <a:pt x="374" y="98"/>
                      <a:pt x="377" y="100"/>
                    </a:cubicBezTo>
                    <a:cubicBezTo>
                      <a:pt x="385" y="104"/>
                      <a:pt x="400" y="103"/>
                      <a:pt x="411" y="100"/>
                    </a:cubicBezTo>
                    <a:cubicBezTo>
                      <a:pt x="415" y="104"/>
                      <a:pt x="421" y="109"/>
                      <a:pt x="421" y="109"/>
                    </a:cubicBezTo>
                    <a:cubicBezTo>
                      <a:pt x="422" y="110"/>
                      <a:pt x="421" y="107"/>
                      <a:pt x="422" y="107"/>
                    </a:cubicBezTo>
                    <a:cubicBezTo>
                      <a:pt x="425" y="108"/>
                      <a:pt x="428" y="109"/>
                      <a:pt x="430" y="111"/>
                    </a:cubicBezTo>
                    <a:cubicBezTo>
                      <a:pt x="435" y="117"/>
                      <a:pt x="419" y="124"/>
                      <a:pt x="426" y="127"/>
                    </a:cubicBezTo>
                    <a:cubicBezTo>
                      <a:pt x="429" y="128"/>
                      <a:pt x="433" y="122"/>
                      <a:pt x="434" y="123"/>
                    </a:cubicBezTo>
                    <a:cubicBezTo>
                      <a:pt x="434" y="124"/>
                      <a:pt x="433" y="127"/>
                      <a:pt x="434" y="128"/>
                    </a:cubicBezTo>
                    <a:cubicBezTo>
                      <a:pt x="442" y="136"/>
                      <a:pt x="454" y="133"/>
                      <a:pt x="462" y="138"/>
                    </a:cubicBezTo>
                    <a:cubicBezTo>
                      <a:pt x="462" y="139"/>
                      <a:pt x="468" y="152"/>
                      <a:pt x="468" y="152"/>
                    </a:cubicBezTo>
                    <a:cubicBezTo>
                      <a:pt x="476" y="158"/>
                      <a:pt x="483" y="147"/>
                      <a:pt x="491" y="154"/>
                    </a:cubicBezTo>
                    <a:cubicBezTo>
                      <a:pt x="495" y="158"/>
                      <a:pt x="492" y="165"/>
                      <a:pt x="500" y="165"/>
                    </a:cubicBezTo>
                    <a:cubicBezTo>
                      <a:pt x="503" y="166"/>
                      <a:pt x="505" y="162"/>
                      <a:pt x="509" y="163"/>
                    </a:cubicBezTo>
                    <a:cubicBezTo>
                      <a:pt x="512" y="163"/>
                      <a:pt x="514" y="167"/>
                      <a:pt x="517" y="168"/>
                    </a:cubicBezTo>
                    <a:cubicBezTo>
                      <a:pt x="519" y="168"/>
                      <a:pt x="519" y="164"/>
                      <a:pt x="520" y="164"/>
                    </a:cubicBezTo>
                    <a:cubicBezTo>
                      <a:pt x="526" y="164"/>
                      <a:pt x="531" y="168"/>
                      <a:pt x="537" y="169"/>
                    </a:cubicBezTo>
                    <a:cubicBezTo>
                      <a:pt x="537" y="169"/>
                      <a:pt x="535" y="156"/>
                      <a:pt x="541" y="157"/>
                    </a:cubicBezTo>
                    <a:cubicBezTo>
                      <a:pt x="551" y="159"/>
                      <a:pt x="557" y="166"/>
                      <a:pt x="563" y="171"/>
                    </a:cubicBezTo>
                    <a:cubicBezTo>
                      <a:pt x="563" y="172"/>
                      <a:pt x="565" y="171"/>
                      <a:pt x="566" y="171"/>
                    </a:cubicBezTo>
                    <a:cubicBezTo>
                      <a:pt x="569" y="172"/>
                      <a:pt x="572" y="172"/>
                      <a:pt x="574" y="173"/>
                    </a:cubicBezTo>
                    <a:cubicBezTo>
                      <a:pt x="577" y="176"/>
                      <a:pt x="575" y="181"/>
                      <a:pt x="578" y="182"/>
                    </a:cubicBezTo>
                    <a:cubicBezTo>
                      <a:pt x="578" y="183"/>
                      <a:pt x="578" y="183"/>
                      <a:pt x="578" y="183"/>
                    </a:cubicBezTo>
                    <a:cubicBezTo>
                      <a:pt x="575" y="189"/>
                      <a:pt x="574" y="197"/>
                      <a:pt x="592" y="192"/>
                    </a:cubicBezTo>
                    <a:close/>
                    <a:moveTo>
                      <a:pt x="99" y="610"/>
                    </a:moveTo>
                    <a:cubicBezTo>
                      <a:pt x="103" y="627"/>
                      <a:pt x="103" y="627"/>
                      <a:pt x="103" y="627"/>
                    </a:cubicBezTo>
                    <a:cubicBezTo>
                      <a:pt x="115" y="627"/>
                      <a:pt x="115" y="627"/>
                      <a:pt x="115" y="627"/>
                    </a:cubicBezTo>
                    <a:cubicBezTo>
                      <a:pt x="115" y="625"/>
                      <a:pt x="115" y="624"/>
                      <a:pt x="115" y="622"/>
                    </a:cubicBezTo>
                    <a:cubicBezTo>
                      <a:pt x="114" y="619"/>
                      <a:pt x="113" y="615"/>
                      <a:pt x="114" y="612"/>
                    </a:cubicBezTo>
                    <a:cubicBezTo>
                      <a:pt x="115" y="610"/>
                      <a:pt x="120" y="610"/>
                      <a:pt x="119" y="608"/>
                    </a:cubicBezTo>
                    <a:cubicBezTo>
                      <a:pt x="116" y="600"/>
                      <a:pt x="100" y="610"/>
                      <a:pt x="99" y="610"/>
                    </a:cubicBezTo>
                    <a:close/>
                    <a:moveTo>
                      <a:pt x="245" y="679"/>
                    </a:moveTo>
                    <a:cubicBezTo>
                      <a:pt x="253" y="684"/>
                      <a:pt x="253" y="684"/>
                      <a:pt x="253" y="684"/>
                    </a:cubicBezTo>
                    <a:cubicBezTo>
                      <a:pt x="253" y="679"/>
                      <a:pt x="255" y="674"/>
                      <a:pt x="254" y="669"/>
                    </a:cubicBezTo>
                    <a:cubicBezTo>
                      <a:pt x="253" y="665"/>
                      <a:pt x="248" y="676"/>
                      <a:pt x="245" y="679"/>
                    </a:cubicBezTo>
                    <a:close/>
                    <a:moveTo>
                      <a:pt x="256" y="683"/>
                    </a:moveTo>
                    <a:cubicBezTo>
                      <a:pt x="257" y="682"/>
                      <a:pt x="257" y="682"/>
                      <a:pt x="257" y="682"/>
                    </a:cubicBezTo>
                    <a:cubicBezTo>
                      <a:pt x="256" y="682"/>
                      <a:pt x="256" y="682"/>
                      <a:pt x="256" y="683"/>
                    </a:cubicBezTo>
                    <a:cubicBezTo>
                      <a:pt x="256" y="683"/>
                      <a:pt x="256" y="683"/>
                      <a:pt x="256" y="683"/>
                    </a:cubicBezTo>
                    <a:close/>
                    <a:moveTo>
                      <a:pt x="655" y="386"/>
                    </a:moveTo>
                    <a:cubicBezTo>
                      <a:pt x="646" y="415"/>
                      <a:pt x="656" y="395"/>
                      <a:pt x="670" y="407"/>
                    </a:cubicBezTo>
                    <a:cubicBezTo>
                      <a:pt x="674" y="410"/>
                      <a:pt x="645" y="438"/>
                      <a:pt x="643" y="437"/>
                    </a:cubicBezTo>
                    <a:cubicBezTo>
                      <a:pt x="640" y="437"/>
                      <a:pt x="641" y="431"/>
                      <a:pt x="638" y="429"/>
                    </a:cubicBezTo>
                    <a:cubicBezTo>
                      <a:pt x="630" y="424"/>
                      <a:pt x="629" y="433"/>
                      <a:pt x="626" y="425"/>
                    </a:cubicBezTo>
                    <a:cubicBezTo>
                      <a:pt x="625" y="421"/>
                      <a:pt x="626" y="416"/>
                      <a:pt x="623" y="413"/>
                    </a:cubicBezTo>
                    <a:cubicBezTo>
                      <a:pt x="621" y="411"/>
                      <a:pt x="618" y="415"/>
                      <a:pt x="615" y="414"/>
                    </a:cubicBezTo>
                    <a:cubicBezTo>
                      <a:pt x="612" y="414"/>
                      <a:pt x="608" y="412"/>
                      <a:pt x="604" y="410"/>
                    </a:cubicBezTo>
                    <a:cubicBezTo>
                      <a:pt x="604" y="409"/>
                      <a:pt x="605" y="408"/>
                      <a:pt x="605" y="408"/>
                    </a:cubicBezTo>
                    <a:cubicBezTo>
                      <a:pt x="619" y="397"/>
                      <a:pt x="637" y="390"/>
                      <a:pt x="655" y="386"/>
                    </a:cubicBezTo>
                    <a:close/>
                    <a:moveTo>
                      <a:pt x="714" y="387"/>
                    </a:moveTo>
                    <a:cubicBezTo>
                      <a:pt x="727" y="420"/>
                      <a:pt x="712" y="397"/>
                      <a:pt x="704" y="393"/>
                    </a:cubicBezTo>
                    <a:cubicBezTo>
                      <a:pt x="700" y="392"/>
                      <a:pt x="696" y="395"/>
                      <a:pt x="692" y="392"/>
                    </a:cubicBezTo>
                    <a:cubicBezTo>
                      <a:pt x="678" y="383"/>
                      <a:pt x="697" y="379"/>
                      <a:pt x="714" y="387"/>
                    </a:cubicBezTo>
                    <a:close/>
                    <a:moveTo>
                      <a:pt x="613" y="440"/>
                    </a:moveTo>
                    <a:cubicBezTo>
                      <a:pt x="610" y="443"/>
                      <a:pt x="605" y="443"/>
                      <a:pt x="605" y="446"/>
                    </a:cubicBezTo>
                    <a:cubicBezTo>
                      <a:pt x="605" y="448"/>
                      <a:pt x="607" y="453"/>
                      <a:pt x="610" y="453"/>
                    </a:cubicBezTo>
                    <a:cubicBezTo>
                      <a:pt x="613" y="453"/>
                      <a:pt x="615" y="453"/>
                      <a:pt x="620" y="449"/>
                    </a:cubicBezTo>
                    <a:cubicBezTo>
                      <a:pt x="625" y="445"/>
                      <a:pt x="620" y="442"/>
                      <a:pt x="620" y="442"/>
                    </a:cubicBezTo>
                    <a:cubicBezTo>
                      <a:pt x="614" y="440"/>
                      <a:pt x="614" y="440"/>
                      <a:pt x="614" y="440"/>
                    </a:cubicBezTo>
                    <a:lnTo>
                      <a:pt x="613" y="440"/>
                    </a:lnTo>
                    <a:close/>
                    <a:moveTo>
                      <a:pt x="600" y="423"/>
                    </a:moveTo>
                    <a:cubicBezTo>
                      <a:pt x="595" y="424"/>
                      <a:pt x="594" y="427"/>
                      <a:pt x="592" y="430"/>
                    </a:cubicBezTo>
                    <a:cubicBezTo>
                      <a:pt x="589" y="433"/>
                      <a:pt x="586" y="438"/>
                      <a:pt x="591" y="440"/>
                    </a:cubicBezTo>
                    <a:cubicBezTo>
                      <a:pt x="594" y="442"/>
                      <a:pt x="602" y="438"/>
                      <a:pt x="604" y="434"/>
                    </a:cubicBezTo>
                    <a:cubicBezTo>
                      <a:pt x="605" y="431"/>
                      <a:pt x="609" y="431"/>
                      <a:pt x="609" y="427"/>
                    </a:cubicBezTo>
                    <a:cubicBezTo>
                      <a:pt x="609" y="425"/>
                      <a:pt x="605" y="422"/>
                      <a:pt x="605" y="422"/>
                    </a:cubicBezTo>
                    <a:lnTo>
                      <a:pt x="600" y="423"/>
                    </a:lnTo>
                    <a:close/>
                  </a:path>
                </a:pathLst>
              </a:custGeom>
              <a:solidFill>
                <a:srgbClr val="D9D9D9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6624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0" name="Belgium" descr="{&quot;Key&quot;:&quot;belgium&quot;,&quot;Name&quot;:&quot;Belgium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9552674E-819B-D997-3514-29BF582AEC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71484" y="7760347"/>
                <a:ext cx="305082" cy="281940"/>
              </a:xfrm>
              <a:custGeom>
                <a:avLst/>
                <a:gdLst>
                  <a:gd name="T0" fmla="*/ 146 w 182"/>
                  <a:gd name="T1" fmla="*/ 154 h 156"/>
                  <a:gd name="T2" fmla="*/ 140 w 182"/>
                  <a:gd name="T3" fmla="*/ 153 h 156"/>
                  <a:gd name="T4" fmla="*/ 129 w 182"/>
                  <a:gd name="T5" fmla="*/ 154 h 156"/>
                  <a:gd name="T6" fmla="*/ 127 w 182"/>
                  <a:gd name="T7" fmla="*/ 146 h 156"/>
                  <a:gd name="T8" fmla="*/ 121 w 182"/>
                  <a:gd name="T9" fmla="*/ 144 h 156"/>
                  <a:gd name="T10" fmla="*/ 123 w 182"/>
                  <a:gd name="T11" fmla="*/ 142 h 156"/>
                  <a:gd name="T12" fmla="*/ 121 w 182"/>
                  <a:gd name="T13" fmla="*/ 139 h 156"/>
                  <a:gd name="T14" fmla="*/ 118 w 182"/>
                  <a:gd name="T15" fmla="*/ 140 h 156"/>
                  <a:gd name="T16" fmla="*/ 113 w 182"/>
                  <a:gd name="T17" fmla="*/ 133 h 156"/>
                  <a:gd name="T18" fmla="*/ 101 w 182"/>
                  <a:gd name="T19" fmla="*/ 130 h 156"/>
                  <a:gd name="T20" fmla="*/ 103 w 182"/>
                  <a:gd name="T21" fmla="*/ 122 h 156"/>
                  <a:gd name="T22" fmla="*/ 99 w 182"/>
                  <a:gd name="T23" fmla="*/ 116 h 156"/>
                  <a:gd name="T24" fmla="*/ 102 w 182"/>
                  <a:gd name="T25" fmla="*/ 109 h 156"/>
                  <a:gd name="T26" fmla="*/ 104 w 182"/>
                  <a:gd name="T27" fmla="*/ 105 h 156"/>
                  <a:gd name="T28" fmla="*/ 93 w 182"/>
                  <a:gd name="T29" fmla="*/ 115 h 156"/>
                  <a:gd name="T30" fmla="*/ 68 w 182"/>
                  <a:gd name="T31" fmla="*/ 114 h 156"/>
                  <a:gd name="T32" fmla="*/ 73 w 182"/>
                  <a:gd name="T33" fmla="*/ 107 h 156"/>
                  <a:gd name="T34" fmla="*/ 69 w 182"/>
                  <a:gd name="T35" fmla="*/ 103 h 156"/>
                  <a:gd name="T36" fmla="*/ 73 w 182"/>
                  <a:gd name="T37" fmla="*/ 93 h 156"/>
                  <a:gd name="T38" fmla="*/ 48 w 182"/>
                  <a:gd name="T39" fmla="*/ 85 h 156"/>
                  <a:gd name="T40" fmla="*/ 48 w 182"/>
                  <a:gd name="T41" fmla="*/ 77 h 156"/>
                  <a:gd name="T42" fmla="*/ 31 w 182"/>
                  <a:gd name="T43" fmla="*/ 69 h 156"/>
                  <a:gd name="T44" fmla="*/ 24 w 182"/>
                  <a:gd name="T45" fmla="*/ 49 h 156"/>
                  <a:gd name="T46" fmla="*/ 14 w 182"/>
                  <a:gd name="T47" fmla="*/ 55 h 156"/>
                  <a:gd name="T48" fmla="*/ 0 w 182"/>
                  <a:gd name="T49" fmla="*/ 26 h 156"/>
                  <a:gd name="T50" fmla="*/ 0 w 182"/>
                  <a:gd name="T51" fmla="*/ 25 h 156"/>
                  <a:gd name="T52" fmla="*/ 39 w 182"/>
                  <a:gd name="T53" fmla="*/ 6 h 156"/>
                  <a:gd name="T54" fmla="*/ 40 w 182"/>
                  <a:gd name="T55" fmla="*/ 8 h 156"/>
                  <a:gd name="T56" fmla="*/ 60 w 182"/>
                  <a:gd name="T57" fmla="*/ 17 h 156"/>
                  <a:gd name="T58" fmla="*/ 60 w 182"/>
                  <a:gd name="T59" fmla="*/ 21 h 156"/>
                  <a:gd name="T60" fmla="*/ 76 w 182"/>
                  <a:gd name="T61" fmla="*/ 14 h 156"/>
                  <a:gd name="T62" fmla="*/ 84 w 182"/>
                  <a:gd name="T63" fmla="*/ 19 h 156"/>
                  <a:gd name="T64" fmla="*/ 84 w 182"/>
                  <a:gd name="T65" fmla="*/ 13 h 156"/>
                  <a:gd name="T66" fmla="*/ 89 w 182"/>
                  <a:gd name="T67" fmla="*/ 13 h 156"/>
                  <a:gd name="T68" fmla="*/ 96 w 182"/>
                  <a:gd name="T69" fmla="*/ 4 h 156"/>
                  <a:gd name="T70" fmla="*/ 95 w 182"/>
                  <a:gd name="T71" fmla="*/ 8 h 156"/>
                  <a:gd name="T72" fmla="*/ 109 w 182"/>
                  <a:gd name="T73" fmla="*/ 4 h 156"/>
                  <a:gd name="T74" fmla="*/ 106 w 182"/>
                  <a:gd name="T75" fmla="*/ 10 h 156"/>
                  <a:gd name="T76" fmla="*/ 118 w 182"/>
                  <a:gd name="T77" fmla="*/ 6 h 156"/>
                  <a:gd name="T78" fmla="*/ 126 w 182"/>
                  <a:gd name="T79" fmla="*/ 23 h 156"/>
                  <a:gd name="T80" fmla="*/ 155 w 182"/>
                  <a:gd name="T81" fmla="*/ 33 h 156"/>
                  <a:gd name="T82" fmla="*/ 152 w 182"/>
                  <a:gd name="T83" fmla="*/ 37 h 156"/>
                  <a:gd name="T84" fmla="*/ 147 w 182"/>
                  <a:gd name="T85" fmla="*/ 46 h 156"/>
                  <a:gd name="T86" fmla="*/ 149 w 182"/>
                  <a:gd name="T87" fmla="*/ 48 h 156"/>
                  <a:gd name="T88" fmla="*/ 146 w 182"/>
                  <a:gd name="T89" fmla="*/ 53 h 156"/>
                  <a:gd name="T90" fmla="*/ 160 w 182"/>
                  <a:gd name="T91" fmla="*/ 63 h 156"/>
                  <a:gd name="T92" fmla="*/ 161 w 182"/>
                  <a:gd name="T93" fmla="*/ 63 h 156"/>
                  <a:gd name="T94" fmla="*/ 167 w 182"/>
                  <a:gd name="T95" fmla="*/ 73 h 156"/>
                  <a:gd name="T96" fmla="*/ 172 w 182"/>
                  <a:gd name="T97" fmla="*/ 74 h 156"/>
                  <a:gd name="T98" fmla="*/ 168 w 182"/>
                  <a:gd name="T99" fmla="*/ 81 h 156"/>
                  <a:gd name="T100" fmla="*/ 176 w 182"/>
                  <a:gd name="T101" fmla="*/ 86 h 156"/>
                  <a:gd name="T102" fmla="*/ 163 w 182"/>
                  <a:gd name="T103" fmla="*/ 109 h 156"/>
                  <a:gd name="T104" fmla="*/ 143 w 182"/>
                  <a:gd name="T105" fmla="*/ 126 h 156"/>
                  <a:gd name="T106" fmla="*/ 146 w 182"/>
                  <a:gd name="T107" fmla="*/ 152 h 156"/>
                  <a:gd name="T108" fmla="*/ 146 w 182"/>
                  <a:gd name="T109" fmla="*/ 154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82" h="156">
                    <a:moveTo>
                      <a:pt x="146" y="154"/>
                    </a:moveTo>
                    <a:cubicBezTo>
                      <a:pt x="144" y="153"/>
                      <a:pt x="142" y="153"/>
                      <a:pt x="140" y="153"/>
                    </a:cubicBezTo>
                    <a:cubicBezTo>
                      <a:pt x="136" y="152"/>
                      <a:pt x="133" y="156"/>
                      <a:pt x="129" y="154"/>
                    </a:cubicBezTo>
                    <a:cubicBezTo>
                      <a:pt x="126" y="153"/>
                      <a:pt x="129" y="148"/>
                      <a:pt x="127" y="146"/>
                    </a:cubicBezTo>
                    <a:cubicBezTo>
                      <a:pt x="126" y="144"/>
                      <a:pt x="123" y="145"/>
                      <a:pt x="121" y="144"/>
                    </a:cubicBezTo>
                    <a:cubicBezTo>
                      <a:pt x="121" y="144"/>
                      <a:pt x="123" y="142"/>
                      <a:pt x="123" y="142"/>
                    </a:cubicBezTo>
                    <a:cubicBezTo>
                      <a:pt x="123" y="141"/>
                      <a:pt x="122" y="140"/>
                      <a:pt x="121" y="139"/>
                    </a:cubicBezTo>
                    <a:cubicBezTo>
                      <a:pt x="120" y="139"/>
                      <a:pt x="118" y="141"/>
                      <a:pt x="118" y="140"/>
                    </a:cubicBezTo>
                    <a:cubicBezTo>
                      <a:pt x="116" y="139"/>
                      <a:pt x="115" y="135"/>
                      <a:pt x="113" y="133"/>
                    </a:cubicBezTo>
                    <a:cubicBezTo>
                      <a:pt x="109" y="132"/>
                      <a:pt x="103" y="133"/>
                      <a:pt x="101" y="130"/>
                    </a:cubicBezTo>
                    <a:cubicBezTo>
                      <a:pt x="99" y="128"/>
                      <a:pt x="103" y="124"/>
                      <a:pt x="103" y="122"/>
                    </a:cubicBezTo>
                    <a:cubicBezTo>
                      <a:pt x="103" y="119"/>
                      <a:pt x="99" y="119"/>
                      <a:pt x="99" y="116"/>
                    </a:cubicBezTo>
                    <a:cubicBezTo>
                      <a:pt x="99" y="114"/>
                      <a:pt x="101" y="111"/>
                      <a:pt x="102" y="109"/>
                    </a:cubicBezTo>
                    <a:cubicBezTo>
                      <a:pt x="103" y="107"/>
                      <a:pt x="105" y="106"/>
                      <a:pt x="104" y="105"/>
                    </a:cubicBezTo>
                    <a:cubicBezTo>
                      <a:pt x="100" y="101"/>
                      <a:pt x="97" y="111"/>
                      <a:pt x="93" y="115"/>
                    </a:cubicBezTo>
                    <a:cubicBezTo>
                      <a:pt x="85" y="122"/>
                      <a:pt x="66" y="118"/>
                      <a:pt x="68" y="114"/>
                    </a:cubicBezTo>
                    <a:cubicBezTo>
                      <a:pt x="70" y="111"/>
                      <a:pt x="73" y="110"/>
                      <a:pt x="73" y="107"/>
                    </a:cubicBezTo>
                    <a:cubicBezTo>
                      <a:pt x="73" y="105"/>
                      <a:pt x="68" y="105"/>
                      <a:pt x="69" y="103"/>
                    </a:cubicBezTo>
                    <a:cubicBezTo>
                      <a:pt x="69" y="99"/>
                      <a:pt x="73" y="97"/>
                      <a:pt x="73" y="93"/>
                    </a:cubicBezTo>
                    <a:cubicBezTo>
                      <a:pt x="72" y="84"/>
                      <a:pt x="49" y="89"/>
                      <a:pt x="48" y="85"/>
                    </a:cubicBezTo>
                    <a:cubicBezTo>
                      <a:pt x="47" y="83"/>
                      <a:pt x="49" y="80"/>
                      <a:pt x="48" y="77"/>
                    </a:cubicBezTo>
                    <a:cubicBezTo>
                      <a:pt x="47" y="68"/>
                      <a:pt x="34" y="77"/>
                      <a:pt x="31" y="69"/>
                    </a:cubicBezTo>
                    <a:cubicBezTo>
                      <a:pt x="28" y="65"/>
                      <a:pt x="32" y="52"/>
                      <a:pt x="24" y="49"/>
                    </a:cubicBezTo>
                    <a:cubicBezTo>
                      <a:pt x="21" y="47"/>
                      <a:pt x="18" y="55"/>
                      <a:pt x="14" y="55"/>
                    </a:cubicBezTo>
                    <a:cubicBezTo>
                      <a:pt x="1" y="55"/>
                      <a:pt x="1" y="34"/>
                      <a:pt x="0" y="26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10" y="23"/>
                      <a:pt x="26" y="10"/>
                      <a:pt x="39" y="6"/>
                    </a:cubicBezTo>
                    <a:cubicBezTo>
                      <a:pt x="40" y="8"/>
                      <a:pt x="40" y="8"/>
                      <a:pt x="40" y="8"/>
                    </a:cubicBezTo>
                    <a:cubicBezTo>
                      <a:pt x="39" y="23"/>
                      <a:pt x="51" y="13"/>
                      <a:pt x="60" y="17"/>
                    </a:cubicBezTo>
                    <a:cubicBezTo>
                      <a:pt x="61" y="18"/>
                      <a:pt x="58" y="20"/>
                      <a:pt x="60" y="21"/>
                    </a:cubicBezTo>
                    <a:cubicBezTo>
                      <a:pt x="66" y="26"/>
                      <a:pt x="72" y="18"/>
                      <a:pt x="76" y="14"/>
                    </a:cubicBezTo>
                    <a:cubicBezTo>
                      <a:pt x="80" y="17"/>
                      <a:pt x="83" y="19"/>
                      <a:pt x="84" y="19"/>
                    </a:cubicBezTo>
                    <a:cubicBezTo>
                      <a:pt x="86" y="17"/>
                      <a:pt x="86" y="15"/>
                      <a:pt x="84" y="13"/>
                    </a:cubicBezTo>
                    <a:cubicBezTo>
                      <a:pt x="86" y="13"/>
                      <a:pt x="87" y="14"/>
                      <a:pt x="89" y="13"/>
                    </a:cubicBezTo>
                    <a:cubicBezTo>
                      <a:pt x="93" y="13"/>
                      <a:pt x="82" y="0"/>
                      <a:pt x="96" y="4"/>
                    </a:cubicBezTo>
                    <a:cubicBezTo>
                      <a:pt x="97" y="4"/>
                      <a:pt x="95" y="7"/>
                      <a:pt x="95" y="8"/>
                    </a:cubicBezTo>
                    <a:cubicBezTo>
                      <a:pt x="102" y="13"/>
                      <a:pt x="104" y="0"/>
                      <a:pt x="109" y="4"/>
                    </a:cubicBezTo>
                    <a:cubicBezTo>
                      <a:pt x="110" y="6"/>
                      <a:pt x="104" y="9"/>
                      <a:pt x="106" y="10"/>
                    </a:cubicBezTo>
                    <a:cubicBezTo>
                      <a:pt x="119" y="17"/>
                      <a:pt x="108" y="8"/>
                      <a:pt x="118" y="6"/>
                    </a:cubicBezTo>
                    <a:cubicBezTo>
                      <a:pt x="119" y="6"/>
                      <a:pt x="122" y="22"/>
                      <a:pt x="126" y="23"/>
                    </a:cubicBezTo>
                    <a:cubicBezTo>
                      <a:pt x="135" y="24"/>
                      <a:pt x="147" y="24"/>
                      <a:pt x="155" y="33"/>
                    </a:cubicBezTo>
                    <a:cubicBezTo>
                      <a:pt x="155" y="34"/>
                      <a:pt x="152" y="36"/>
                      <a:pt x="152" y="37"/>
                    </a:cubicBezTo>
                    <a:cubicBezTo>
                      <a:pt x="151" y="40"/>
                      <a:pt x="148" y="43"/>
                      <a:pt x="147" y="46"/>
                    </a:cubicBezTo>
                    <a:cubicBezTo>
                      <a:pt x="147" y="47"/>
                      <a:pt x="150" y="47"/>
                      <a:pt x="149" y="48"/>
                    </a:cubicBezTo>
                    <a:cubicBezTo>
                      <a:pt x="149" y="50"/>
                      <a:pt x="146" y="50"/>
                      <a:pt x="146" y="53"/>
                    </a:cubicBezTo>
                    <a:cubicBezTo>
                      <a:pt x="142" y="67"/>
                      <a:pt x="151" y="63"/>
                      <a:pt x="160" y="63"/>
                    </a:cubicBezTo>
                    <a:cubicBezTo>
                      <a:pt x="161" y="63"/>
                      <a:pt x="161" y="63"/>
                      <a:pt x="161" y="63"/>
                    </a:cubicBezTo>
                    <a:cubicBezTo>
                      <a:pt x="163" y="67"/>
                      <a:pt x="166" y="73"/>
                      <a:pt x="167" y="73"/>
                    </a:cubicBezTo>
                    <a:cubicBezTo>
                      <a:pt x="168" y="75"/>
                      <a:pt x="172" y="72"/>
                      <a:pt x="172" y="74"/>
                    </a:cubicBezTo>
                    <a:cubicBezTo>
                      <a:pt x="172" y="76"/>
                      <a:pt x="168" y="79"/>
                      <a:pt x="168" y="81"/>
                    </a:cubicBezTo>
                    <a:cubicBezTo>
                      <a:pt x="169" y="84"/>
                      <a:pt x="174" y="84"/>
                      <a:pt x="176" y="86"/>
                    </a:cubicBezTo>
                    <a:cubicBezTo>
                      <a:pt x="182" y="97"/>
                      <a:pt x="167" y="98"/>
                      <a:pt x="163" y="109"/>
                    </a:cubicBezTo>
                    <a:cubicBezTo>
                      <a:pt x="157" y="98"/>
                      <a:pt x="146" y="119"/>
                      <a:pt x="143" y="126"/>
                    </a:cubicBezTo>
                    <a:cubicBezTo>
                      <a:pt x="142" y="131"/>
                      <a:pt x="159" y="153"/>
                      <a:pt x="146" y="152"/>
                    </a:cubicBezTo>
                    <a:lnTo>
                      <a:pt x="146" y="154"/>
                    </a:lnTo>
                    <a:close/>
                  </a:path>
                </a:pathLst>
              </a:custGeom>
              <a:solidFill>
                <a:srgbClr val="D9D9D9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1" name="Belarus" descr="{&quot;Key&quot;:&quot;belarus&quot;,&quot;Name&quot;:&quot;Belarus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BF246373-D0C8-9A8D-E515-2E950995B3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26509" y="6971874"/>
                <a:ext cx="684210" cy="700866"/>
              </a:xfrm>
              <a:custGeom>
                <a:avLst/>
                <a:gdLst>
                  <a:gd name="T0" fmla="*/ 46 w 409"/>
                  <a:gd name="T1" fmla="*/ 378 h 389"/>
                  <a:gd name="T2" fmla="*/ 59 w 409"/>
                  <a:gd name="T3" fmla="*/ 381 h 389"/>
                  <a:gd name="T4" fmla="*/ 89 w 409"/>
                  <a:gd name="T5" fmla="*/ 352 h 389"/>
                  <a:gd name="T6" fmla="*/ 117 w 409"/>
                  <a:gd name="T7" fmla="*/ 342 h 389"/>
                  <a:gd name="T8" fmla="*/ 150 w 409"/>
                  <a:gd name="T9" fmla="*/ 336 h 389"/>
                  <a:gd name="T10" fmla="*/ 198 w 409"/>
                  <a:gd name="T11" fmla="*/ 335 h 389"/>
                  <a:gd name="T12" fmla="*/ 208 w 409"/>
                  <a:gd name="T13" fmla="*/ 341 h 389"/>
                  <a:gd name="T14" fmla="*/ 218 w 409"/>
                  <a:gd name="T15" fmla="*/ 341 h 389"/>
                  <a:gd name="T16" fmla="*/ 231 w 409"/>
                  <a:gd name="T17" fmla="*/ 350 h 389"/>
                  <a:gd name="T18" fmla="*/ 245 w 409"/>
                  <a:gd name="T19" fmla="*/ 339 h 389"/>
                  <a:gd name="T20" fmla="*/ 258 w 409"/>
                  <a:gd name="T21" fmla="*/ 338 h 389"/>
                  <a:gd name="T22" fmla="*/ 277 w 409"/>
                  <a:gd name="T23" fmla="*/ 342 h 389"/>
                  <a:gd name="T24" fmla="*/ 291 w 409"/>
                  <a:gd name="T25" fmla="*/ 321 h 389"/>
                  <a:gd name="T26" fmla="*/ 317 w 409"/>
                  <a:gd name="T27" fmla="*/ 324 h 389"/>
                  <a:gd name="T28" fmla="*/ 339 w 409"/>
                  <a:gd name="T29" fmla="*/ 319 h 389"/>
                  <a:gd name="T30" fmla="*/ 352 w 409"/>
                  <a:gd name="T31" fmla="*/ 307 h 389"/>
                  <a:gd name="T32" fmla="*/ 362 w 409"/>
                  <a:gd name="T33" fmla="*/ 265 h 389"/>
                  <a:gd name="T34" fmla="*/ 378 w 409"/>
                  <a:gd name="T35" fmla="*/ 258 h 389"/>
                  <a:gd name="T36" fmla="*/ 395 w 409"/>
                  <a:gd name="T37" fmla="*/ 248 h 389"/>
                  <a:gd name="T38" fmla="*/ 384 w 409"/>
                  <a:gd name="T39" fmla="*/ 236 h 389"/>
                  <a:gd name="T40" fmla="*/ 381 w 409"/>
                  <a:gd name="T41" fmla="*/ 223 h 389"/>
                  <a:gd name="T42" fmla="*/ 374 w 409"/>
                  <a:gd name="T43" fmla="*/ 210 h 389"/>
                  <a:gd name="T44" fmla="*/ 355 w 409"/>
                  <a:gd name="T45" fmla="*/ 180 h 389"/>
                  <a:gd name="T46" fmla="*/ 400 w 409"/>
                  <a:gd name="T47" fmla="*/ 159 h 389"/>
                  <a:gd name="T48" fmla="*/ 408 w 409"/>
                  <a:gd name="T49" fmla="*/ 151 h 389"/>
                  <a:gd name="T50" fmla="*/ 390 w 409"/>
                  <a:gd name="T51" fmla="*/ 137 h 389"/>
                  <a:gd name="T52" fmla="*/ 367 w 409"/>
                  <a:gd name="T53" fmla="*/ 129 h 389"/>
                  <a:gd name="T54" fmla="*/ 354 w 409"/>
                  <a:gd name="T55" fmla="*/ 112 h 389"/>
                  <a:gd name="T56" fmla="*/ 313 w 409"/>
                  <a:gd name="T57" fmla="*/ 92 h 389"/>
                  <a:gd name="T58" fmla="*/ 295 w 409"/>
                  <a:gd name="T59" fmla="*/ 74 h 389"/>
                  <a:gd name="T60" fmla="*/ 299 w 409"/>
                  <a:gd name="T61" fmla="*/ 53 h 389"/>
                  <a:gd name="T62" fmla="*/ 283 w 409"/>
                  <a:gd name="T63" fmla="*/ 15 h 389"/>
                  <a:gd name="T64" fmla="*/ 258 w 409"/>
                  <a:gd name="T65" fmla="*/ 6 h 389"/>
                  <a:gd name="T66" fmla="*/ 236 w 409"/>
                  <a:gd name="T67" fmla="*/ 9 h 389"/>
                  <a:gd name="T68" fmla="*/ 216 w 409"/>
                  <a:gd name="T69" fmla="*/ 7 h 389"/>
                  <a:gd name="T70" fmla="*/ 182 w 409"/>
                  <a:gd name="T71" fmla="*/ 7 h 389"/>
                  <a:gd name="T72" fmla="*/ 149 w 409"/>
                  <a:gd name="T73" fmla="*/ 20 h 389"/>
                  <a:gd name="T74" fmla="*/ 134 w 409"/>
                  <a:gd name="T75" fmla="*/ 38 h 389"/>
                  <a:gd name="T76" fmla="*/ 126 w 409"/>
                  <a:gd name="T77" fmla="*/ 40 h 389"/>
                  <a:gd name="T78" fmla="*/ 108 w 409"/>
                  <a:gd name="T79" fmla="*/ 58 h 389"/>
                  <a:gd name="T80" fmla="*/ 123 w 409"/>
                  <a:gd name="T81" fmla="*/ 85 h 389"/>
                  <a:gd name="T82" fmla="*/ 118 w 409"/>
                  <a:gd name="T83" fmla="*/ 97 h 389"/>
                  <a:gd name="T84" fmla="*/ 101 w 409"/>
                  <a:gd name="T85" fmla="*/ 112 h 389"/>
                  <a:gd name="T86" fmla="*/ 86 w 409"/>
                  <a:gd name="T87" fmla="*/ 130 h 389"/>
                  <a:gd name="T88" fmla="*/ 86 w 409"/>
                  <a:gd name="T89" fmla="*/ 164 h 389"/>
                  <a:gd name="T90" fmla="*/ 87 w 409"/>
                  <a:gd name="T91" fmla="*/ 177 h 389"/>
                  <a:gd name="T92" fmla="*/ 73 w 409"/>
                  <a:gd name="T93" fmla="*/ 174 h 389"/>
                  <a:gd name="T94" fmla="*/ 58 w 409"/>
                  <a:gd name="T95" fmla="*/ 188 h 389"/>
                  <a:gd name="T96" fmla="*/ 52 w 409"/>
                  <a:gd name="T97" fmla="*/ 199 h 389"/>
                  <a:gd name="T98" fmla="*/ 33 w 409"/>
                  <a:gd name="T99" fmla="*/ 205 h 389"/>
                  <a:gd name="T100" fmla="*/ 42 w 409"/>
                  <a:gd name="T101" fmla="*/ 298 h 389"/>
                  <a:gd name="T102" fmla="*/ 17 w 409"/>
                  <a:gd name="T103" fmla="*/ 341 h 389"/>
                  <a:gd name="T104" fmla="*/ 35 w 409"/>
                  <a:gd name="T105" fmla="*/ 345 h 389"/>
                  <a:gd name="T106" fmla="*/ 43 w 409"/>
                  <a:gd name="T107" fmla="*/ 389 h 3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09" h="389">
                    <a:moveTo>
                      <a:pt x="43" y="388"/>
                    </a:moveTo>
                    <a:cubicBezTo>
                      <a:pt x="50" y="386"/>
                      <a:pt x="36" y="381"/>
                      <a:pt x="46" y="378"/>
                    </a:cubicBezTo>
                    <a:cubicBezTo>
                      <a:pt x="48" y="377"/>
                      <a:pt x="52" y="377"/>
                      <a:pt x="56" y="378"/>
                    </a:cubicBezTo>
                    <a:cubicBezTo>
                      <a:pt x="57" y="378"/>
                      <a:pt x="57" y="381"/>
                      <a:pt x="59" y="381"/>
                    </a:cubicBezTo>
                    <a:cubicBezTo>
                      <a:pt x="64" y="383"/>
                      <a:pt x="72" y="356"/>
                      <a:pt x="74" y="355"/>
                    </a:cubicBezTo>
                    <a:cubicBezTo>
                      <a:pt x="79" y="352"/>
                      <a:pt x="85" y="354"/>
                      <a:pt x="89" y="352"/>
                    </a:cubicBezTo>
                    <a:cubicBezTo>
                      <a:pt x="96" y="349"/>
                      <a:pt x="101" y="343"/>
                      <a:pt x="108" y="341"/>
                    </a:cubicBezTo>
                    <a:cubicBezTo>
                      <a:pt x="111" y="341"/>
                      <a:pt x="114" y="342"/>
                      <a:pt x="117" y="342"/>
                    </a:cubicBezTo>
                    <a:cubicBezTo>
                      <a:pt x="120" y="342"/>
                      <a:pt x="123" y="342"/>
                      <a:pt x="125" y="342"/>
                    </a:cubicBezTo>
                    <a:cubicBezTo>
                      <a:pt x="134" y="341"/>
                      <a:pt x="142" y="335"/>
                      <a:pt x="150" y="336"/>
                    </a:cubicBezTo>
                    <a:cubicBezTo>
                      <a:pt x="151" y="336"/>
                      <a:pt x="152" y="338"/>
                      <a:pt x="154" y="339"/>
                    </a:cubicBezTo>
                    <a:cubicBezTo>
                      <a:pt x="168" y="341"/>
                      <a:pt x="185" y="339"/>
                      <a:pt x="198" y="335"/>
                    </a:cubicBezTo>
                    <a:cubicBezTo>
                      <a:pt x="205" y="334"/>
                      <a:pt x="200" y="339"/>
                      <a:pt x="203" y="342"/>
                    </a:cubicBezTo>
                    <a:cubicBezTo>
                      <a:pt x="205" y="343"/>
                      <a:pt x="207" y="340"/>
                      <a:pt x="208" y="341"/>
                    </a:cubicBezTo>
                    <a:cubicBezTo>
                      <a:pt x="209" y="342"/>
                      <a:pt x="206" y="346"/>
                      <a:pt x="207" y="346"/>
                    </a:cubicBezTo>
                    <a:cubicBezTo>
                      <a:pt x="222" y="352"/>
                      <a:pt x="211" y="343"/>
                      <a:pt x="218" y="341"/>
                    </a:cubicBezTo>
                    <a:cubicBezTo>
                      <a:pt x="241" y="335"/>
                      <a:pt x="220" y="345"/>
                      <a:pt x="228" y="349"/>
                    </a:cubicBezTo>
                    <a:cubicBezTo>
                      <a:pt x="229" y="350"/>
                      <a:pt x="231" y="351"/>
                      <a:pt x="231" y="350"/>
                    </a:cubicBezTo>
                    <a:cubicBezTo>
                      <a:pt x="234" y="349"/>
                      <a:pt x="231" y="338"/>
                      <a:pt x="234" y="338"/>
                    </a:cubicBezTo>
                    <a:cubicBezTo>
                      <a:pt x="237" y="338"/>
                      <a:pt x="242" y="343"/>
                      <a:pt x="245" y="339"/>
                    </a:cubicBezTo>
                    <a:cubicBezTo>
                      <a:pt x="248" y="337"/>
                      <a:pt x="248" y="328"/>
                      <a:pt x="251" y="330"/>
                    </a:cubicBezTo>
                    <a:cubicBezTo>
                      <a:pt x="256" y="333"/>
                      <a:pt x="244" y="338"/>
                      <a:pt x="258" y="338"/>
                    </a:cubicBezTo>
                    <a:cubicBezTo>
                      <a:pt x="263" y="338"/>
                      <a:pt x="260" y="327"/>
                      <a:pt x="268" y="333"/>
                    </a:cubicBezTo>
                    <a:cubicBezTo>
                      <a:pt x="283" y="343"/>
                      <a:pt x="265" y="339"/>
                      <a:pt x="277" y="342"/>
                    </a:cubicBezTo>
                    <a:cubicBezTo>
                      <a:pt x="280" y="343"/>
                      <a:pt x="276" y="334"/>
                      <a:pt x="278" y="332"/>
                    </a:cubicBezTo>
                    <a:cubicBezTo>
                      <a:pt x="281" y="327"/>
                      <a:pt x="287" y="319"/>
                      <a:pt x="291" y="321"/>
                    </a:cubicBezTo>
                    <a:cubicBezTo>
                      <a:pt x="296" y="324"/>
                      <a:pt x="300" y="339"/>
                      <a:pt x="305" y="338"/>
                    </a:cubicBezTo>
                    <a:cubicBezTo>
                      <a:pt x="313" y="336"/>
                      <a:pt x="308" y="326"/>
                      <a:pt x="317" y="324"/>
                    </a:cubicBezTo>
                    <a:cubicBezTo>
                      <a:pt x="320" y="324"/>
                      <a:pt x="323" y="328"/>
                      <a:pt x="326" y="327"/>
                    </a:cubicBezTo>
                    <a:cubicBezTo>
                      <a:pt x="344" y="324"/>
                      <a:pt x="313" y="317"/>
                      <a:pt x="339" y="319"/>
                    </a:cubicBezTo>
                    <a:cubicBezTo>
                      <a:pt x="352" y="320"/>
                      <a:pt x="345" y="334"/>
                      <a:pt x="360" y="331"/>
                    </a:cubicBezTo>
                    <a:cubicBezTo>
                      <a:pt x="374" y="328"/>
                      <a:pt x="352" y="313"/>
                      <a:pt x="352" y="307"/>
                    </a:cubicBezTo>
                    <a:cubicBezTo>
                      <a:pt x="352" y="302"/>
                      <a:pt x="353" y="291"/>
                      <a:pt x="353" y="287"/>
                    </a:cubicBezTo>
                    <a:cubicBezTo>
                      <a:pt x="356" y="272"/>
                      <a:pt x="360" y="266"/>
                      <a:pt x="362" y="265"/>
                    </a:cubicBezTo>
                    <a:cubicBezTo>
                      <a:pt x="366" y="264"/>
                      <a:pt x="371" y="266"/>
                      <a:pt x="374" y="264"/>
                    </a:cubicBezTo>
                    <a:cubicBezTo>
                      <a:pt x="377" y="263"/>
                      <a:pt x="375" y="259"/>
                      <a:pt x="378" y="258"/>
                    </a:cubicBezTo>
                    <a:cubicBezTo>
                      <a:pt x="383" y="255"/>
                      <a:pt x="390" y="255"/>
                      <a:pt x="396" y="253"/>
                    </a:cubicBezTo>
                    <a:cubicBezTo>
                      <a:pt x="395" y="252"/>
                      <a:pt x="396" y="250"/>
                      <a:pt x="395" y="248"/>
                    </a:cubicBezTo>
                    <a:cubicBezTo>
                      <a:pt x="395" y="248"/>
                      <a:pt x="383" y="241"/>
                      <a:pt x="383" y="240"/>
                    </a:cubicBezTo>
                    <a:cubicBezTo>
                      <a:pt x="382" y="239"/>
                      <a:pt x="384" y="238"/>
                      <a:pt x="384" y="236"/>
                    </a:cubicBezTo>
                    <a:cubicBezTo>
                      <a:pt x="382" y="233"/>
                      <a:pt x="378" y="230"/>
                      <a:pt x="378" y="227"/>
                    </a:cubicBezTo>
                    <a:cubicBezTo>
                      <a:pt x="377" y="225"/>
                      <a:pt x="381" y="225"/>
                      <a:pt x="381" y="223"/>
                    </a:cubicBezTo>
                    <a:cubicBezTo>
                      <a:pt x="379" y="219"/>
                      <a:pt x="371" y="219"/>
                      <a:pt x="371" y="214"/>
                    </a:cubicBezTo>
                    <a:cubicBezTo>
                      <a:pt x="370" y="213"/>
                      <a:pt x="374" y="212"/>
                      <a:pt x="374" y="210"/>
                    </a:cubicBezTo>
                    <a:cubicBezTo>
                      <a:pt x="376" y="204"/>
                      <a:pt x="356" y="200"/>
                      <a:pt x="354" y="195"/>
                    </a:cubicBezTo>
                    <a:cubicBezTo>
                      <a:pt x="352" y="191"/>
                      <a:pt x="356" y="185"/>
                      <a:pt x="355" y="180"/>
                    </a:cubicBezTo>
                    <a:cubicBezTo>
                      <a:pt x="355" y="171"/>
                      <a:pt x="382" y="183"/>
                      <a:pt x="390" y="178"/>
                    </a:cubicBezTo>
                    <a:cubicBezTo>
                      <a:pt x="395" y="175"/>
                      <a:pt x="400" y="165"/>
                      <a:pt x="400" y="159"/>
                    </a:cubicBezTo>
                    <a:cubicBezTo>
                      <a:pt x="400" y="158"/>
                      <a:pt x="397" y="159"/>
                      <a:pt x="398" y="158"/>
                    </a:cubicBezTo>
                    <a:cubicBezTo>
                      <a:pt x="401" y="156"/>
                      <a:pt x="406" y="154"/>
                      <a:pt x="408" y="151"/>
                    </a:cubicBezTo>
                    <a:cubicBezTo>
                      <a:pt x="409" y="149"/>
                      <a:pt x="408" y="144"/>
                      <a:pt x="405" y="143"/>
                    </a:cubicBezTo>
                    <a:cubicBezTo>
                      <a:pt x="396" y="139"/>
                      <a:pt x="395" y="143"/>
                      <a:pt x="390" y="137"/>
                    </a:cubicBezTo>
                    <a:cubicBezTo>
                      <a:pt x="388" y="135"/>
                      <a:pt x="394" y="127"/>
                      <a:pt x="387" y="128"/>
                    </a:cubicBezTo>
                    <a:cubicBezTo>
                      <a:pt x="381" y="128"/>
                      <a:pt x="377" y="126"/>
                      <a:pt x="367" y="129"/>
                    </a:cubicBezTo>
                    <a:cubicBezTo>
                      <a:pt x="364" y="130"/>
                      <a:pt x="361" y="133"/>
                      <a:pt x="357" y="132"/>
                    </a:cubicBezTo>
                    <a:cubicBezTo>
                      <a:pt x="354" y="131"/>
                      <a:pt x="360" y="115"/>
                      <a:pt x="354" y="112"/>
                    </a:cubicBezTo>
                    <a:cubicBezTo>
                      <a:pt x="353" y="111"/>
                      <a:pt x="335" y="111"/>
                      <a:pt x="330" y="107"/>
                    </a:cubicBezTo>
                    <a:cubicBezTo>
                      <a:pt x="321" y="101"/>
                      <a:pt x="326" y="96"/>
                      <a:pt x="313" y="92"/>
                    </a:cubicBezTo>
                    <a:cubicBezTo>
                      <a:pt x="311" y="90"/>
                      <a:pt x="317" y="81"/>
                      <a:pt x="314" y="80"/>
                    </a:cubicBezTo>
                    <a:cubicBezTo>
                      <a:pt x="306" y="80"/>
                      <a:pt x="304" y="80"/>
                      <a:pt x="295" y="74"/>
                    </a:cubicBezTo>
                    <a:cubicBezTo>
                      <a:pt x="291" y="71"/>
                      <a:pt x="298" y="59"/>
                      <a:pt x="297" y="57"/>
                    </a:cubicBezTo>
                    <a:cubicBezTo>
                      <a:pt x="293" y="52"/>
                      <a:pt x="301" y="56"/>
                      <a:pt x="299" y="53"/>
                    </a:cubicBezTo>
                    <a:cubicBezTo>
                      <a:pt x="297" y="50"/>
                      <a:pt x="284" y="39"/>
                      <a:pt x="284" y="36"/>
                    </a:cubicBezTo>
                    <a:cubicBezTo>
                      <a:pt x="287" y="28"/>
                      <a:pt x="288" y="23"/>
                      <a:pt x="283" y="15"/>
                    </a:cubicBezTo>
                    <a:cubicBezTo>
                      <a:pt x="282" y="12"/>
                      <a:pt x="279" y="17"/>
                      <a:pt x="276" y="17"/>
                    </a:cubicBezTo>
                    <a:cubicBezTo>
                      <a:pt x="276" y="17"/>
                      <a:pt x="258" y="6"/>
                      <a:pt x="258" y="6"/>
                    </a:cubicBezTo>
                    <a:cubicBezTo>
                      <a:pt x="244" y="0"/>
                      <a:pt x="254" y="4"/>
                      <a:pt x="246" y="8"/>
                    </a:cubicBezTo>
                    <a:cubicBezTo>
                      <a:pt x="245" y="8"/>
                      <a:pt x="238" y="7"/>
                      <a:pt x="236" y="9"/>
                    </a:cubicBezTo>
                    <a:cubicBezTo>
                      <a:pt x="233" y="13"/>
                      <a:pt x="229" y="24"/>
                      <a:pt x="224" y="26"/>
                    </a:cubicBezTo>
                    <a:cubicBezTo>
                      <a:pt x="215" y="31"/>
                      <a:pt x="216" y="7"/>
                      <a:pt x="216" y="7"/>
                    </a:cubicBezTo>
                    <a:cubicBezTo>
                      <a:pt x="198" y="3"/>
                      <a:pt x="202" y="6"/>
                      <a:pt x="190" y="15"/>
                    </a:cubicBezTo>
                    <a:cubicBezTo>
                      <a:pt x="187" y="17"/>
                      <a:pt x="185" y="9"/>
                      <a:pt x="182" y="7"/>
                    </a:cubicBezTo>
                    <a:cubicBezTo>
                      <a:pt x="172" y="0"/>
                      <a:pt x="175" y="19"/>
                      <a:pt x="161" y="7"/>
                    </a:cubicBezTo>
                    <a:cubicBezTo>
                      <a:pt x="161" y="8"/>
                      <a:pt x="150" y="16"/>
                      <a:pt x="149" y="20"/>
                    </a:cubicBezTo>
                    <a:cubicBezTo>
                      <a:pt x="148" y="21"/>
                      <a:pt x="145" y="38"/>
                      <a:pt x="145" y="38"/>
                    </a:cubicBezTo>
                    <a:cubicBezTo>
                      <a:pt x="142" y="41"/>
                      <a:pt x="138" y="37"/>
                      <a:pt x="134" y="38"/>
                    </a:cubicBezTo>
                    <a:cubicBezTo>
                      <a:pt x="133" y="39"/>
                      <a:pt x="134" y="43"/>
                      <a:pt x="133" y="43"/>
                    </a:cubicBezTo>
                    <a:cubicBezTo>
                      <a:pt x="130" y="43"/>
                      <a:pt x="129" y="40"/>
                      <a:pt x="126" y="40"/>
                    </a:cubicBezTo>
                    <a:cubicBezTo>
                      <a:pt x="119" y="39"/>
                      <a:pt x="117" y="55"/>
                      <a:pt x="108" y="58"/>
                    </a:cubicBezTo>
                    <a:cubicBezTo>
                      <a:pt x="108" y="58"/>
                      <a:pt x="108" y="58"/>
                      <a:pt x="108" y="58"/>
                    </a:cubicBezTo>
                    <a:cubicBezTo>
                      <a:pt x="111" y="67"/>
                      <a:pt x="107" y="74"/>
                      <a:pt x="107" y="83"/>
                    </a:cubicBezTo>
                    <a:cubicBezTo>
                      <a:pt x="106" y="88"/>
                      <a:pt x="125" y="77"/>
                      <a:pt x="123" y="85"/>
                    </a:cubicBezTo>
                    <a:cubicBezTo>
                      <a:pt x="122" y="87"/>
                      <a:pt x="119" y="87"/>
                      <a:pt x="118" y="89"/>
                    </a:cubicBezTo>
                    <a:cubicBezTo>
                      <a:pt x="117" y="91"/>
                      <a:pt x="120" y="94"/>
                      <a:pt x="118" y="97"/>
                    </a:cubicBezTo>
                    <a:cubicBezTo>
                      <a:pt x="115" y="101"/>
                      <a:pt x="106" y="95"/>
                      <a:pt x="103" y="99"/>
                    </a:cubicBezTo>
                    <a:cubicBezTo>
                      <a:pt x="101" y="103"/>
                      <a:pt x="104" y="109"/>
                      <a:pt x="101" y="112"/>
                    </a:cubicBezTo>
                    <a:cubicBezTo>
                      <a:pt x="90" y="129"/>
                      <a:pt x="95" y="107"/>
                      <a:pt x="89" y="128"/>
                    </a:cubicBezTo>
                    <a:cubicBezTo>
                      <a:pt x="89" y="129"/>
                      <a:pt x="86" y="129"/>
                      <a:pt x="86" y="130"/>
                    </a:cubicBezTo>
                    <a:cubicBezTo>
                      <a:pt x="91" y="145"/>
                      <a:pt x="91" y="145"/>
                      <a:pt x="91" y="145"/>
                    </a:cubicBezTo>
                    <a:cubicBezTo>
                      <a:pt x="91" y="146"/>
                      <a:pt x="86" y="162"/>
                      <a:pt x="86" y="164"/>
                    </a:cubicBezTo>
                    <a:cubicBezTo>
                      <a:pt x="86" y="166"/>
                      <a:pt x="104" y="163"/>
                      <a:pt x="99" y="175"/>
                    </a:cubicBezTo>
                    <a:cubicBezTo>
                      <a:pt x="98" y="178"/>
                      <a:pt x="86" y="182"/>
                      <a:pt x="87" y="177"/>
                    </a:cubicBezTo>
                    <a:cubicBezTo>
                      <a:pt x="87" y="175"/>
                      <a:pt x="90" y="174"/>
                      <a:pt x="89" y="173"/>
                    </a:cubicBezTo>
                    <a:cubicBezTo>
                      <a:pt x="88" y="165"/>
                      <a:pt x="75" y="171"/>
                      <a:pt x="73" y="174"/>
                    </a:cubicBezTo>
                    <a:cubicBezTo>
                      <a:pt x="67" y="180"/>
                      <a:pt x="79" y="179"/>
                      <a:pt x="70" y="184"/>
                    </a:cubicBezTo>
                    <a:cubicBezTo>
                      <a:pt x="66" y="186"/>
                      <a:pt x="61" y="185"/>
                      <a:pt x="58" y="188"/>
                    </a:cubicBezTo>
                    <a:cubicBezTo>
                      <a:pt x="56" y="191"/>
                      <a:pt x="64" y="197"/>
                      <a:pt x="61" y="198"/>
                    </a:cubicBezTo>
                    <a:cubicBezTo>
                      <a:pt x="58" y="199"/>
                      <a:pt x="55" y="197"/>
                      <a:pt x="52" y="199"/>
                    </a:cubicBezTo>
                    <a:cubicBezTo>
                      <a:pt x="48" y="201"/>
                      <a:pt x="48" y="206"/>
                      <a:pt x="44" y="209"/>
                    </a:cubicBezTo>
                    <a:cubicBezTo>
                      <a:pt x="39" y="213"/>
                      <a:pt x="37" y="203"/>
                      <a:pt x="33" y="205"/>
                    </a:cubicBezTo>
                    <a:cubicBezTo>
                      <a:pt x="28" y="207"/>
                      <a:pt x="12" y="216"/>
                      <a:pt x="5" y="212"/>
                    </a:cubicBezTo>
                    <a:cubicBezTo>
                      <a:pt x="15" y="240"/>
                      <a:pt x="40" y="267"/>
                      <a:pt x="42" y="298"/>
                    </a:cubicBezTo>
                    <a:cubicBezTo>
                      <a:pt x="42" y="299"/>
                      <a:pt x="40" y="300"/>
                      <a:pt x="40" y="301"/>
                    </a:cubicBezTo>
                    <a:cubicBezTo>
                      <a:pt x="36" y="305"/>
                      <a:pt x="0" y="335"/>
                      <a:pt x="17" y="341"/>
                    </a:cubicBezTo>
                    <a:cubicBezTo>
                      <a:pt x="18" y="342"/>
                      <a:pt x="19" y="339"/>
                      <a:pt x="20" y="339"/>
                    </a:cubicBezTo>
                    <a:cubicBezTo>
                      <a:pt x="25" y="340"/>
                      <a:pt x="31" y="342"/>
                      <a:pt x="35" y="345"/>
                    </a:cubicBezTo>
                    <a:cubicBezTo>
                      <a:pt x="47" y="354"/>
                      <a:pt x="35" y="373"/>
                      <a:pt x="39" y="384"/>
                    </a:cubicBezTo>
                    <a:cubicBezTo>
                      <a:pt x="40" y="385"/>
                      <a:pt x="42" y="387"/>
                      <a:pt x="43" y="389"/>
                    </a:cubicBezTo>
                    <a:lnTo>
                      <a:pt x="43" y="388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5" name="Poland" descr="{&quot;Key&quot;:&quot;poland&quot;,&quot;Name&quot;:&quot;Poland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FCAAC7B0-892E-3F99-CAA6-E66093A18D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40818" y="7293635"/>
                <a:ext cx="823423" cy="742280"/>
              </a:xfrm>
              <a:custGeom>
                <a:avLst/>
                <a:gdLst>
                  <a:gd name="T0" fmla="*/ 78 w 492"/>
                  <a:gd name="T1" fmla="*/ 310 h 413"/>
                  <a:gd name="T2" fmla="*/ 106 w 492"/>
                  <a:gd name="T3" fmla="*/ 322 h 413"/>
                  <a:gd name="T4" fmla="*/ 127 w 492"/>
                  <a:gd name="T5" fmla="*/ 323 h 413"/>
                  <a:gd name="T6" fmla="*/ 149 w 492"/>
                  <a:gd name="T7" fmla="*/ 362 h 413"/>
                  <a:gd name="T8" fmla="*/ 154 w 492"/>
                  <a:gd name="T9" fmla="*/ 336 h 413"/>
                  <a:gd name="T10" fmla="*/ 192 w 492"/>
                  <a:gd name="T11" fmla="*/ 345 h 413"/>
                  <a:gd name="T12" fmla="*/ 190 w 492"/>
                  <a:gd name="T13" fmla="*/ 353 h 413"/>
                  <a:gd name="T14" fmla="*/ 204 w 492"/>
                  <a:gd name="T15" fmla="*/ 365 h 413"/>
                  <a:gd name="T16" fmla="*/ 225 w 492"/>
                  <a:gd name="T17" fmla="*/ 364 h 413"/>
                  <a:gd name="T18" fmla="*/ 252 w 492"/>
                  <a:gd name="T19" fmla="*/ 383 h 413"/>
                  <a:gd name="T20" fmla="*/ 262 w 492"/>
                  <a:gd name="T21" fmla="*/ 401 h 413"/>
                  <a:gd name="T22" fmla="*/ 294 w 492"/>
                  <a:gd name="T23" fmla="*/ 393 h 413"/>
                  <a:gd name="T24" fmla="*/ 302 w 492"/>
                  <a:gd name="T25" fmla="*/ 410 h 413"/>
                  <a:gd name="T26" fmla="*/ 332 w 492"/>
                  <a:gd name="T27" fmla="*/ 391 h 413"/>
                  <a:gd name="T28" fmla="*/ 356 w 492"/>
                  <a:gd name="T29" fmla="*/ 396 h 413"/>
                  <a:gd name="T30" fmla="*/ 368 w 492"/>
                  <a:gd name="T31" fmla="*/ 386 h 413"/>
                  <a:gd name="T32" fmla="*/ 410 w 492"/>
                  <a:gd name="T33" fmla="*/ 393 h 413"/>
                  <a:gd name="T34" fmla="*/ 451 w 492"/>
                  <a:gd name="T35" fmla="*/ 400 h 413"/>
                  <a:gd name="T36" fmla="*/ 445 w 492"/>
                  <a:gd name="T37" fmla="*/ 382 h 413"/>
                  <a:gd name="T38" fmla="*/ 492 w 492"/>
                  <a:gd name="T39" fmla="*/ 277 h 413"/>
                  <a:gd name="T40" fmla="*/ 458 w 492"/>
                  <a:gd name="T41" fmla="*/ 227 h 413"/>
                  <a:gd name="T42" fmla="*/ 445 w 492"/>
                  <a:gd name="T43" fmla="*/ 167 h 413"/>
                  <a:gd name="T44" fmla="*/ 450 w 492"/>
                  <a:gd name="T45" fmla="*/ 123 h 413"/>
                  <a:gd name="T46" fmla="*/ 411 w 492"/>
                  <a:gd name="T47" fmla="*/ 21 h 413"/>
                  <a:gd name="T48" fmla="*/ 378 w 492"/>
                  <a:gd name="T49" fmla="*/ 9 h 413"/>
                  <a:gd name="T50" fmla="*/ 192 w 492"/>
                  <a:gd name="T51" fmla="*/ 13 h 413"/>
                  <a:gd name="T52" fmla="*/ 184 w 492"/>
                  <a:gd name="T53" fmla="*/ 4 h 413"/>
                  <a:gd name="T54" fmla="*/ 96 w 492"/>
                  <a:gd name="T55" fmla="*/ 55 h 413"/>
                  <a:gd name="T56" fmla="*/ 13 w 492"/>
                  <a:gd name="T57" fmla="*/ 86 h 413"/>
                  <a:gd name="T58" fmla="*/ 14 w 492"/>
                  <a:gd name="T59" fmla="*/ 168 h 413"/>
                  <a:gd name="T60" fmla="*/ 43 w 492"/>
                  <a:gd name="T61" fmla="*/ 211 h 413"/>
                  <a:gd name="T62" fmla="*/ 40 w 492"/>
                  <a:gd name="T63" fmla="*/ 240 h 413"/>
                  <a:gd name="T64" fmla="*/ 56 w 492"/>
                  <a:gd name="T65" fmla="*/ 266 h 413"/>
                  <a:gd name="T66" fmla="*/ 1 w 492"/>
                  <a:gd name="T67" fmla="*/ 99 h 413"/>
                  <a:gd name="T68" fmla="*/ 1 w 492"/>
                  <a:gd name="T69" fmla="*/ 99 h 413"/>
                  <a:gd name="T70" fmla="*/ 3 w 492"/>
                  <a:gd name="T71" fmla="*/ 100 h 413"/>
                  <a:gd name="T72" fmla="*/ 5 w 492"/>
                  <a:gd name="T73" fmla="*/ 100 h 413"/>
                  <a:gd name="T74" fmla="*/ 6 w 492"/>
                  <a:gd name="T75" fmla="*/ 101 h 413"/>
                  <a:gd name="T76" fmla="*/ 6 w 492"/>
                  <a:gd name="T77" fmla="*/ 101 h 413"/>
                  <a:gd name="T78" fmla="*/ 7 w 492"/>
                  <a:gd name="T79" fmla="*/ 101 h 413"/>
                  <a:gd name="T80" fmla="*/ 7 w 492"/>
                  <a:gd name="T81" fmla="*/ 101 h 413"/>
                  <a:gd name="T82" fmla="*/ 7 w 492"/>
                  <a:gd name="T83" fmla="*/ 101 h 413"/>
                  <a:gd name="T84" fmla="*/ 13 w 492"/>
                  <a:gd name="T85" fmla="*/ 103 h 413"/>
                  <a:gd name="T86" fmla="*/ 207 w 492"/>
                  <a:gd name="T87" fmla="*/ 16 h 4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492" h="413">
                    <a:moveTo>
                      <a:pt x="57" y="312"/>
                    </a:moveTo>
                    <a:cubicBezTo>
                      <a:pt x="72" y="310"/>
                      <a:pt x="54" y="297"/>
                      <a:pt x="70" y="300"/>
                    </a:cubicBezTo>
                    <a:cubicBezTo>
                      <a:pt x="80" y="301"/>
                      <a:pt x="71" y="306"/>
                      <a:pt x="78" y="310"/>
                    </a:cubicBezTo>
                    <a:cubicBezTo>
                      <a:pt x="87" y="318"/>
                      <a:pt x="94" y="313"/>
                      <a:pt x="101" y="317"/>
                    </a:cubicBezTo>
                    <a:cubicBezTo>
                      <a:pt x="104" y="319"/>
                      <a:pt x="103" y="322"/>
                      <a:pt x="104" y="323"/>
                    </a:cubicBezTo>
                    <a:cubicBezTo>
                      <a:pt x="105" y="324"/>
                      <a:pt x="106" y="322"/>
                      <a:pt x="106" y="322"/>
                    </a:cubicBezTo>
                    <a:cubicBezTo>
                      <a:pt x="108" y="322"/>
                      <a:pt x="110" y="320"/>
                      <a:pt x="110" y="322"/>
                    </a:cubicBezTo>
                    <a:cubicBezTo>
                      <a:pt x="112" y="323"/>
                      <a:pt x="110" y="326"/>
                      <a:pt x="112" y="328"/>
                    </a:cubicBezTo>
                    <a:cubicBezTo>
                      <a:pt x="112" y="328"/>
                      <a:pt x="125" y="321"/>
                      <a:pt x="127" y="323"/>
                    </a:cubicBezTo>
                    <a:cubicBezTo>
                      <a:pt x="143" y="330"/>
                      <a:pt x="121" y="333"/>
                      <a:pt x="122" y="340"/>
                    </a:cubicBezTo>
                    <a:cubicBezTo>
                      <a:pt x="135" y="348"/>
                      <a:pt x="135" y="348"/>
                      <a:pt x="135" y="348"/>
                    </a:cubicBezTo>
                    <a:cubicBezTo>
                      <a:pt x="137" y="350"/>
                      <a:pt x="140" y="365"/>
                      <a:pt x="149" y="362"/>
                    </a:cubicBezTo>
                    <a:cubicBezTo>
                      <a:pt x="151" y="361"/>
                      <a:pt x="151" y="357"/>
                      <a:pt x="152" y="355"/>
                    </a:cubicBezTo>
                    <a:cubicBezTo>
                      <a:pt x="155" y="353"/>
                      <a:pt x="161" y="354"/>
                      <a:pt x="162" y="350"/>
                    </a:cubicBezTo>
                    <a:cubicBezTo>
                      <a:pt x="163" y="349"/>
                      <a:pt x="151" y="337"/>
                      <a:pt x="154" y="336"/>
                    </a:cubicBezTo>
                    <a:cubicBezTo>
                      <a:pt x="162" y="335"/>
                      <a:pt x="172" y="344"/>
                      <a:pt x="177" y="345"/>
                    </a:cubicBezTo>
                    <a:cubicBezTo>
                      <a:pt x="179" y="346"/>
                      <a:pt x="182" y="345"/>
                      <a:pt x="185" y="345"/>
                    </a:cubicBezTo>
                    <a:cubicBezTo>
                      <a:pt x="187" y="345"/>
                      <a:pt x="190" y="346"/>
                      <a:pt x="192" y="345"/>
                    </a:cubicBezTo>
                    <a:cubicBezTo>
                      <a:pt x="193" y="344"/>
                      <a:pt x="192" y="342"/>
                      <a:pt x="193" y="341"/>
                    </a:cubicBezTo>
                    <a:cubicBezTo>
                      <a:pt x="194" y="340"/>
                      <a:pt x="195" y="340"/>
                      <a:pt x="195" y="341"/>
                    </a:cubicBezTo>
                    <a:cubicBezTo>
                      <a:pt x="202" y="354"/>
                      <a:pt x="197" y="346"/>
                      <a:pt x="190" y="353"/>
                    </a:cubicBezTo>
                    <a:cubicBezTo>
                      <a:pt x="187" y="354"/>
                      <a:pt x="195" y="355"/>
                      <a:pt x="198" y="357"/>
                    </a:cubicBezTo>
                    <a:cubicBezTo>
                      <a:pt x="199" y="358"/>
                      <a:pt x="199" y="361"/>
                      <a:pt x="200" y="363"/>
                    </a:cubicBezTo>
                    <a:cubicBezTo>
                      <a:pt x="202" y="364"/>
                      <a:pt x="203" y="365"/>
                      <a:pt x="204" y="365"/>
                    </a:cubicBezTo>
                    <a:cubicBezTo>
                      <a:pt x="221" y="363"/>
                      <a:pt x="202" y="362"/>
                      <a:pt x="212" y="358"/>
                    </a:cubicBezTo>
                    <a:cubicBezTo>
                      <a:pt x="213" y="357"/>
                      <a:pt x="213" y="359"/>
                      <a:pt x="214" y="360"/>
                    </a:cubicBezTo>
                    <a:cubicBezTo>
                      <a:pt x="216" y="362"/>
                      <a:pt x="222" y="363"/>
                      <a:pt x="225" y="364"/>
                    </a:cubicBezTo>
                    <a:cubicBezTo>
                      <a:pt x="229" y="365"/>
                      <a:pt x="234" y="363"/>
                      <a:pt x="237" y="366"/>
                    </a:cubicBezTo>
                    <a:cubicBezTo>
                      <a:pt x="237" y="366"/>
                      <a:pt x="242" y="380"/>
                      <a:pt x="243" y="380"/>
                    </a:cubicBezTo>
                    <a:cubicBezTo>
                      <a:pt x="245" y="382"/>
                      <a:pt x="250" y="380"/>
                      <a:pt x="252" y="383"/>
                    </a:cubicBezTo>
                    <a:cubicBezTo>
                      <a:pt x="254" y="386"/>
                      <a:pt x="252" y="391"/>
                      <a:pt x="255" y="393"/>
                    </a:cubicBezTo>
                    <a:cubicBezTo>
                      <a:pt x="256" y="395"/>
                      <a:pt x="260" y="392"/>
                      <a:pt x="261" y="394"/>
                    </a:cubicBezTo>
                    <a:cubicBezTo>
                      <a:pt x="263" y="396"/>
                      <a:pt x="260" y="400"/>
                      <a:pt x="262" y="401"/>
                    </a:cubicBezTo>
                    <a:cubicBezTo>
                      <a:pt x="271" y="409"/>
                      <a:pt x="278" y="380"/>
                      <a:pt x="284" y="384"/>
                    </a:cubicBezTo>
                    <a:cubicBezTo>
                      <a:pt x="288" y="386"/>
                      <a:pt x="288" y="391"/>
                      <a:pt x="290" y="394"/>
                    </a:cubicBezTo>
                    <a:cubicBezTo>
                      <a:pt x="291" y="395"/>
                      <a:pt x="293" y="393"/>
                      <a:pt x="294" y="393"/>
                    </a:cubicBezTo>
                    <a:cubicBezTo>
                      <a:pt x="294" y="395"/>
                      <a:pt x="292" y="397"/>
                      <a:pt x="293" y="397"/>
                    </a:cubicBezTo>
                    <a:cubicBezTo>
                      <a:pt x="296" y="398"/>
                      <a:pt x="299" y="395"/>
                      <a:pt x="301" y="396"/>
                    </a:cubicBezTo>
                    <a:cubicBezTo>
                      <a:pt x="305" y="398"/>
                      <a:pt x="302" y="409"/>
                      <a:pt x="302" y="410"/>
                    </a:cubicBezTo>
                    <a:cubicBezTo>
                      <a:pt x="302" y="413"/>
                      <a:pt x="307" y="408"/>
                      <a:pt x="310" y="408"/>
                    </a:cubicBezTo>
                    <a:cubicBezTo>
                      <a:pt x="312" y="407"/>
                      <a:pt x="314" y="412"/>
                      <a:pt x="316" y="410"/>
                    </a:cubicBezTo>
                    <a:cubicBezTo>
                      <a:pt x="317" y="410"/>
                      <a:pt x="324" y="392"/>
                      <a:pt x="332" y="391"/>
                    </a:cubicBezTo>
                    <a:cubicBezTo>
                      <a:pt x="334" y="390"/>
                      <a:pt x="336" y="392"/>
                      <a:pt x="338" y="392"/>
                    </a:cubicBezTo>
                    <a:cubicBezTo>
                      <a:pt x="341" y="392"/>
                      <a:pt x="342" y="388"/>
                      <a:pt x="344" y="389"/>
                    </a:cubicBezTo>
                    <a:cubicBezTo>
                      <a:pt x="349" y="389"/>
                      <a:pt x="351" y="396"/>
                      <a:pt x="356" y="396"/>
                    </a:cubicBezTo>
                    <a:cubicBezTo>
                      <a:pt x="359" y="396"/>
                      <a:pt x="362" y="392"/>
                      <a:pt x="364" y="389"/>
                    </a:cubicBezTo>
                    <a:cubicBezTo>
                      <a:pt x="364" y="388"/>
                      <a:pt x="361" y="388"/>
                      <a:pt x="361" y="387"/>
                    </a:cubicBezTo>
                    <a:cubicBezTo>
                      <a:pt x="363" y="379"/>
                      <a:pt x="366" y="387"/>
                      <a:pt x="368" y="386"/>
                    </a:cubicBezTo>
                    <a:cubicBezTo>
                      <a:pt x="370" y="386"/>
                      <a:pt x="370" y="382"/>
                      <a:pt x="372" y="382"/>
                    </a:cubicBezTo>
                    <a:cubicBezTo>
                      <a:pt x="380" y="380"/>
                      <a:pt x="400" y="380"/>
                      <a:pt x="407" y="386"/>
                    </a:cubicBezTo>
                    <a:cubicBezTo>
                      <a:pt x="409" y="388"/>
                      <a:pt x="408" y="392"/>
                      <a:pt x="410" y="393"/>
                    </a:cubicBezTo>
                    <a:cubicBezTo>
                      <a:pt x="414" y="395"/>
                      <a:pt x="418" y="395"/>
                      <a:pt x="422" y="396"/>
                    </a:cubicBezTo>
                    <a:cubicBezTo>
                      <a:pt x="429" y="399"/>
                      <a:pt x="436" y="399"/>
                      <a:pt x="443" y="400"/>
                    </a:cubicBezTo>
                    <a:cubicBezTo>
                      <a:pt x="445" y="400"/>
                      <a:pt x="448" y="399"/>
                      <a:pt x="451" y="400"/>
                    </a:cubicBezTo>
                    <a:cubicBezTo>
                      <a:pt x="452" y="400"/>
                      <a:pt x="454" y="403"/>
                      <a:pt x="454" y="402"/>
                    </a:cubicBezTo>
                    <a:cubicBezTo>
                      <a:pt x="447" y="380"/>
                      <a:pt x="453" y="403"/>
                      <a:pt x="443" y="391"/>
                    </a:cubicBezTo>
                    <a:cubicBezTo>
                      <a:pt x="441" y="389"/>
                      <a:pt x="445" y="385"/>
                      <a:pt x="445" y="382"/>
                    </a:cubicBezTo>
                    <a:cubicBezTo>
                      <a:pt x="443" y="376"/>
                      <a:pt x="437" y="372"/>
                      <a:pt x="436" y="366"/>
                    </a:cubicBezTo>
                    <a:cubicBezTo>
                      <a:pt x="435" y="361"/>
                      <a:pt x="469" y="297"/>
                      <a:pt x="474" y="293"/>
                    </a:cubicBezTo>
                    <a:cubicBezTo>
                      <a:pt x="484" y="285"/>
                      <a:pt x="490" y="297"/>
                      <a:pt x="492" y="277"/>
                    </a:cubicBezTo>
                    <a:cubicBezTo>
                      <a:pt x="492" y="272"/>
                      <a:pt x="480" y="262"/>
                      <a:pt x="480" y="262"/>
                    </a:cubicBezTo>
                    <a:cubicBezTo>
                      <a:pt x="477" y="256"/>
                      <a:pt x="490" y="257"/>
                      <a:pt x="488" y="255"/>
                    </a:cubicBezTo>
                    <a:cubicBezTo>
                      <a:pt x="479" y="248"/>
                      <a:pt x="463" y="237"/>
                      <a:pt x="458" y="227"/>
                    </a:cubicBezTo>
                    <a:cubicBezTo>
                      <a:pt x="457" y="224"/>
                      <a:pt x="459" y="220"/>
                      <a:pt x="458" y="216"/>
                    </a:cubicBezTo>
                    <a:cubicBezTo>
                      <a:pt x="456" y="212"/>
                      <a:pt x="451" y="210"/>
                      <a:pt x="449" y="206"/>
                    </a:cubicBezTo>
                    <a:cubicBezTo>
                      <a:pt x="445" y="195"/>
                      <a:pt x="457" y="176"/>
                      <a:pt x="445" y="167"/>
                    </a:cubicBezTo>
                    <a:cubicBezTo>
                      <a:pt x="441" y="164"/>
                      <a:pt x="435" y="162"/>
                      <a:pt x="430" y="161"/>
                    </a:cubicBezTo>
                    <a:cubicBezTo>
                      <a:pt x="429" y="161"/>
                      <a:pt x="428" y="164"/>
                      <a:pt x="427" y="163"/>
                    </a:cubicBezTo>
                    <a:cubicBezTo>
                      <a:pt x="410" y="157"/>
                      <a:pt x="446" y="127"/>
                      <a:pt x="450" y="123"/>
                    </a:cubicBezTo>
                    <a:cubicBezTo>
                      <a:pt x="450" y="122"/>
                      <a:pt x="452" y="121"/>
                      <a:pt x="452" y="120"/>
                    </a:cubicBezTo>
                    <a:cubicBezTo>
                      <a:pt x="450" y="89"/>
                      <a:pt x="425" y="62"/>
                      <a:pt x="415" y="34"/>
                    </a:cubicBezTo>
                    <a:cubicBezTo>
                      <a:pt x="411" y="31"/>
                      <a:pt x="415" y="25"/>
                      <a:pt x="411" y="21"/>
                    </a:cubicBezTo>
                    <a:cubicBezTo>
                      <a:pt x="401" y="6"/>
                      <a:pt x="407" y="18"/>
                      <a:pt x="392" y="12"/>
                    </a:cubicBezTo>
                    <a:cubicBezTo>
                      <a:pt x="386" y="9"/>
                      <a:pt x="390" y="2"/>
                      <a:pt x="381" y="5"/>
                    </a:cubicBezTo>
                    <a:cubicBezTo>
                      <a:pt x="380" y="5"/>
                      <a:pt x="380" y="8"/>
                      <a:pt x="378" y="9"/>
                    </a:cubicBezTo>
                    <a:cubicBezTo>
                      <a:pt x="352" y="25"/>
                      <a:pt x="276" y="27"/>
                      <a:pt x="243" y="23"/>
                    </a:cubicBezTo>
                    <a:cubicBezTo>
                      <a:pt x="233" y="34"/>
                      <a:pt x="217" y="40"/>
                      <a:pt x="204" y="35"/>
                    </a:cubicBezTo>
                    <a:cubicBezTo>
                      <a:pt x="193" y="30"/>
                      <a:pt x="195" y="19"/>
                      <a:pt x="192" y="13"/>
                    </a:cubicBezTo>
                    <a:cubicBezTo>
                      <a:pt x="191" y="11"/>
                      <a:pt x="187" y="6"/>
                      <a:pt x="189" y="7"/>
                    </a:cubicBezTo>
                    <a:cubicBezTo>
                      <a:pt x="191" y="7"/>
                      <a:pt x="192" y="7"/>
                      <a:pt x="194" y="8"/>
                    </a:cubicBezTo>
                    <a:cubicBezTo>
                      <a:pt x="191" y="6"/>
                      <a:pt x="187" y="4"/>
                      <a:pt x="184" y="4"/>
                    </a:cubicBezTo>
                    <a:cubicBezTo>
                      <a:pt x="164" y="0"/>
                      <a:pt x="141" y="18"/>
                      <a:pt x="126" y="27"/>
                    </a:cubicBezTo>
                    <a:cubicBezTo>
                      <a:pt x="121" y="30"/>
                      <a:pt x="114" y="29"/>
                      <a:pt x="110" y="32"/>
                    </a:cubicBezTo>
                    <a:cubicBezTo>
                      <a:pt x="101" y="41"/>
                      <a:pt x="99" y="55"/>
                      <a:pt x="96" y="55"/>
                    </a:cubicBezTo>
                    <a:cubicBezTo>
                      <a:pt x="75" y="60"/>
                      <a:pt x="55" y="69"/>
                      <a:pt x="35" y="77"/>
                    </a:cubicBezTo>
                    <a:cubicBezTo>
                      <a:pt x="30" y="79"/>
                      <a:pt x="27" y="86"/>
                      <a:pt x="22" y="87"/>
                    </a:cubicBezTo>
                    <a:cubicBezTo>
                      <a:pt x="19" y="88"/>
                      <a:pt x="16" y="85"/>
                      <a:pt x="13" y="86"/>
                    </a:cubicBezTo>
                    <a:cubicBezTo>
                      <a:pt x="8" y="89"/>
                      <a:pt x="20" y="101"/>
                      <a:pt x="15" y="103"/>
                    </a:cubicBezTo>
                    <a:cubicBezTo>
                      <a:pt x="16" y="112"/>
                      <a:pt x="25" y="129"/>
                      <a:pt x="26" y="135"/>
                    </a:cubicBezTo>
                    <a:cubicBezTo>
                      <a:pt x="28" y="148"/>
                      <a:pt x="10" y="157"/>
                      <a:pt x="14" y="168"/>
                    </a:cubicBezTo>
                    <a:cubicBezTo>
                      <a:pt x="16" y="175"/>
                      <a:pt x="37" y="178"/>
                      <a:pt x="37" y="186"/>
                    </a:cubicBezTo>
                    <a:cubicBezTo>
                      <a:pt x="37" y="195"/>
                      <a:pt x="31" y="198"/>
                      <a:pt x="36" y="204"/>
                    </a:cubicBezTo>
                    <a:cubicBezTo>
                      <a:pt x="37" y="207"/>
                      <a:pt x="41" y="208"/>
                      <a:pt x="43" y="211"/>
                    </a:cubicBezTo>
                    <a:cubicBezTo>
                      <a:pt x="44" y="214"/>
                      <a:pt x="42" y="218"/>
                      <a:pt x="43" y="221"/>
                    </a:cubicBezTo>
                    <a:cubicBezTo>
                      <a:pt x="43" y="223"/>
                      <a:pt x="45" y="222"/>
                      <a:pt x="46" y="223"/>
                    </a:cubicBezTo>
                    <a:cubicBezTo>
                      <a:pt x="49" y="227"/>
                      <a:pt x="42" y="237"/>
                      <a:pt x="40" y="240"/>
                    </a:cubicBezTo>
                    <a:cubicBezTo>
                      <a:pt x="37" y="245"/>
                      <a:pt x="45" y="248"/>
                      <a:pt x="47" y="253"/>
                    </a:cubicBezTo>
                    <a:cubicBezTo>
                      <a:pt x="48" y="256"/>
                      <a:pt x="44" y="259"/>
                      <a:pt x="46" y="262"/>
                    </a:cubicBezTo>
                    <a:cubicBezTo>
                      <a:pt x="48" y="265"/>
                      <a:pt x="53" y="264"/>
                      <a:pt x="56" y="266"/>
                    </a:cubicBezTo>
                    <a:cubicBezTo>
                      <a:pt x="62" y="272"/>
                      <a:pt x="61" y="301"/>
                      <a:pt x="57" y="312"/>
                    </a:cubicBezTo>
                    <a:close/>
                    <a:moveTo>
                      <a:pt x="0" y="99"/>
                    </a:moveTo>
                    <a:cubicBezTo>
                      <a:pt x="1" y="99"/>
                      <a:pt x="1" y="99"/>
                      <a:pt x="1" y="99"/>
                    </a:cubicBezTo>
                    <a:moveTo>
                      <a:pt x="1" y="99"/>
                    </a:moveTo>
                    <a:cubicBezTo>
                      <a:pt x="1" y="99"/>
                      <a:pt x="2" y="99"/>
                      <a:pt x="2" y="100"/>
                    </a:cubicBezTo>
                    <a:cubicBezTo>
                      <a:pt x="2" y="99"/>
                      <a:pt x="1" y="99"/>
                      <a:pt x="1" y="99"/>
                    </a:cubicBezTo>
                    <a:close/>
                    <a:moveTo>
                      <a:pt x="3" y="100"/>
                    </a:moveTo>
                    <a:cubicBezTo>
                      <a:pt x="3" y="100"/>
                      <a:pt x="3" y="100"/>
                      <a:pt x="3" y="100"/>
                    </a:cubicBezTo>
                    <a:cubicBezTo>
                      <a:pt x="3" y="100"/>
                      <a:pt x="3" y="100"/>
                      <a:pt x="3" y="100"/>
                    </a:cubicBezTo>
                    <a:cubicBezTo>
                      <a:pt x="4" y="100"/>
                      <a:pt x="4" y="100"/>
                      <a:pt x="4" y="100"/>
                    </a:cubicBezTo>
                    <a:moveTo>
                      <a:pt x="4" y="100"/>
                    </a:moveTo>
                    <a:cubicBezTo>
                      <a:pt x="4" y="100"/>
                      <a:pt x="4" y="100"/>
                      <a:pt x="5" y="100"/>
                    </a:cubicBezTo>
                    <a:cubicBezTo>
                      <a:pt x="4" y="100"/>
                      <a:pt x="4" y="100"/>
                      <a:pt x="4" y="100"/>
                    </a:cubicBezTo>
                    <a:close/>
                    <a:moveTo>
                      <a:pt x="5" y="100"/>
                    </a:moveTo>
                    <a:cubicBezTo>
                      <a:pt x="5" y="100"/>
                      <a:pt x="5" y="101"/>
                      <a:pt x="6" y="101"/>
                    </a:cubicBezTo>
                    <a:cubicBezTo>
                      <a:pt x="5" y="101"/>
                      <a:pt x="5" y="100"/>
                      <a:pt x="5" y="100"/>
                    </a:cubicBezTo>
                    <a:close/>
                    <a:moveTo>
                      <a:pt x="6" y="101"/>
                    </a:moveTo>
                    <a:cubicBezTo>
                      <a:pt x="6" y="101"/>
                      <a:pt x="6" y="101"/>
                      <a:pt x="6" y="101"/>
                    </a:cubicBezTo>
                    <a:cubicBezTo>
                      <a:pt x="6" y="101"/>
                      <a:pt x="6" y="101"/>
                      <a:pt x="6" y="101"/>
                    </a:cubicBezTo>
                    <a:moveTo>
                      <a:pt x="6" y="101"/>
                    </a:moveTo>
                    <a:cubicBezTo>
                      <a:pt x="7" y="101"/>
                      <a:pt x="7" y="101"/>
                      <a:pt x="7" y="101"/>
                    </a:cubicBezTo>
                    <a:cubicBezTo>
                      <a:pt x="7" y="101"/>
                      <a:pt x="7" y="101"/>
                      <a:pt x="6" y="101"/>
                    </a:cubicBezTo>
                    <a:close/>
                    <a:moveTo>
                      <a:pt x="7" y="101"/>
                    </a:moveTo>
                    <a:cubicBezTo>
                      <a:pt x="7" y="101"/>
                      <a:pt x="7" y="101"/>
                      <a:pt x="7" y="101"/>
                    </a:cubicBezTo>
                    <a:moveTo>
                      <a:pt x="7" y="101"/>
                    </a:moveTo>
                    <a:cubicBezTo>
                      <a:pt x="8" y="101"/>
                      <a:pt x="8" y="101"/>
                      <a:pt x="8" y="101"/>
                    </a:cubicBezTo>
                    <a:cubicBezTo>
                      <a:pt x="8" y="101"/>
                      <a:pt x="8" y="101"/>
                      <a:pt x="7" y="101"/>
                    </a:cubicBezTo>
                    <a:close/>
                    <a:moveTo>
                      <a:pt x="13" y="103"/>
                    </a:moveTo>
                    <a:cubicBezTo>
                      <a:pt x="13" y="103"/>
                      <a:pt x="13" y="103"/>
                      <a:pt x="13" y="103"/>
                    </a:cubicBezTo>
                    <a:moveTo>
                      <a:pt x="13" y="103"/>
                    </a:moveTo>
                    <a:cubicBezTo>
                      <a:pt x="13" y="103"/>
                      <a:pt x="13" y="103"/>
                      <a:pt x="13" y="103"/>
                    </a:cubicBezTo>
                    <a:close/>
                    <a:moveTo>
                      <a:pt x="201" y="12"/>
                    </a:moveTo>
                    <a:cubicBezTo>
                      <a:pt x="203" y="13"/>
                      <a:pt x="205" y="14"/>
                      <a:pt x="207" y="16"/>
                    </a:cubicBezTo>
                    <a:cubicBezTo>
                      <a:pt x="208" y="17"/>
                      <a:pt x="208" y="19"/>
                      <a:pt x="207" y="18"/>
                    </a:cubicBezTo>
                    <a:cubicBezTo>
                      <a:pt x="203" y="15"/>
                      <a:pt x="202" y="13"/>
                      <a:pt x="201" y="12"/>
                    </a:cubicBezTo>
                    <a:close/>
                  </a:path>
                </a:pathLst>
              </a:custGeom>
              <a:solidFill>
                <a:srgbClr val="D9D9D9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6" name="Greece" descr="{&quot;Key&quot;:&quot;greece&quot;,&quot;Name&quot;:&quot;Greece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B394A9A2-13B8-E7EC-4631-B3549D15DB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14660" y="8904033"/>
                <a:ext cx="713831" cy="928647"/>
              </a:xfrm>
              <a:custGeom>
                <a:avLst/>
                <a:gdLst>
                  <a:gd name="T0" fmla="*/ 331 w 427"/>
                  <a:gd name="T1" fmla="*/ 513 h 516"/>
                  <a:gd name="T2" fmla="*/ 272 w 427"/>
                  <a:gd name="T3" fmla="*/ 500 h 516"/>
                  <a:gd name="T4" fmla="*/ 270 w 427"/>
                  <a:gd name="T5" fmla="*/ 481 h 516"/>
                  <a:gd name="T6" fmla="*/ 292 w 427"/>
                  <a:gd name="T7" fmla="*/ 482 h 516"/>
                  <a:gd name="T8" fmla="*/ 342 w 427"/>
                  <a:gd name="T9" fmla="*/ 474 h 516"/>
                  <a:gd name="T10" fmla="*/ 388 w 427"/>
                  <a:gd name="T11" fmla="*/ 470 h 516"/>
                  <a:gd name="T12" fmla="*/ 305 w 427"/>
                  <a:gd name="T13" fmla="*/ 37 h 516"/>
                  <a:gd name="T14" fmla="*/ 323 w 427"/>
                  <a:gd name="T15" fmla="*/ 0 h 516"/>
                  <a:gd name="T16" fmla="*/ 326 w 427"/>
                  <a:gd name="T17" fmla="*/ 0 h 516"/>
                  <a:gd name="T18" fmla="*/ 337 w 427"/>
                  <a:gd name="T19" fmla="*/ 40 h 516"/>
                  <a:gd name="T20" fmla="*/ 328 w 427"/>
                  <a:gd name="T21" fmla="*/ 69 h 516"/>
                  <a:gd name="T22" fmla="*/ 235 w 427"/>
                  <a:gd name="T23" fmla="*/ 81 h 516"/>
                  <a:gd name="T24" fmla="*/ 212 w 427"/>
                  <a:gd name="T25" fmla="*/ 126 h 516"/>
                  <a:gd name="T26" fmla="*/ 223 w 427"/>
                  <a:gd name="T27" fmla="*/ 126 h 516"/>
                  <a:gd name="T28" fmla="*/ 222 w 427"/>
                  <a:gd name="T29" fmla="*/ 145 h 516"/>
                  <a:gd name="T30" fmla="*/ 187 w 427"/>
                  <a:gd name="T31" fmla="*/ 139 h 516"/>
                  <a:gd name="T32" fmla="*/ 157 w 427"/>
                  <a:gd name="T33" fmla="*/ 137 h 516"/>
                  <a:gd name="T34" fmla="*/ 145 w 427"/>
                  <a:gd name="T35" fmla="*/ 141 h 516"/>
                  <a:gd name="T36" fmla="*/ 197 w 427"/>
                  <a:gd name="T37" fmla="*/ 220 h 516"/>
                  <a:gd name="T38" fmla="*/ 171 w 427"/>
                  <a:gd name="T39" fmla="*/ 225 h 516"/>
                  <a:gd name="T40" fmla="*/ 159 w 427"/>
                  <a:gd name="T41" fmla="*/ 254 h 516"/>
                  <a:gd name="T42" fmla="*/ 184 w 427"/>
                  <a:gd name="T43" fmla="*/ 255 h 516"/>
                  <a:gd name="T44" fmla="*/ 219 w 427"/>
                  <a:gd name="T45" fmla="*/ 267 h 516"/>
                  <a:gd name="T46" fmla="*/ 251 w 427"/>
                  <a:gd name="T47" fmla="*/ 298 h 516"/>
                  <a:gd name="T48" fmla="*/ 250 w 427"/>
                  <a:gd name="T49" fmla="*/ 320 h 516"/>
                  <a:gd name="T50" fmla="*/ 216 w 427"/>
                  <a:gd name="T51" fmla="*/ 308 h 516"/>
                  <a:gd name="T52" fmla="*/ 204 w 427"/>
                  <a:gd name="T53" fmla="*/ 328 h 516"/>
                  <a:gd name="T54" fmla="*/ 197 w 427"/>
                  <a:gd name="T55" fmla="*/ 350 h 516"/>
                  <a:gd name="T56" fmla="*/ 196 w 427"/>
                  <a:gd name="T57" fmla="*/ 369 h 516"/>
                  <a:gd name="T58" fmla="*/ 208 w 427"/>
                  <a:gd name="T59" fmla="*/ 401 h 516"/>
                  <a:gd name="T60" fmla="*/ 214 w 427"/>
                  <a:gd name="T61" fmla="*/ 423 h 516"/>
                  <a:gd name="T62" fmla="*/ 180 w 427"/>
                  <a:gd name="T63" fmla="*/ 427 h 516"/>
                  <a:gd name="T64" fmla="*/ 158 w 427"/>
                  <a:gd name="T65" fmla="*/ 399 h 516"/>
                  <a:gd name="T66" fmla="*/ 125 w 427"/>
                  <a:gd name="T67" fmla="*/ 398 h 516"/>
                  <a:gd name="T68" fmla="*/ 97 w 427"/>
                  <a:gd name="T69" fmla="*/ 353 h 516"/>
                  <a:gd name="T70" fmla="*/ 94 w 427"/>
                  <a:gd name="T71" fmla="*/ 310 h 516"/>
                  <a:gd name="T72" fmla="*/ 120 w 427"/>
                  <a:gd name="T73" fmla="*/ 297 h 516"/>
                  <a:gd name="T74" fmla="*/ 191 w 427"/>
                  <a:gd name="T75" fmla="*/ 311 h 516"/>
                  <a:gd name="T76" fmla="*/ 196 w 427"/>
                  <a:gd name="T77" fmla="*/ 293 h 516"/>
                  <a:gd name="T78" fmla="*/ 162 w 427"/>
                  <a:gd name="T79" fmla="*/ 294 h 516"/>
                  <a:gd name="T80" fmla="*/ 102 w 427"/>
                  <a:gd name="T81" fmla="*/ 302 h 516"/>
                  <a:gd name="T82" fmla="*/ 79 w 427"/>
                  <a:gd name="T83" fmla="*/ 304 h 516"/>
                  <a:gd name="T84" fmla="*/ 59 w 427"/>
                  <a:gd name="T85" fmla="*/ 272 h 516"/>
                  <a:gd name="T86" fmla="*/ 17 w 427"/>
                  <a:gd name="T87" fmla="*/ 233 h 516"/>
                  <a:gd name="T88" fmla="*/ 2 w 427"/>
                  <a:gd name="T89" fmla="*/ 213 h 516"/>
                  <a:gd name="T90" fmla="*/ 35 w 427"/>
                  <a:gd name="T91" fmla="*/ 179 h 516"/>
                  <a:gd name="T92" fmla="*/ 89 w 427"/>
                  <a:gd name="T93" fmla="*/ 108 h 516"/>
                  <a:gd name="T94" fmla="*/ 139 w 427"/>
                  <a:gd name="T95" fmla="*/ 83 h 516"/>
                  <a:gd name="T96" fmla="*/ 149 w 427"/>
                  <a:gd name="T97" fmla="*/ 66 h 516"/>
                  <a:gd name="T98" fmla="*/ 167 w 427"/>
                  <a:gd name="T99" fmla="*/ 59 h 516"/>
                  <a:gd name="T100" fmla="*/ 234 w 427"/>
                  <a:gd name="T101" fmla="*/ 34 h 516"/>
                  <a:gd name="T102" fmla="*/ 256 w 427"/>
                  <a:gd name="T103" fmla="*/ 40 h 516"/>
                  <a:gd name="T104" fmla="*/ 75 w 427"/>
                  <a:gd name="T105" fmla="*/ 255 h 516"/>
                  <a:gd name="T106" fmla="*/ 75 w 427"/>
                  <a:gd name="T107" fmla="*/ 255 h 516"/>
                  <a:gd name="T108" fmla="*/ 42 w 427"/>
                  <a:gd name="T109" fmla="*/ 311 h 516"/>
                  <a:gd name="T110" fmla="*/ 54 w 427"/>
                  <a:gd name="T111" fmla="*/ 311 h 516"/>
                  <a:gd name="T112" fmla="*/ 223 w 427"/>
                  <a:gd name="T113" fmla="*/ 268 h 516"/>
                  <a:gd name="T114" fmla="*/ 178 w 427"/>
                  <a:gd name="T115" fmla="*/ 245 h 516"/>
                  <a:gd name="T116" fmla="*/ 218 w 427"/>
                  <a:gd name="T117" fmla="*/ 244 h 516"/>
                  <a:gd name="T118" fmla="*/ 253 w 427"/>
                  <a:gd name="T119" fmla="*/ 247 h 516"/>
                  <a:gd name="T120" fmla="*/ 264 w 427"/>
                  <a:gd name="T121" fmla="*/ 278 h 516"/>
                  <a:gd name="T122" fmla="*/ 259 w 427"/>
                  <a:gd name="T123" fmla="*/ 277 h 5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27" h="516">
                    <a:moveTo>
                      <a:pt x="421" y="465"/>
                    </a:moveTo>
                    <a:cubicBezTo>
                      <a:pt x="415" y="477"/>
                      <a:pt x="427" y="469"/>
                      <a:pt x="420" y="486"/>
                    </a:cubicBezTo>
                    <a:cubicBezTo>
                      <a:pt x="420" y="488"/>
                      <a:pt x="374" y="498"/>
                      <a:pt x="369" y="500"/>
                    </a:cubicBezTo>
                    <a:cubicBezTo>
                      <a:pt x="366" y="501"/>
                      <a:pt x="334" y="516"/>
                      <a:pt x="331" y="513"/>
                    </a:cubicBezTo>
                    <a:cubicBezTo>
                      <a:pt x="321" y="502"/>
                      <a:pt x="339" y="503"/>
                      <a:pt x="307" y="499"/>
                    </a:cubicBezTo>
                    <a:cubicBezTo>
                      <a:pt x="274" y="495"/>
                      <a:pt x="315" y="503"/>
                      <a:pt x="287" y="503"/>
                    </a:cubicBezTo>
                    <a:cubicBezTo>
                      <a:pt x="285" y="503"/>
                      <a:pt x="285" y="500"/>
                      <a:pt x="283" y="500"/>
                    </a:cubicBezTo>
                    <a:cubicBezTo>
                      <a:pt x="279" y="499"/>
                      <a:pt x="275" y="500"/>
                      <a:pt x="272" y="500"/>
                    </a:cubicBezTo>
                    <a:cubicBezTo>
                      <a:pt x="268" y="502"/>
                      <a:pt x="263" y="504"/>
                      <a:pt x="259" y="504"/>
                    </a:cubicBezTo>
                    <a:cubicBezTo>
                      <a:pt x="251" y="504"/>
                      <a:pt x="254" y="494"/>
                      <a:pt x="255" y="490"/>
                    </a:cubicBezTo>
                    <a:cubicBezTo>
                      <a:pt x="255" y="486"/>
                      <a:pt x="253" y="481"/>
                      <a:pt x="255" y="477"/>
                    </a:cubicBezTo>
                    <a:cubicBezTo>
                      <a:pt x="261" y="459"/>
                      <a:pt x="266" y="479"/>
                      <a:pt x="270" y="481"/>
                    </a:cubicBezTo>
                    <a:cubicBezTo>
                      <a:pt x="274" y="482"/>
                      <a:pt x="279" y="480"/>
                      <a:pt x="283" y="478"/>
                    </a:cubicBezTo>
                    <a:cubicBezTo>
                      <a:pt x="286" y="477"/>
                      <a:pt x="287" y="470"/>
                      <a:pt x="290" y="472"/>
                    </a:cubicBezTo>
                    <a:cubicBezTo>
                      <a:pt x="292" y="474"/>
                      <a:pt x="283" y="477"/>
                      <a:pt x="284" y="480"/>
                    </a:cubicBezTo>
                    <a:cubicBezTo>
                      <a:pt x="285" y="482"/>
                      <a:pt x="290" y="481"/>
                      <a:pt x="292" y="482"/>
                    </a:cubicBezTo>
                    <a:cubicBezTo>
                      <a:pt x="295" y="483"/>
                      <a:pt x="298" y="487"/>
                      <a:pt x="301" y="487"/>
                    </a:cubicBezTo>
                    <a:cubicBezTo>
                      <a:pt x="304" y="488"/>
                      <a:pt x="306" y="486"/>
                      <a:pt x="309" y="485"/>
                    </a:cubicBezTo>
                    <a:cubicBezTo>
                      <a:pt x="315" y="483"/>
                      <a:pt x="318" y="478"/>
                      <a:pt x="324" y="477"/>
                    </a:cubicBezTo>
                    <a:cubicBezTo>
                      <a:pt x="330" y="475"/>
                      <a:pt x="336" y="476"/>
                      <a:pt x="342" y="474"/>
                    </a:cubicBezTo>
                    <a:cubicBezTo>
                      <a:pt x="346" y="473"/>
                      <a:pt x="343" y="478"/>
                      <a:pt x="346" y="478"/>
                    </a:cubicBezTo>
                    <a:cubicBezTo>
                      <a:pt x="352" y="480"/>
                      <a:pt x="359" y="475"/>
                      <a:pt x="365" y="476"/>
                    </a:cubicBezTo>
                    <a:cubicBezTo>
                      <a:pt x="367" y="476"/>
                      <a:pt x="368" y="479"/>
                      <a:pt x="370" y="478"/>
                    </a:cubicBezTo>
                    <a:cubicBezTo>
                      <a:pt x="373" y="478"/>
                      <a:pt x="383" y="469"/>
                      <a:pt x="388" y="470"/>
                    </a:cubicBezTo>
                    <a:cubicBezTo>
                      <a:pt x="389" y="471"/>
                      <a:pt x="380" y="483"/>
                      <a:pt x="393" y="487"/>
                    </a:cubicBezTo>
                    <a:cubicBezTo>
                      <a:pt x="396" y="488"/>
                      <a:pt x="396" y="482"/>
                      <a:pt x="398" y="480"/>
                    </a:cubicBezTo>
                    <a:cubicBezTo>
                      <a:pt x="410" y="468"/>
                      <a:pt x="408" y="483"/>
                      <a:pt x="421" y="465"/>
                    </a:cubicBezTo>
                    <a:moveTo>
                      <a:pt x="305" y="37"/>
                    </a:moveTo>
                    <a:cubicBezTo>
                      <a:pt x="305" y="36"/>
                      <a:pt x="305" y="36"/>
                      <a:pt x="305" y="36"/>
                    </a:cubicBezTo>
                    <a:cubicBezTo>
                      <a:pt x="306" y="36"/>
                      <a:pt x="306" y="36"/>
                      <a:pt x="306" y="36"/>
                    </a:cubicBezTo>
                    <a:cubicBezTo>
                      <a:pt x="307" y="36"/>
                      <a:pt x="324" y="30"/>
                      <a:pt x="324" y="30"/>
                    </a:cubicBezTo>
                    <a:cubicBezTo>
                      <a:pt x="337" y="21"/>
                      <a:pt x="301" y="5"/>
                      <a:pt x="323" y="0"/>
                    </a:cubicBezTo>
                    <a:cubicBezTo>
                      <a:pt x="323" y="0"/>
                      <a:pt x="323" y="0"/>
                      <a:pt x="324" y="0"/>
                    </a:cubicBezTo>
                    <a:cubicBezTo>
                      <a:pt x="325" y="0"/>
                      <a:pt x="325" y="0"/>
                      <a:pt x="325" y="0"/>
                    </a:cubicBezTo>
                    <a:cubicBezTo>
                      <a:pt x="326" y="0"/>
                      <a:pt x="326" y="0"/>
                      <a:pt x="326" y="0"/>
                    </a:cubicBezTo>
                    <a:cubicBezTo>
                      <a:pt x="326" y="0"/>
                      <a:pt x="326" y="0"/>
                      <a:pt x="326" y="0"/>
                    </a:cubicBezTo>
                    <a:cubicBezTo>
                      <a:pt x="328" y="0"/>
                      <a:pt x="329" y="0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43" y="4"/>
                      <a:pt x="360" y="16"/>
                      <a:pt x="351" y="26"/>
                    </a:cubicBezTo>
                    <a:cubicBezTo>
                      <a:pt x="345" y="33"/>
                      <a:pt x="339" y="29"/>
                      <a:pt x="337" y="40"/>
                    </a:cubicBezTo>
                    <a:cubicBezTo>
                      <a:pt x="341" y="57"/>
                      <a:pt x="341" y="57"/>
                      <a:pt x="341" y="57"/>
                    </a:cubicBezTo>
                    <a:cubicBezTo>
                      <a:pt x="341" y="61"/>
                      <a:pt x="333" y="74"/>
                      <a:pt x="329" y="76"/>
                    </a:cubicBezTo>
                    <a:cubicBezTo>
                      <a:pt x="328" y="82"/>
                      <a:pt x="328" y="82"/>
                      <a:pt x="328" y="82"/>
                    </a:cubicBezTo>
                    <a:cubicBezTo>
                      <a:pt x="318" y="77"/>
                      <a:pt x="337" y="77"/>
                      <a:pt x="328" y="69"/>
                    </a:cubicBezTo>
                    <a:cubicBezTo>
                      <a:pt x="323" y="65"/>
                      <a:pt x="305" y="73"/>
                      <a:pt x="299" y="73"/>
                    </a:cubicBezTo>
                    <a:cubicBezTo>
                      <a:pt x="281" y="72"/>
                      <a:pt x="279" y="60"/>
                      <a:pt x="267" y="74"/>
                    </a:cubicBezTo>
                    <a:cubicBezTo>
                      <a:pt x="264" y="78"/>
                      <a:pt x="261" y="81"/>
                      <a:pt x="258" y="83"/>
                    </a:cubicBezTo>
                    <a:cubicBezTo>
                      <a:pt x="242" y="91"/>
                      <a:pt x="251" y="72"/>
                      <a:pt x="235" y="81"/>
                    </a:cubicBezTo>
                    <a:cubicBezTo>
                      <a:pt x="229" y="85"/>
                      <a:pt x="233" y="95"/>
                      <a:pt x="221" y="100"/>
                    </a:cubicBezTo>
                    <a:cubicBezTo>
                      <a:pt x="210" y="105"/>
                      <a:pt x="209" y="91"/>
                      <a:pt x="199" y="104"/>
                    </a:cubicBezTo>
                    <a:cubicBezTo>
                      <a:pt x="195" y="109"/>
                      <a:pt x="201" y="109"/>
                      <a:pt x="203" y="110"/>
                    </a:cubicBezTo>
                    <a:cubicBezTo>
                      <a:pt x="208" y="113"/>
                      <a:pt x="208" y="121"/>
                      <a:pt x="212" y="126"/>
                    </a:cubicBezTo>
                    <a:cubicBezTo>
                      <a:pt x="213" y="127"/>
                      <a:pt x="216" y="126"/>
                      <a:pt x="218" y="126"/>
                    </a:cubicBezTo>
                    <a:cubicBezTo>
                      <a:pt x="218" y="126"/>
                      <a:pt x="219" y="125"/>
                      <a:pt x="219" y="124"/>
                    </a:cubicBezTo>
                    <a:cubicBezTo>
                      <a:pt x="219" y="123"/>
                      <a:pt x="217" y="121"/>
                      <a:pt x="219" y="121"/>
                    </a:cubicBezTo>
                    <a:cubicBezTo>
                      <a:pt x="221" y="120"/>
                      <a:pt x="221" y="125"/>
                      <a:pt x="223" y="126"/>
                    </a:cubicBezTo>
                    <a:cubicBezTo>
                      <a:pt x="230" y="128"/>
                      <a:pt x="243" y="130"/>
                      <a:pt x="245" y="138"/>
                    </a:cubicBezTo>
                    <a:cubicBezTo>
                      <a:pt x="249" y="155"/>
                      <a:pt x="230" y="131"/>
                      <a:pt x="230" y="131"/>
                    </a:cubicBezTo>
                    <a:cubicBezTo>
                      <a:pt x="224" y="128"/>
                      <a:pt x="206" y="125"/>
                      <a:pt x="204" y="136"/>
                    </a:cubicBezTo>
                    <a:cubicBezTo>
                      <a:pt x="202" y="143"/>
                      <a:pt x="217" y="141"/>
                      <a:pt x="222" y="145"/>
                    </a:cubicBezTo>
                    <a:cubicBezTo>
                      <a:pt x="225" y="149"/>
                      <a:pt x="225" y="160"/>
                      <a:pt x="221" y="158"/>
                    </a:cubicBezTo>
                    <a:cubicBezTo>
                      <a:pt x="212" y="155"/>
                      <a:pt x="211" y="145"/>
                      <a:pt x="202" y="140"/>
                    </a:cubicBezTo>
                    <a:cubicBezTo>
                      <a:pt x="200" y="139"/>
                      <a:pt x="197" y="141"/>
                      <a:pt x="195" y="140"/>
                    </a:cubicBezTo>
                    <a:cubicBezTo>
                      <a:pt x="192" y="140"/>
                      <a:pt x="189" y="137"/>
                      <a:pt x="187" y="139"/>
                    </a:cubicBezTo>
                    <a:cubicBezTo>
                      <a:pt x="174" y="154"/>
                      <a:pt x="212" y="158"/>
                      <a:pt x="209" y="163"/>
                    </a:cubicBezTo>
                    <a:cubicBezTo>
                      <a:pt x="208" y="164"/>
                      <a:pt x="193" y="164"/>
                      <a:pt x="189" y="163"/>
                    </a:cubicBezTo>
                    <a:cubicBezTo>
                      <a:pt x="187" y="162"/>
                      <a:pt x="183" y="144"/>
                      <a:pt x="183" y="144"/>
                    </a:cubicBezTo>
                    <a:cubicBezTo>
                      <a:pt x="179" y="138"/>
                      <a:pt x="163" y="142"/>
                      <a:pt x="157" y="137"/>
                    </a:cubicBezTo>
                    <a:cubicBezTo>
                      <a:pt x="145" y="128"/>
                      <a:pt x="157" y="130"/>
                      <a:pt x="157" y="119"/>
                    </a:cubicBezTo>
                    <a:cubicBezTo>
                      <a:pt x="157" y="116"/>
                      <a:pt x="150" y="123"/>
                      <a:pt x="147" y="125"/>
                    </a:cubicBezTo>
                    <a:cubicBezTo>
                      <a:pt x="144" y="128"/>
                      <a:pt x="140" y="130"/>
                      <a:pt x="139" y="134"/>
                    </a:cubicBezTo>
                    <a:cubicBezTo>
                      <a:pt x="139" y="137"/>
                      <a:pt x="144" y="138"/>
                      <a:pt x="145" y="141"/>
                    </a:cubicBezTo>
                    <a:cubicBezTo>
                      <a:pt x="141" y="158"/>
                      <a:pt x="141" y="158"/>
                      <a:pt x="141" y="158"/>
                    </a:cubicBezTo>
                    <a:cubicBezTo>
                      <a:pt x="143" y="168"/>
                      <a:pt x="156" y="173"/>
                      <a:pt x="162" y="180"/>
                    </a:cubicBezTo>
                    <a:cubicBezTo>
                      <a:pt x="169" y="195"/>
                      <a:pt x="169" y="195"/>
                      <a:pt x="169" y="195"/>
                    </a:cubicBezTo>
                    <a:cubicBezTo>
                      <a:pt x="173" y="199"/>
                      <a:pt x="202" y="213"/>
                      <a:pt x="197" y="220"/>
                    </a:cubicBezTo>
                    <a:cubicBezTo>
                      <a:pt x="196" y="222"/>
                      <a:pt x="174" y="210"/>
                      <a:pt x="173" y="211"/>
                    </a:cubicBezTo>
                    <a:cubicBezTo>
                      <a:pt x="171" y="211"/>
                      <a:pt x="173" y="214"/>
                      <a:pt x="173" y="216"/>
                    </a:cubicBezTo>
                    <a:cubicBezTo>
                      <a:pt x="171" y="220"/>
                      <a:pt x="165" y="228"/>
                      <a:pt x="169" y="228"/>
                    </a:cubicBezTo>
                    <a:cubicBezTo>
                      <a:pt x="170" y="227"/>
                      <a:pt x="170" y="224"/>
                      <a:pt x="171" y="225"/>
                    </a:cubicBezTo>
                    <a:cubicBezTo>
                      <a:pt x="173" y="225"/>
                      <a:pt x="172" y="228"/>
                      <a:pt x="174" y="229"/>
                    </a:cubicBezTo>
                    <a:cubicBezTo>
                      <a:pt x="178" y="232"/>
                      <a:pt x="190" y="232"/>
                      <a:pt x="180" y="241"/>
                    </a:cubicBezTo>
                    <a:cubicBezTo>
                      <a:pt x="173" y="248"/>
                      <a:pt x="165" y="248"/>
                      <a:pt x="154" y="253"/>
                    </a:cubicBezTo>
                    <a:cubicBezTo>
                      <a:pt x="152" y="253"/>
                      <a:pt x="157" y="255"/>
                      <a:pt x="159" y="254"/>
                    </a:cubicBezTo>
                    <a:cubicBezTo>
                      <a:pt x="161" y="254"/>
                      <a:pt x="162" y="251"/>
                      <a:pt x="164" y="251"/>
                    </a:cubicBezTo>
                    <a:cubicBezTo>
                      <a:pt x="166" y="251"/>
                      <a:pt x="166" y="254"/>
                      <a:pt x="168" y="255"/>
                    </a:cubicBezTo>
                    <a:cubicBezTo>
                      <a:pt x="169" y="256"/>
                      <a:pt x="170" y="255"/>
                      <a:pt x="171" y="254"/>
                    </a:cubicBezTo>
                    <a:cubicBezTo>
                      <a:pt x="176" y="254"/>
                      <a:pt x="180" y="253"/>
                      <a:pt x="184" y="255"/>
                    </a:cubicBezTo>
                    <a:cubicBezTo>
                      <a:pt x="188" y="256"/>
                      <a:pt x="187" y="262"/>
                      <a:pt x="191" y="262"/>
                    </a:cubicBezTo>
                    <a:cubicBezTo>
                      <a:pt x="195" y="263"/>
                      <a:pt x="199" y="257"/>
                      <a:pt x="202" y="259"/>
                    </a:cubicBezTo>
                    <a:cubicBezTo>
                      <a:pt x="205" y="261"/>
                      <a:pt x="201" y="268"/>
                      <a:pt x="205" y="270"/>
                    </a:cubicBezTo>
                    <a:cubicBezTo>
                      <a:pt x="209" y="272"/>
                      <a:pt x="215" y="265"/>
                      <a:pt x="219" y="267"/>
                    </a:cubicBezTo>
                    <a:cubicBezTo>
                      <a:pt x="221" y="268"/>
                      <a:pt x="219" y="278"/>
                      <a:pt x="228" y="278"/>
                    </a:cubicBezTo>
                    <a:cubicBezTo>
                      <a:pt x="239" y="279"/>
                      <a:pt x="243" y="275"/>
                      <a:pt x="251" y="284"/>
                    </a:cubicBezTo>
                    <a:cubicBezTo>
                      <a:pt x="257" y="291"/>
                      <a:pt x="247" y="288"/>
                      <a:pt x="247" y="292"/>
                    </a:cubicBezTo>
                    <a:cubicBezTo>
                      <a:pt x="247" y="295"/>
                      <a:pt x="251" y="296"/>
                      <a:pt x="251" y="298"/>
                    </a:cubicBezTo>
                    <a:cubicBezTo>
                      <a:pt x="252" y="301"/>
                      <a:pt x="251" y="305"/>
                      <a:pt x="252" y="307"/>
                    </a:cubicBezTo>
                    <a:cubicBezTo>
                      <a:pt x="255" y="312"/>
                      <a:pt x="262" y="314"/>
                      <a:pt x="256" y="324"/>
                    </a:cubicBezTo>
                    <a:cubicBezTo>
                      <a:pt x="255" y="326"/>
                      <a:pt x="252" y="325"/>
                      <a:pt x="251" y="324"/>
                    </a:cubicBezTo>
                    <a:cubicBezTo>
                      <a:pt x="249" y="323"/>
                      <a:pt x="251" y="321"/>
                      <a:pt x="250" y="320"/>
                    </a:cubicBezTo>
                    <a:cubicBezTo>
                      <a:pt x="249" y="319"/>
                      <a:pt x="243" y="314"/>
                      <a:pt x="242" y="314"/>
                    </a:cubicBezTo>
                    <a:cubicBezTo>
                      <a:pt x="241" y="314"/>
                      <a:pt x="240" y="317"/>
                      <a:pt x="239" y="316"/>
                    </a:cubicBezTo>
                    <a:cubicBezTo>
                      <a:pt x="235" y="313"/>
                      <a:pt x="229" y="302"/>
                      <a:pt x="223" y="300"/>
                    </a:cubicBezTo>
                    <a:cubicBezTo>
                      <a:pt x="216" y="298"/>
                      <a:pt x="220" y="306"/>
                      <a:pt x="216" y="308"/>
                    </a:cubicBezTo>
                    <a:cubicBezTo>
                      <a:pt x="209" y="310"/>
                      <a:pt x="190" y="315"/>
                      <a:pt x="192" y="318"/>
                    </a:cubicBezTo>
                    <a:cubicBezTo>
                      <a:pt x="193" y="322"/>
                      <a:pt x="200" y="321"/>
                      <a:pt x="204" y="322"/>
                    </a:cubicBezTo>
                    <a:cubicBezTo>
                      <a:pt x="206" y="323"/>
                      <a:pt x="201" y="324"/>
                      <a:pt x="201" y="326"/>
                    </a:cubicBezTo>
                    <a:cubicBezTo>
                      <a:pt x="201" y="327"/>
                      <a:pt x="204" y="327"/>
                      <a:pt x="204" y="328"/>
                    </a:cubicBezTo>
                    <a:cubicBezTo>
                      <a:pt x="205" y="331"/>
                      <a:pt x="204" y="334"/>
                      <a:pt x="205" y="336"/>
                    </a:cubicBezTo>
                    <a:cubicBezTo>
                      <a:pt x="212" y="342"/>
                      <a:pt x="222" y="339"/>
                      <a:pt x="228" y="345"/>
                    </a:cubicBezTo>
                    <a:cubicBezTo>
                      <a:pt x="231" y="349"/>
                      <a:pt x="219" y="351"/>
                      <a:pt x="214" y="351"/>
                    </a:cubicBezTo>
                    <a:cubicBezTo>
                      <a:pt x="206" y="351"/>
                      <a:pt x="200" y="351"/>
                      <a:pt x="197" y="350"/>
                    </a:cubicBezTo>
                    <a:cubicBezTo>
                      <a:pt x="196" y="349"/>
                      <a:pt x="197" y="347"/>
                      <a:pt x="196" y="345"/>
                    </a:cubicBezTo>
                    <a:cubicBezTo>
                      <a:pt x="195" y="344"/>
                      <a:pt x="193" y="344"/>
                      <a:pt x="193" y="344"/>
                    </a:cubicBezTo>
                    <a:cubicBezTo>
                      <a:pt x="188" y="344"/>
                      <a:pt x="182" y="341"/>
                      <a:pt x="179" y="344"/>
                    </a:cubicBezTo>
                    <a:cubicBezTo>
                      <a:pt x="175" y="351"/>
                      <a:pt x="193" y="365"/>
                      <a:pt x="196" y="369"/>
                    </a:cubicBezTo>
                    <a:cubicBezTo>
                      <a:pt x="196" y="371"/>
                      <a:pt x="195" y="373"/>
                      <a:pt x="195" y="375"/>
                    </a:cubicBezTo>
                    <a:cubicBezTo>
                      <a:pt x="196" y="377"/>
                      <a:pt x="200" y="375"/>
                      <a:pt x="201" y="377"/>
                    </a:cubicBezTo>
                    <a:cubicBezTo>
                      <a:pt x="203" y="381"/>
                      <a:pt x="210" y="393"/>
                      <a:pt x="212" y="398"/>
                    </a:cubicBezTo>
                    <a:cubicBezTo>
                      <a:pt x="214" y="403"/>
                      <a:pt x="208" y="400"/>
                      <a:pt x="208" y="401"/>
                    </a:cubicBezTo>
                    <a:cubicBezTo>
                      <a:pt x="208" y="403"/>
                      <a:pt x="210" y="404"/>
                      <a:pt x="210" y="405"/>
                    </a:cubicBezTo>
                    <a:cubicBezTo>
                      <a:pt x="210" y="406"/>
                      <a:pt x="208" y="408"/>
                      <a:pt x="209" y="409"/>
                    </a:cubicBezTo>
                    <a:cubicBezTo>
                      <a:pt x="209" y="410"/>
                      <a:pt x="222" y="417"/>
                      <a:pt x="221" y="422"/>
                    </a:cubicBezTo>
                    <a:cubicBezTo>
                      <a:pt x="220" y="424"/>
                      <a:pt x="216" y="424"/>
                      <a:pt x="214" y="423"/>
                    </a:cubicBezTo>
                    <a:cubicBezTo>
                      <a:pt x="212" y="422"/>
                      <a:pt x="213" y="418"/>
                      <a:pt x="211" y="417"/>
                    </a:cubicBezTo>
                    <a:cubicBezTo>
                      <a:pt x="210" y="416"/>
                      <a:pt x="208" y="419"/>
                      <a:pt x="206" y="418"/>
                    </a:cubicBezTo>
                    <a:cubicBezTo>
                      <a:pt x="196" y="411"/>
                      <a:pt x="192" y="388"/>
                      <a:pt x="178" y="408"/>
                    </a:cubicBezTo>
                    <a:cubicBezTo>
                      <a:pt x="178" y="409"/>
                      <a:pt x="179" y="421"/>
                      <a:pt x="180" y="427"/>
                    </a:cubicBezTo>
                    <a:cubicBezTo>
                      <a:pt x="180" y="429"/>
                      <a:pt x="180" y="433"/>
                      <a:pt x="179" y="433"/>
                    </a:cubicBezTo>
                    <a:cubicBezTo>
                      <a:pt x="165" y="431"/>
                      <a:pt x="174" y="417"/>
                      <a:pt x="169" y="411"/>
                    </a:cubicBezTo>
                    <a:cubicBezTo>
                      <a:pt x="169" y="410"/>
                      <a:pt x="167" y="411"/>
                      <a:pt x="166" y="410"/>
                    </a:cubicBezTo>
                    <a:cubicBezTo>
                      <a:pt x="163" y="407"/>
                      <a:pt x="161" y="403"/>
                      <a:pt x="158" y="399"/>
                    </a:cubicBezTo>
                    <a:cubicBezTo>
                      <a:pt x="157" y="396"/>
                      <a:pt x="156" y="391"/>
                      <a:pt x="152" y="390"/>
                    </a:cubicBezTo>
                    <a:cubicBezTo>
                      <a:pt x="125" y="384"/>
                      <a:pt x="149" y="410"/>
                      <a:pt x="140" y="414"/>
                    </a:cubicBezTo>
                    <a:cubicBezTo>
                      <a:pt x="123" y="422"/>
                      <a:pt x="128" y="403"/>
                      <a:pt x="127" y="399"/>
                    </a:cubicBezTo>
                    <a:cubicBezTo>
                      <a:pt x="127" y="398"/>
                      <a:pt x="126" y="398"/>
                      <a:pt x="125" y="398"/>
                    </a:cubicBezTo>
                    <a:cubicBezTo>
                      <a:pt x="120" y="399"/>
                      <a:pt x="117" y="392"/>
                      <a:pt x="116" y="386"/>
                    </a:cubicBezTo>
                    <a:cubicBezTo>
                      <a:pt x="115" y="377"/>
                      <a:pt x="122" y="387"/>
                      <a:pt x="123" y="374"/>
                    </a:cubicBezTo>
                    <a:cubicBezTo>
                      <a:pt x="123" y="365"/>
                      <a:pt x="109" y="353"/>
                      <a:pt x="101" y="351"/>
                    </a:cubicBezTo>
                    <a:cubicBezTo>
                      <a:pt x="100" y="351"/>
                      <a:pt x="98" y="354"/>
                      <a:pt x="97" y="353"/>
                    </a:cubicBezTo>
                    <a:cubicBezTo>
                      <a:pt x="94" y="350"/>
                      <a:pt x="97" y="345"/>
                      <a:pt x="94" y="342"/>
                    </a:cubicBezTo>
                    <a:cubicBezTo>
                      <a:pt x="90" y="339"/>
                      <a:pt x="75" y="343"/>
                      <a:pt x="83" y="332"/>
                    </a:cubicBezTo>
                    <a:cubicBezTo>
                      <a:pt x="84" y="332"/>
                      <a:pt x="86" y="333"/>
                      <a:pt x="86" y="332"/>
                    </a:cubicBezTo>
                    <a:cubicBezTo>
                      <a:pt x="96" y="326"/>
                      <a:pt x="91" y="321"/>
                      <a:pt x="94" y="310"/>
                    </a:cubicBezTo>
                    <a:cubicBezTo>
                      <a:pt x="94" y="309"/>
                      <a:pt x="95" y="312"/>
                      <a:pt x="96" y="312"/>
                    </a:cubicBezTo>
                    <a:cubicBezTo>
                      <a:pt x="97" y="312"/>
                      <a:pt x="95" y="310"/>
                      <a:pt x="96" y="310"/>
                    </a:cubicBezTo>
                    <a:cubicBezTo>
                      <a:pt x="101" y="310"/>
                      <a:pt x="107" y="315"/>
                      <a:pt x="111" y="311"/>
                    </a:cubicBezTo>
                    <a:cubicBezTo>
                      <a:pt x="118" y="305"/>
                      <a:pt x="109" y="304"/>
                      <a:pt x="120" y="297"/>
                    </a:cubicBezTo>
                    <a:cubicBezTo>
                      <a:pt x="128" y="292"/>
                      <a:pt x="134" y="300"/>
                      <a:pt x="140" y="302"/>
                    </a:cubicBezTo>
                    <a:cubicBezTo>
                      <a:pt x="149" y="306"/>
                      <a:pt x="160" y="305"/>
                      <a:pt x="170" y="308"/>
                    </a:cubicBezTo>
                    <a:cubicBezTo>
                      <a:pt x="175" y="309"/>
                      <a:pt x="179" y="315"/>
                      <a:pt x="184" y="316"/>
                    </a:cubicBezTo>
                    <a:cubicBezTo>
                      <a:pt x="187" y="317"/>
                      <a:pt x="191" y="314"/>
                      <a:pt x="191" y="311"/>
                    </a:cubicBezTo>
                    <a:cubicBezTo>
                      <a:pt x="189" y="309"/>
                      <a:pt x="183" y="311"/>
                      <a:pt x="182" y="309"/>
                    </a:cubicBezTo>
                    <a:cubicBezTo>
                      <a:pt x="176" y="296"/>
                      <a:pt x="196" y="315"/>
                      <a:pt x="203" y="296"/>
                    </a:cubicBezTo>
                    <a:cubicBezTo>
                      <a:pt x="204" y="295"/>
                      <a:pt x="199" y="297"/>
                      <a:pt x="197" y="296"/>
                    </a:cubicBezTo>
                    <a:cubicBezTo>
                      <a:pt x="196" y="296"/>
                      <a:pt x="197" y="293"/>
                      <a:pt x="196" y="293"/>
                    </a:cubicBezTo>
                    <a:cubicBezTo>
                      <a:pt x="195" y="293"/>
                      <a:pt x="194" y="300"/>
                      <a:pt x="191" y="296"/>
                    </a:cubicBezTo>
                    <a:cubicBezTo>
                      <a:pt x="187" y="291"/>
                      <a:pt x="183" y="298"/>
                      <a:pt x="176" y="295"/>
                    </a:cubicBezTo>
                    <a:cubicBezTo>
                      <a:pt x="172" y="293"/>
                      <a:pt x="171" y="286"/>
                      <a:pt x="166" y="285"/>
                    </a:cubicBezTo>
                    <a:cubicBezTo>
                      <a:pt x="163" y="285"/>
                      <a:pt x="165" y="294"/>
                      <a:pt x="162" y="294"/>
                    </a:cubicBezTo>
                    <a:cubicBezTo>
                      <a:pt x="152" y="293"/>
                      <a:pt x="158" y="270"/>
                      <a:pt x="151" y="283"/>
                    </a:cubicBezTo>
                    <a:cubicBezTo>
                      <a:pt x="150" y="285"/>
                      <a:pt x="154" y="290"/>
                      <a:pt x="152" y="292"/>
                    </a:cubicBezTo>
                    <a:cubicBezTo>
                      <a:pt x="148" y="296"/>
                      <a:pt x="130" y="288"/>
                      <a:pt x="126" y="290"/>
                    </a:cubicBezTo>
                    <a:cubicBezTo>
                      <a:pt x="118" y="293"/>
                      <a:pt x="113" y="300"/>
                      <a:pt x="102" y="302"/>
                    </a:cubicBezTo>
                    <a:cubicBezTo>
                      <a:pt x="96" y="304"/>
                      <a:pt x="94" y="295"/>
                      <a:pt x="90" y="293"/>
                    </a:cubicBezTo>
                    <a:cubicBezTo>
                      <a:pt x="89" y="292"/>
                      <a:pt x="91" y="297"/>
                      <a:pt x="90" y="298"/>
                    </a:cubicBezTo>
                    <a:cubicBezTo>
                      <a:pt x="88" y="301"/>
                      <a:pt x="84" y="304"/>
                      <a:pt x="80" y="306"/>
                    </a:cubicBezTo>
                    <a:cubicBezTo>
                      <a:pt x="79" y="306"/>
                      <a:pt x="80" y="304"/>
                      <a:pt x="79" y="304"/>
                    </a:cubicBezTo>
                    <a:cubicBezTo>
                      <a:pt x="73" y="301"/>
                      <a:pt x="79" y="296"/>
                      <a:pt x="75" y="289"/>
                    </a:cubicBezTo>
                    <a:cubicBezTo>
                      <a:pt x="73" y="286"/>
                      <a:pt x="70" y="283"/>
                      <a:pt x="67" y="280"/>
                    </a:cubicBezTo>
                    <a:cubicBezTo>
                      <a:pt x="66" y="280"/>
                      <a:pt x="64" y="282"/>
                      <a:pt x="63" y="281"/>
                    </a:cubicBezTo>
                    <a:cubicBezTo>
                      <a:pt x="60" y="279"/>
                      <a:pt x="62" y="274"/>
                      <a:pt x="59" y="272"/>
                    </a:cubicBezTo>
                    <a:cubicBezTo>
                      <a:pt x="53" y="268"/>
                      <a:pt x="43" y="283"/>
                      <a:pt x="51" y="262"/>
                    </a:cubicBezTo>
                    <a:cubicBezTo>
                      <a:pt x="50" y="262"/>
                      <a:pt x="49" y="261"/>
                      <a:pt x="47" y="260"/>
                    </a:cubicBezTo>
                    <a:cubicBezTo>
                      <a:pt x="46" y="258"/>
                      <a:pt x="47" y="255"/>
                      <a:pt x="46" y="254"/>
                    </a:cubicBezTo>
                    <a:cubicBezTo>
                      <a:pt x="40" y="246"/>
                      <a:pt x="24" y="239"/>
                      <a:pt x="17" y="233"/>
                    </a:cubicBezTo>
                    <a:cubicBezTo>
                      <a:pt x="15" y="232"/>
                      <a:pt x="18" y="226"/>
                      <a:pt x="16" y="224"/>
                    </a:cubicBezTo>
                    <a:cubicBezTo>
                      <a:pt x="15" y="223"/>
                      <a:pt x="6" y="229"/>
                      <a:pt x="0" y="215"/>
                    </a:cubicBezTo>
                    <a:cubicBezTo>
                      <a:pt x="1" y="215"/>
                      <a:pt x="1" y="215"/>
                      <a:pt x="2" y="214"/>
                    </a:cubicBezTo>
                    <a:cubicBezTo>
                      <a:pt x="2" y="214"/>
                      <a:pt x="1" y="213"/>
                      <a:pt x="2" y="213"/>
                    </a:cubicBezTo>
                    <a:cubicBezTo>
                      <a:pt x="11" y="211"/>
                      <a:pt x="17" y="219"/>
                      <a:pt x="17" y="205"/>
                    </a:cubicBezTo>
                    <a:cubicBezTo>
                      <a:pt x="17" y="201"/>
                      <a:pt x="25" y="206"/>
                      <a:pt x="23" y="201"/>
                    </a:cubicBezTo>
                    <a:cubicBezTo>
                      <a:pt x="16" y="190"/>
                      <a:pt x="16" y="190"/>
                      <a:pt x="16" y="190"/>
                    </a:cubicBezTo>
                    <a:cubicBezTo>
                      <a:pt x="16" y="186"/>
                      <a:pt x="34" y="180"/>
                      <a:pt x="35" y="179"/>
                    </a:cubicBezTo>
                    <a:cubicBezTo>
                      <a:pt x="35" y="178"/>
                      <a:pt x="38" y="155"/>
                      <a:pt x="38" y="155"/>
                    </a:cubicBezTo>
                    <a:cubicBezTo>
                      <a:pt x="42" y="140"/>
                      <a:pt x="46" y="159"/>
                      <a:pt x="51" y="137"/>
                    </a:cubicBezTo>
                    <a:cubicBezTo>
                      <a:pt x="53" y="130"/>
                      <a:pt x="45" y="128"/>
                      <a:pt x="45" y="121"/>
                    </a:cubicBezTo>
                    <a:cubicBezTo>
                      <a:pt x="49" y="121"/>
                      <a:pt x="87" y="109"/>
                      <a:pt x="89" y="108"/>
                    </a:cubicBezTo>
                    <a:cubicBezTo>
                      <a:pt x="96" y="101"/>
                      <a:pt x="91" y="92"/>
                      <a:pt x="102" y="88"/>
                    </a:cubicBezTo>
                    <a:cubicBezTo>
                      <a:pt x="106" y="86"/>
                      <a:pt x="128" y="89"/>
                      <a:pt x="132" y="87"/>
                    </a:cubicBezTo>
                    <a:cubicBezTo>
                      <a:pt x="133" y="86"/>
                      <a:pt x="133" y="82"/>
                      <a:pt x="135" y="81"/>
                    </a:cubicBezTo>
                    <a:cubicBezTo>
                      <a:pt x="136" y="81"/>
                      <a:pt x="137" y="84"/>
                      <a:pt x="139" y="83"/>
                    </a:cubicBezTo>
                    <a:cubicBezTo>
                      <a:pt x="145" y="78"/>
                      <a:pt x="130" y="69"/>
                      <a:pt x="148" y="66"/>
                    </a:cubicBezTo>
                    <a:cubicBezTo>
                      <a:pt x="148" y="66"/>
                      <a:pt x="148" y="68"/>
                      <a:pt x="148" y="68"/>
                    </a:cubicBezTo>
                    <a:cubicBezTo>
                      <a:pt x="149" y="66"/>
                      <a:pt x="149" y="63"/>
                      <a:pt x="149" y="59"/>
                    </a:cubicBezTo>
                    <a:cubicBezTo>
                      <a:pt x="149" y="61"/>
                      <a:pt x="149" y="64"/>
                      <a:pt x="149" y="66"/>
                    </a:cubicBezTo>
                    <a:cubicBezTo>
                      <a:pt x="148" y="66"/>
                      <a:pt x="148" y="66"/>
                      <a:pt x="148" y="66"/>
                    </a:cubicBezTo>
                    <a:cubicBezTo>
                      <a:pt x="150" y="66"/>
                      <a:pt x="153" y="66"/>
                      <a:pt x="156" y="66"/>
                    </a:cubicBezTo>
                    <a:cubicBezTo>
                      <a:pt x="158" y="66"/>
                      <a:pt x="161" y="68"/>
                      <a:pt x="162" y="66"/>
                    </a:cubicBezTo>
                    <a:cubicBezTo>
                      <a:pt x="165" y="65"/>
                      <a:pt x="165" y="60"/>
                      <a:pt x="167" y="59"/>
                    </a:cubicBezTo>
                    <a:cubicBezTo>
                      <a:pt x="173" y="55"/>
                      <a:pt x="182" y="57"/>
                      <a:pt x="188" y="55"/>
                    </a:cubicBezTo>
                    <a:cubicBezTo>
                      <a:pt x="204" y="50"/>
                      <a:pt x="208" y="43"/>
                      <a:pt x="218" y="37"/>
                    </a:cubicBezTo>
                    <a:cubicBezTo>
                      <a:pt x="220" y="35"/>
                      <a:pt x="223" y="40"/>
                      <a:pt x="225" y="39"/>
                    </a:cubicBezTo>
                    <a:cubicBezTo>
                      <a:pt x="229" y="38"/>
                      <a:pt x="230" y="33"/>
                      <a:pt x="234" y="34"/>
                    </a:cubicBezTo>
                    <a:cubicBezTo>
                      <a:pt x="238" y="34"/>
                      <a:pt x="239" y="40"/>
                      <a:pt x="243" y="43"/>
                    </a:cubicBezTo>
                    <a:cubicBezTo>
                      <a:pt x="244" y="44"/>
                      <a:pt x="245" y="42"/>
                      <a:pt x="247" y="42"/>
                    </a:cubicBezTo>
                    <a:cubicBezTo>
                      <a:pt x="248" y="43"/>
                      <a:pt x="249" y="47"/>
                      <a:pt x="251" y="46"/>
                    </a:cubicBezTo>
                    <a:cubicBezTo>
                      <a:pt x="253" y="46"/>
                      <a:pt x="253" y="41"/>
                      <a:pt x="256" y="40"/>
                    </a:cubicBezTo>
                    <a:cubicBezTo>
                      <a:pt x="262" y="39"/>
                      <a:pt x="269" y="42"/>
                      <a:pt x="275" y="45"/>
                    </a:cubicBezTo>
                    <a:cubicBezTo>
                      <a:pt x="276" y="46"/>
                      <a:pt x="275" y="48"/>
                      <a:pt x="277" y="48"/>
                    </a:cubicBezTo>
                    <a:cubicBezTo>
                      <a:pt x="285" y="49"/>
                      <a:pt x="297" y="39"/>
                      <a:pt x="305" y="37"/>
                    </a:cubicBezTo>
                    <a:close/>
                    <a:moveTo>
                      <a:pt x="75" y="255"/>
                    </a:moveTo>
                    <a:cubicBezTo>
                      <a:pt x="81" y="243"/>
                      <a:pt x="64" y="257"/>
                      <a:pt x="64" y="256"/>
                    </a:cubicBezTo>
                    <a:cubicBezTo>
                      <a:pt x="60" y="254"/>
                      <a:pt x="57" y="247"/>
                      <a:pt x="53" y="249"/>
                    </a:cubicBezTo>
                    <a:cubicBezTo>
                      <a:pt x="52" y="249"/>
                      <a:pt x="56" y="258"/>
                      <a:pt x="55" y="261"/>
                    </a:cubicBezTo>
                    <a:cubicBezTo>
                      <a:pt x="61" y="261"/>
                      <a:pt x="71" y="261"/>
                      <a:pt x="75" y="255"/>
                    </a:cubicBezTo>
                    <a:close/>
                    <a:moveTo>
                      <a:pt x="65" y="323"/>
                    </a:moveTo>
                    <a:cubicBezTo>
                      <a:pt x="60" y="327"/>
                      <a:pt x="59" y="321"/>
                      <a:pt x="55" y="321"/>
                    </a:cubicBezTo>
                    <a:cubicBezTo>
                      <a:pt x="53" y="321"/>
                      <a:pt x="50" y="323"/>
                      <a:pt x="48" y="323"/>
                    </a:cubicBezTo>
                    <a:cubicBezTo>
                      <a:pt x="44" y="322"/>
                      <a:pt x="46" y="309"/>
                      <a:pt x="42" y="311"/>
                    </a:cubicBezTo>
                    <a:cubicBezTo>
                      <a:pt x="41" y="313"/>
                      <a:pt x="43" y="317"/>
                      <a:pt x="42" y="319"/>
                    </a:cubicBezTo>
                    <a:cubicBezTo>
                      <a:pt x="38" y="328"/>
                      <a:pt x="35" y="312"/>
                      <a:pt x="47" y="296"/>
                    </a:cubicBezTo>
                    <a:cubicBezTo>
                      <a:pt x="49" y="298"/>
                      <a:pt x="51" y="301"/>
                      <a:pt x="53" y="305"/>
                    </a:cubicBezTo>
                    <a:cubicBezTo>
                      <a:pt x="53" y="305"/>
                      <a:pt x="51" y="310"/>
                      <a:pt x="54" y="311"/>
                    </a:cubicBezTo>
                    <a:cubicBezTo>
                      <a:pt x="57" y="311"/>
                      <a:pt x="71" y="318"/>
                      <a:pt x="65" y="323"/>
                    </a:cubicBezTo>
                    <a:close/>
                    <a:moveTo>
                      <a:pt x="259" y="275"/>
                    </a:moveTo>
                    <a:cubicBezTo>
                      <a:pt x="256" y="271"/>
                      <a:pt x="252" y="268"/>
                      <a:pt x="247" y="267"/>
                    </a:cubicBezTo>
                    <a:cubicBezTo>
                      <a:pt x="240" y="265"/>
                      <a:pt x="231" y="275"/>
                      <a:pt x="223" y="268"/>
                    </a:cubicBezTo>
                    <a:cubicBezTo>
                      <a:pt x="222" y="266"/>
                      <a:pt x="226" y="264"/>
                      <a:pt x="225" y="262"/>
                    </a:cubicBezTo>
                    <a:cubicBezTo>
                      <a:pt x="223" y="257"/>
                      <a:pt x="189" y="241"/>
                      <a:pt x="183" y="242"/>
                    </a:cubicBezTo>
                    <a:cubicBezTo>
                      <a:pt x="180" y="244"/>
                      <a:pt x="178" y="248"/>
                      <a:pt x="175" y="249"/>
                    </a:cubicBezTo>
                    <a:cubicBezTo>
                      <a:pt x="174" y="250"/>
                      <a:pt x="176" y="246"/>
                      <a:pt x="178" y="245"/>
                    </a:cubicBezTo>
                    <a:cubicBezTo>
                      <a:pt x="179" y="243"/>
                      <a:pt x="182" y="241"/>
                      <a:pt x="183" y="240"/>
                    </a:cubicBezTo>
                    <a:cubicBezTo>
                      <a:pt x="186" y="237"/>
                      <a:pt x="187" y="236"/>
                      <a:pt x="189" y="234"/>
                    </a:cubicBezTo>
                    <a:cubicBezTo>
                      <a:pt x="193" y="232"/>
                      <a:pt x="196" y="230"/>
                      <a:pt x="200" y="228"/>
                    </a:cubicBezTo>
                    <a:cubicBezTo>
                      <a:pt x="209" y="233"/>
                      <a:pt x="208" y="239"/>
                      <a:pt x="218" y="244"/>
                    </a:cubicBezTo>
                    <a:cubicBezTo>
                      <a:pt x="219" y="245"/>
                      <a:pt x="222" y="245"/>
                      <a:pt x="224" y="245"/>
                    </a:cubicBezTo>
                    <a:cubicBezTo>
                      <a:pt x="225" y="245"/>
                      <a:pt x="226" y="243"/>
                      <a:pt x="227" y="244"/>
                    </a:cubicBezTo>
                    <a:cubicBezTo>
                      <a:pt x="230" y="245"/>
                      <a:pt x="232" y="248"/>
                      <a:pt x="235" y="249"/>
                    </a:cubicBezTo>
                    <a:cubicBezTo>
                      <a:pt x="239" y="250"/>
                      <a:pt x="251" y="243"/>
                      <a:pt x="253" y="247"/>
                    </a:cubicBezTo>
                    <a:cubicBezTo>
                      <a:pt x="253" y="248"/>
                      <a:pt x="252" y="248"/>
                      <a:pt x="252" y="249"/>
                    </a:cubicBezTo>
                    <a:cubicBezTo>
                      <a:pt x="252" y="249"/>
                      <a:pt x="251" y="250"/>
                      <a:pt x="252" y="251"/>
                    </a:cubicBezTo>
                    <a:cubicBezTo>
                      <a:pt x="254" y="253"/>
                      <a:pt x="258" y="253"/>
                      <a:pt x="260" y="256"/>
                    </a:cubicBezTo>
                    <a:cubicBezTo>
                      <a:pt x="260" y="257"/>
                      <a:pt x="259" y="274"/>
                      <a:pt x="264" y="278"/>
                    </a:cubicBezTo>
                    <a:cubicBezTo>
                      <a:pt x="270" y="282"/>
                      <a:pt x="296" y="274"/>
                      <a:pt x="286" y="291"/>
                    </a:cubicBezTo>
                    <a:cubicBezTo>
                      <a:pt x="280" y="300"/>
                      <a:pt x="265" y="288"/>
                      <a:pt x="261" y="284"/>
                    </a:cubicBezTo>
                    <a:cubicBezTo>
                      <a:pt x="261" y="283"/>
                      <a:pt x="263" y="283"/>
                      <a:pt x="263" y="282"/>
                    </a:cubicBezTo>
                    <a:cubicBezTo>
                      <a:pt x="262" y="280"/>
                      <a:pt x="261" y="278"/>
                      <a:pt x="259" y="277"/>
                    </a:cubicBezTo>
                    <a:cubicBezTo>
                      <a:pt x="258" y="277"/>
                      <a:pt x="257" y="280"/>
                      <a:pt x="256" y="279"/>
                    </a:cubicBezTo>
                    <a:cubicBezTo>
                      <a:pt x="256" y="278"/>
                      <a:pt x="260" y="276"/>
                      <a:pt x="259" y="275"/>
                    </a:cubicBez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7" name="Kazakhstan" descr="{&quot;Key&quot;:&quot;kazakhstan&quot;,&quot;Name&quot;:&quot;Kazakhstan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8AD6AB54-9F02-19C7-8A45-994E93548C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65879" y="5348734"/>
                <a:ext cx="1055934" cy="2516743"/>
              </a:xfrm>
              <a:custGeom>
                <a:avLst/>
                <a:gdLst>
                  <a:gd name="T0" fmla="*/ 610 w 631"/>
                  <a:gd name="T1" fmla="*/ 53 h 1398"/>
                  <a:gd name="T2" fmla="*/ 558 w 631"/>
                  <a:gd name="T3" fmla="*/ 20 h 1398"/>
                  <a:gd name="T4" fmla="*/ 526 w 631"/>
                  <a:gd name="T5" fmla="*/ 33 h 1398"/>
                  <a:gd name="T6" fmla="*/ 486 w 631"/>
                  <a:gd name="T7" fmla="*/ 66 h 1398"/>
                  <a:gd name="T8" fmla="*/ 475 w 631"/>
                  <a:gd name="T9" fmla="*/ 99 h 1398"/>
                  <a:gd name="T10" fmla="*/ 453 w 631"/>
                  <a:gd name="T11" fmla="*/ 174 h 1398"/>
                  <a:gd name="T12" fmla="*/ 429 w 631"/>
                  <a:gd name="T13" fmla="*/ 211 h 1398"/>
                  <a:gd name="T14" fmla="*/ 417 w 631"/>
                  <a:gd name="T15" fmla="*/ 253 h 1398"/>
                  <a:gd name="T16" fmla="*/ 393 w 631"/>
                  <a:gd name="T17" fmla="*/ 302 h 1398"/>
                  <a:gd name="T18" fmla="*/ 383 w 631"/>
                  <a:gd name="T19" fmla="*/ 343 h 1398"/>
                  <a:gd name="T20" fmla="*/ 358 w 631"/>
                  <a:gd name="T21" fmla="*/ 361 h 1398"/>
                  <a:gd name="T22" fmla="*/ 332 w 631"/>
                  <a:gd name="T23" fmla="*/ 385 h 1398"/>
                  <a:gd name="T24" fmla="*/ 362 w 631"/>
                  <a:gd name="T25" fmla="*/ 399 h 1398"/>
                  <a:gd name="T26" fmla="*/ 369 w 631"/>
                  <a:gd name="T27" fmla="*/ 418 h 1398"/>
                  <a:gd name="T28" fmla="*/ 401 w 631"/>
                  <a:gd name="T29" fmla="*/ 425 h 1398"/>
                  <a:gd name="T30" fmla="*/ 386 w 631"/>
                  <a:gd name="T31" fmla="*/ 469 h 1398"/>
                  <a:gd name="T32" fmla="*/ 410 w 631"/>
                  <a:gd name="T33" fmla="*/ 500 h 1398"/>
                  <a:gd name="T34" fmla="*/ 425 w 631"/>
                  <a:gd name="T35" fmla="*/ 536 h 1398"/>
                  <a:gd name="T36" fmla="*/ 485 w 631"/>
                  <a:gd name="T37" fmla="*/ 525 h 1398"/>
                  <a:gd name="T38" fmla="*/ 443 w 631"/>
                  <a:gd name="T39" fmla="*/ 626 h 1398"/>
                  <a:gd name="T40" fmla="*/ 405 w 631"/>
                  <a:gd name="T41" fmla="*/ 637 h 1398"/>
                  <a:gd name="T42" fmla="*/ 380 w 631"/>
                  <a:gd name="T43" fmla="*/ 630 h 1398"/>
                  <a:gd name="T44" fmla="*/ 363 w 631"/>
                  <a:gd name="T45" fmla="*/ 672 h 1398"/>
                  <a:gd name="T46" fmla="*/ 318 w 631"/>
                  <a:gd name="T47" fmla="*/ 688 h 1398"/>
                  <a:gd name="T48" fmla="*/ 301 w 631"/>
                  <a:gd name="T49" fmla="*/ 743 h 1398"/>
                  <a:gd name="T50" fmla="*/ 275 w 631"/>
                  <a:gd name="T51" fmla="*/ 775 h 1398"/>
                  <a:gd name="T52" fmla="*/ 221 w 631"/>
                  <a:gd name="T53" fmla="*/ 753 h 1398"/>
                  <a:gd name="T54" fmla="*/ 138 w 631"/>
                  <a:gd name="T55" fmla="*/ 763 h 1398"/>
                  <a:gd name="T56" fmla="*/ 111 w 631"/>
                  <a:gd name="T57" fmla="*/ 806 h 1398"/>
                  <a:gd name="T58" fmla="*/ 79 w 631"/>
                  <a:gd name="T59" fmla="*/ 814 h 1398"/>
                  <a:gd name="T60" fmla="*/ 55 w 631"/>
                  <a:gd name="T61" fmla="*/ 876 h 1398"/>
                  <a:gd name="T62" fmla="*/ 39 w 631"/>
                  <a:gd name="T63" fmla="*/ 929 h 1398"/>
                  <a:gd name="T64" fmla="*/ 76 w 631"/>
                  <a:gd name="T65" fmla="*/ 968 h 1398"/>
                  <a:gd name="T66" fmla="*/ 2 w 631"/>
                  <a:gd name="T67" fmla="*/ 1019 h 1398"/>
                  <a:gd name="T68" fmla="*/ 36 w 631"/>
                  <a:gd name="T69" fmla="*/ 1127 h 1398"/>
                  <a:gd name="T70" fmla="*/ 75 w 631"/>
                  <a:gd name="T71" fmla="*/ 1141 h 1398"/>
                  <a:gd name="T72" fmla="*/ 96 w 631"/>
                  <a:gd name="T73" fmla="*/ 1141 h 1398"/>
                  <a:gd name="T74" fmla="*/ 195 w 631"/>
                  <a:gd name="T75" fmla="*/ 1184 h 1398"/>
                  <a:gd name="T76" fmla="*/ 229 w 631"/>
                  <a:gd name="T77" fmla="*/ 1171 h 1398"/>
                  <a:gd name="T78" fmla="*/ 258 w 631"/>
                  <a:gd name="T79" fmla="*/ 1124 h 1398"/>
                  <a:gd name="T80" fmla="*/ 269 w 631"/>
                  <a:gd name="T81" fmla="*/ 1114 h 1398"/>
                  <a:gd name="T82" fmla="*/ 318 w 631"/>
                  <a:gd name="T83" fmla="*/ 1085 h 1398"/>
                  <a:gd name="T84" fmla="*/ 374 w 631"/>
                  <a:gd name="T85" fmla="*/ 1058 h 1398"/>
                  <a:gd name="T86" fmla="*/ 387 w 631"/>
                  <a:gd name="T87" fmla="*/ 1077 h 1398"/>
                  <a:gd name="T88" fmla="*/ 383 w 631"/>
                  <a:gd name="T89" fmla="*/ 1177 h 1398"/>
                  <a:gd name="T90" fmla="*/ 361 w 631"/>
                  <a:gd name="T91" fmla="*/ 1221 h 1398"/>
                  <a:gd name="T92" fmla="*/ 398 w 631"/>
                  <a:gd name="T93" fmla="*/ 1246 h 1398"/>
                  <a:gd name="T94" fmla="*/ 359 w 631"/>
                  <a:gd name="T95" fmla="*/ 1264 h 1398"/>
                  <a:gd name="T96" fmla="*/ 436 w 631"/>
                  <a:gd name="T97" fmla="*/ 1343 h 1398"/>
                  <a:gd name="T98" fmla="*/ 487 w 631"/>
                  <a:gd name="T99" fmla="*/ 1333 h 1398"/>
                  <a:gd name="T100" fmla="*/ 518 w 631"/>
                  <a:gd name="T101" fmla="*/ 1335 h 1398"/>
                  <a:gd name="T102" fmla="*/ 542 w 631"/>
                  <a:gd name="T103" fmla="*/ 1398 h 1398"/>
                  <a:gd name="T104" fmla="*/ 605 w 631"/>
                  <a:gd name="T105" fmla="*/ 1136 h 1398"/>
                  <a:gd name="T106" fmla="*/ 631 w 631"/>
                  <a:gd name="T107" fmla="*/ 18 h 13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31" h="1398">
                    <a:moveTo>
                      <a:pt x="631" y="18"/>
                    </a:moveTo>
                    <a:cubicBezTo>
                      <a:pt x="627" y="18"/>
                      <a:pt x="621" y="15"/>
                      <a:pt x="616" y="25"/>
                    </a:cubicBezTo>
                    <a:cubicBezTo>
                      <a:pt x="615" y="27"/>
                      <a:pt x="623" y="30"/>
                      <a:pt x="621" y="36"/>
                    </a:cubicBezTo>
                    <a:cubicBezTo>
                      <a:pt x="617" y="49"/>
                      <a:pt x="610" y="28"/>
                      <a:pt x="607" y="41"/>
                    </a:cubicBezTo>
                    <a:cubicBezTo>
                      <a:pt x="606" y="45"/>
                      <a:pt x="614" y="51"/>
                      <a:pt x="610" y="53"/>
                    </a:cubicBezTo>
                    <a:cubicBezTo>
                      <a:pt x="608" y="53"/>
                      <a:pt x="591" y="49"/>
                      <a:pt x="592" y="47"/>
                    </a:cubicBezTo>
                    <a:cubicBezTo>
                      <a:pt x="593" y="44"/>
                      <a:pt x="596" y="43"/>
                      <a:pt x="597" y="40"/>
                    </a:cubicBezTo>
                    <a:cubicBezTo>
                      <a:pt x="598" y="37"/>
                      <a:pt x="589" y="39"/>
                      <a:pt x="581" y="28"/>
                    </a:cubicBezTo>
                    <a:cubicBezTo>
                      <a:pt x="575" y="21"/>
                      <a:pt x="588" y="24"/>
                      <a:pt x="578" y="20"/>
                    </a:cubicBezTo>
                    <a:cubicBezTo>
                      <a:pt x="572" y="17"/>
                      <a:pt x="571" y="30"/>
                      <a:pt x="558" y="20"/>
                    </a:cubicBezTo>
                    <a:cubicBezTo>
                      <a:pt x="558" y="20"/>
                      <a:pt x="551" y="10"/>
                      <a:pt x="547" y="10"/>
                    </a:cubicBezTo>
                    <a:cubicBezTo>
                      <a:pt x="542" y="9"/>
                      <a:pt x="538" y="10"/>
                      <a:pt x="534" y="8"/>
                    </a:cubicBezTo>
                    <a:cubicBezTo>
                      <a:pt x="533" y="8"/>
                      <a:pt x="532" y="0"/>
                      <a:pt x="529" y="5"/>
                    </a:cubicBezTo>
                    <a:cubicBezTo>
                      <a:pt x="524" y="16"/>
                      <a:pt x="524" y="18"/>
                      <a:pt x="525" y="28"/>
                    </a:cubicBezTo>
                    <a:cubicBezTo>
                      <a:pt x="525" y="30"/>
                      <a:pt x="528" y="32"/>
                      <a:pt x="526" y="33"/>
                    </a:cubicBezTo>
                    <a:cubicBezTo>
                      <a:pt x="518" y="41"/>
                      <a:pt x="509" y="35"/>
                      <a:pt x="500" y="40"/>
                    </a:cubicBezTo>
                    <a:cubicBezTo>
                      <a:pt x="469" y="59"/>
                      <a:pt x="507" y="40"/>
                      <a:pt x="487" y="56"/>
                    </a:cubicBezTo>
                    <a:cubicBezTo>
                      <a:pt x="486" y="57"/>
                      <a:pt x="485" y="54"/>
                      <a:pt x="484" y="54"/>
                    </a:cubicBezTo>
                    <a:cubicBezTo>
                      <a:pt x="481" y="55"/>
                      <a:pt x="478" y="56"/>
                      <a:pt x="475" y="58"/>
                    </a:cubicBezTo>
                    <a:cubicBezTo>
                      <a:pt x="473" y="61"/>
                      <a:pt x="486" y="64"/>
                      <a:pt x="486" y="66"/>
                    </a:cubicBezTo>
                    <a:cubicBezTo>
                      <a:pt x="487" y="67"/>
                      <a:pt x="482" y="65"/>
                      <a:pt x="479" y="66"/>
                    </a:cubicBezTo>
                    <a:cubicBezTo>
                      <a:pt x="477" y="66"/>
                      <a:pt x="476" y="69"/>
                      <a:pt x="474" y="70"/>
                    </a:cubicBezTo>
                    <a:cubicBezTo>
                      <a:pt x="471" y="73"/>
                      <a:pt x="481" y="78"/>
                      <a:pt x="481" y="82"/>
                    </a:cubicBezTo>
                    <a:cubicBezTo>
                      <a:pt x="482" y="88"/>
                      <a:pt x="472" y="91"/>
                      <a:pt x="472" y="96"/>
                    </a:cubicBezTo>
                    <a:cubicBezTo>
                      <a:pt x="472" y="98"/>
                      <a:pt x="473" y="99"/>
                      <a:pt x="475" y="99"/>
                    </a:cubicBezTo>
                    <a:cubicBezTo>
                      <a:pt x="481" y="99"/>
                      <a:pt x="485" y="98"/>
                      <a:pt x="483" y="108"/>
                    </a:cubicBezTo>
                    <a:cubicBezTo>
                      <a:pt x="483" y="118"/>
                      <a:pt x="474" y="112"/>
                      <a:pt x="474" y="119"/>
                    </a:cubicBezTo>
                    <a:cubicBezTo>
                      <a:pt x="474" y="141"/>
                      <a:pt x="473" y="125"/>
                      <a:pt x="465" y="142"/>
                    </a:cubicBezTo>
                    <a:cubicBezTo>
                      <a:pt x="465" y="143"/>
                      <a:pt x="468" y="145"/>
                      <a:pt x="468" y="147"/>
                    </a:cubicBezTo>
                    <a:cubicBezTo>
                      <a:pt x="466" y="155"/>
                      <a:pt x="457" y="166"/>
                      <a:pt x="453" y="174"/>
                    </a:cubicBezTo>
                    <a:cubicBezTo>
                      <a:pt x="451" y="180"/>
                      <a:pt x="447" y="186"/>
                      <a:pt x="444" y="191"/>
                    </a:cubicBezTo>
                    <a:cubicBezTo>
                      <a:pt x="444" y="193"/>
                      <a:pt x="445" y="196"/>
                      <a:pt x="443" y="197"/>
                    </a:cubicBezTo>
                    <a:cubicBezTo>
                      <a:pt x="440" y="197"/>
                      <a:pt x="440" y="192"/>
                      <a:pt x="437" y="192"/>
                    </a:cubicBezTo>
                    <a:cubicBezTo>
                      <a:pt x="432" y="192"/>
                      <a:pt x="439" y="201"/>
                      <a:pt x="438" y="205"/>
                    </a:cubicBezTo>
                    <a:cubicBezTo>
                      <a:pt x="436" y="208"/>
                      <a:pt x="431" y="209"/>
                      <a:pt x="429" y="211"/>
                    </a:cubicBezTo>
                    <a:cubicBezTo>
                      <a:pt x="427" y="212"/>
                      <a:pt x="432" y="213"/>
                      <a:pt x="432" y="215"/>
                    </a:cubicBezTo>
                    <a:cubicBezTo>
                      <a:pt x="431" y="220"/>
                      <a:pt x="423" y="220"/>
                      <a:pt x="427" y="226"/>
                    </a:cubicBezTo>
                    <a:cubicBezTo>
                      <a:pt x="430" y="230"/>
                      <a:pt x="439" y="232"/>
                      <a:pt x="438" y="237"/>
                    </a:cubicBezTo>
                    <a:cubicBezTo>
                      <a:pt x="435" y="244"/>
                      <a:pt x="431" y="239"/>
                      <a:pt x="426" y="240"/>
                    </a:cubicBezTo>
                    <a:cubicBezTo>
                      <a:pt x="420" y="241"/>
                      <a:pt x="426" y="252"/>
                      <a:pt x="417" y="253"/>
                    </a:cubicBezTo>
                    <a:cubicBezTo>
                      <a:pt x="416" y="253"/>
                      <a:pt x="416" y="251"/>
                      <a:pt x="416" y="252"/>
                    </a:cubicBezTo>
                    <a:cubicBezTo>
                      <a:pt x="413" y="260"/>
                      <a:pt x="407" y="268"/>
                      <a:pt x="403" y="276"/>
                    </a:cubicBezTo>
                    <a:cubicBezTo>
                      <a:pt x="402" y="279"/>
                      <a:pt x="416" y="277"/>
                      <a:pt x="406" y="285"/>
                    </a:cubicBezTo>
                    <a:cubicBezTo>
                      <a:pt x="404" y="286"/>
                      <a:pt x="400" y="284"/>
                      <a:pt x="397" y="286"/>
                    </a:cubicBezTo>
                    <a:cubicBezTo>
                      <a:pt x="393" y="290"/>
                      <a:pt x="396" y="297"/>
                      <a:pt x="393" y="302"/>
                    </a:cubicBezTo>
                    <a:cubicBezTo>
                      <a:pt x="392" y="303"/>
                      <a:pt x="391" y="302"/>
                      <a:pt x="390" y="303"/>
                    </a:cubicBezTo>
                    <a:cubicBezTo>
                      <a:pt x="388" y="305"/>
                      <a:pt x="386" y="307"/>
                      <a:pt x="385" y="310"/>
                    </a:cubicBezTo>
                    <a:cubicBezTo>
                      <a:pt x="384" y="311"/>
                      <a:pt x="389" y="312"/>
                      <a:pt x="388" y="314"/>
                    </a:cubicBezTo>
                    <a:cubicBezTo>
                      <a:pt x="386" y="320"/>
                      <a:pt x="371" y="327"/>
                      <a:pt x="375" y="334"/>
                    </a:cubicBezTo>
                    <a:cubicBezTo>
                      <a:pt x="376" y="337"/>
                      <a:pt x="382" y="340"/>
                      <a:pt x="383" y="343"/>
                    </a:cubicBezTo>
                    <a:cubicBezTo>
                      <a:pt x="384" y="346"/>
                      <a:pt x="376" y="345"/>
                      <a:pt x="374" y="344"/>
                    </a:cubicBezTo>
                    <a:cubicBezTo>
                      <a:pt x="372" y="342"/>
                      <a:pt x="373" y="337"/>
                      <a:pt x="371" y="338"/>
                    </a:cubicBezTo>
                    <a:cubicBezTo>
                      <a:pt x="366" y="341"/>
                      <a:pt x="359" y="345"/>
                      <a:pt x="358" y="351"/>
                    </a:cubicBezTo>
                    <a:cubicBezTo>
                      <a:pt x="358" y="354"/>
                      <a:pt x="364" y="354"/>
                      <a:pt x="364" y="357"/>
                    </a:cubicBezTo>
                    <a:cubicBezTo>
                      <a:pt x="364" y="359"/>
                      <a:pt x="360" y="360"/>
                      <a:pt x="358" y="361"/>
                    </a:cubicBezTo>
                    <a:cubicBezTo>
                      <a:pt x="356" y="361"/>
                      <a:pt x="356" y="358"/>
                      <a:pt x="354" y="359"/>
                    </a:cubicBezTo>
                    <a:cubicBezTo>
                      <a:pt x="350" y="360"/>
                      <a:pt x="350" y="368"/>
                      <a:pt x="349" y="368"/>
                    </a:cubicBezTo>
                    <a:cubicBezTo>
                      <a:pt x="347" y="368"/>
                      <a:pt x="341" y="366"/>
                      <a:pt x="340" y="366"/>
                    </a:cubicBezTo>
                    <a:cubicBezTo>
                      <a:pt x="328" y="369"/>
                      <a:pt x="341" y="382"/>
                      <a:pt x="339" y="383"/>
                    </a:cubicBezTo>
                    <a:cubicBezTo>
                      <a:pt x="333" y="385"/>
                      <a:pt x="337" y="371"/>
                      <a:pt x="332" y="385"/>
                    </a:cubicBezTo>
                    <a:cubicBezTo>
                      <a:pt x="329" y="396"/>
                      <a:pt x="345" y="381"/>
                      <a:pt x="346" y="389"/>
                    </a:cubicBezTo>
                    <a:cubicBezTo>
                      <a:pt x="346" y="392"/>
                      <a:pt x="345" y="396"/>
                      <a:pt x="346" y="399"/>
                    </a:cubicBezTo>
                    <a:cubicBezTo>
                      <a:pt x="346" y="400"/>
                      <a:pt x="349" y="401"/>
                      <a:pt x="349" y="402"/>
                    </a:cubicBezTo>
                    <a:cubicBezTo>
                      <a:pt x="348" y="404"/>
                      <a:pt x="343" y="409"/>
                      <a:pt x="345" y="409"/>
                    </a:cubicBezTo>
                    <a:cubicBezTo>
                      <a:pt x="345" y="409"/>
                      <a:pt x="362" y="399"/>
                      <a:pt x="362" y="399"/>
                    </a:cubicBezTo>
                    <a:cubicBezTo>
                      <a:pt x="363" y="398"/>
                      <a:pt x="361" y="396"/>
                      <a:pt x="361" y="394"/>
                    </a:cubicBezTo>
                    <a:cubicBezTo>
                      <a:pt x="362" y="392"/>
                      <a:pt x="369" y="386"/>
                      <a:pt x="371" y="394"/>
                    </a:cubicBezTo>
                    <a:cubicBezTo>
                      <a:pt x="372" y="397"/>
                      <a:pt x="371" y="401"/>
                      <a:pt x="369" y="403"/>
                    </a:cubicBezTo>
                    <a:cubicBezTo>
                      <a:pt x="367" y="405"/>
                      <a:pt x="365" y="401"/>
                      <a:pt x="363" y="402"/>
                    </a:cubicBezTo>
                    <a:cubicBezTo>
                      <a:pt x="358" y="403"/>
                      <a:pt x="364" y="417"/>
                      <a:pt x="369" y="418"/>
                    </a:cubicBezTo>
                    <a:cubicBezTo>
                      <a:pt x="378" y="421"/>
                      <a:pt x="386" y="407"/>
                      <a:pt x="388" y="406"/>
                    </a:cubicBezTo>
                    <a:cubicBezTo>
                      <a:pt x="391" y="405"/>
                      <a:pt x="393" y="407"/>
                      <a:pt x="396" y="406"/>
                    </a:cubicBezTo>
                    <a:cubicBezTo>
                      <a:pt x="399" y="406"/>
                      <a:pt x="407" y="396"/>
                      <a:pt x="412" y="402"/>
                    </a:cubicBezTo>
                    <a:cubicBezTo>
                      <a:pt x="421" y="414"/>
                      <a:pt x="410" y="414"/>
                      <a:pt x="406" y="416"/>
                    </a:cubicBezTo>
                    <a:cubicBezTo>
                      <a:pt x="404" y="418"/>
                      <a:pt x="404" y="423"/>
                      <a:pt x="401" y="425"/>
                    </a:cubicBezTo>
                    <a:cubicBezTo>
                      <a:pt x="399" y="427"/>
                      <a:pt x="395" y="423"/>
                      <a:pt x="392" y="425"/>
                    </a:cubicBezTo>
                    <a:cubicBezTo>
                      <a:pt x="389" y="427"/>
                      <a:pt x="388" y="431"/>
                      <a:pt x="386" y="433"/>
                    </a:cubicBezTo>
                    <a:cubicBezTo>
                      <a:pt x="384" y="436"/>
                      <a:pt x="380" y="439"/>
                      <a:pt x="380" y="442"/>
                    </a:cubicBezTo>
                    <a:cubicBezTo>
                      <a:pt x="379" y="444"/>
                      <a:pt x="384" y="441"/>
                      <a:pt x="385" y="443"/>
                    </a:cubicBezTo>
                    <a:cubicBezTo>
                      <a:pt x="389" y="446"/>
                      <a:pt x="377" y="469"/>
                      <a:pt x="386" y="469"/>
                    </a:cubicBezTo>
                    <a:cubicBezTo>
                      <a:pt x="388" y="470"/>
                      <a:pt x="389" y="466"/>
                      <a:pt x="392" y="467"/>
                    </a:cubicBezTo>
                    <a:cubicBezTo>
                      <a:pt x="394" y="468"/>
                      <a:pt x="394" y="472"/>
                      <a:pt x="397" y="473"/>
                    </a:cubicBezTo>
                    <a:cubicBezTo>
                      <a:pt x="399" y="474"/>
                      <a:pt x="401" y="470"/>
                      <a:pt x="402" y="471"/>
                    </a:cubicBezTo>
                    <a:cubicBezTo>
                      <a:pt x="407" y="472"/>
                      <a:pt x="412" y="474"/>
                      <a:pt x="414" y="478"/>
                    </a:cubicBezTo>
                    <a:cubicBezTo>
                      <a:pt x="414" y="478"/>
                      <a:pt x="411" y="500"/>
                      <a:pt x="410" y="500"/>
                    </a:cubicBezTo>
                    <a:cubicBezTo>
                      <a:pt x="409" y="503"/>
                      <a:pt x="405" y="504"/>
                      <a:pt x="404" y="506"/>
                    </a:cubicBezTo>
                    <a:cubicBezTo>
                      <a:pt x="401" y="512"/>
                      <a:pt x="405" y="518"/>
                      <a:pt x="402" y="523"/>
                    </a:cubicBezTo>
                    <a:cubicBezTo>
                      <a:pt x="401" y="527"/>
                      <a:pt x="392" y="527"/>
                      <a:pt x="399" y="532"/>
                    </a:cubicBezTo>
                    <a:cubicBezTo>
                      <a:pt x="408" y="538"/>
                      <a:pt x="412" y="528"/>
                      <a:pt x="421" y="525"/>
                    </a:cubicBezTo>
                    <a:cubicBezTo>
                      <a:pt x="426" y="523"/>
                      <a:pt x="419" y="540"/>
                      <a:pt x="425" y="536"/>
                    </a:cubicBezTo>
                    <a:cubicBezTo>
                      <a:pt x="432" y="532"/>
                      <a:pt x="438" y="525"/>
                      <a:pt x="445" y="522"/>
                    </a:cubicBezTo>
                    <a:cubicBezTo>
                      <a:pt x="449" y="522"/>
                      <a:pt x="451" y="529"/>
                      <a:pt x="455" y="528"/>
                    </a:cubicBezTo>
                    <a:cubicBezTo>
                      <a:pt x="473" y="523"/>
                      <a:pt x="454" y="513"/>
                      <a:pt x="483" y="521"/>
                    </a:cubicBezTo>
                    <a:cubicBezTo>
                      <a:pt x="484" y="521"/>
                      <a:pt x="486" y="518"/>
                      <a:pt x="487" y="519"/>
                    </a:cubicBezTo>
                    <a:cubicBezTo>
                      <a:pt x="488" y="522"/>
                      <a:pt x="485" y="523"/>
                      <a:pt x="485" y="525"/>
                    </a:cubicBezTo>
                    <a:cubicBezTo>
                      <a:pt x="486" y="534"/>
                      <a:pt x="504" y="547"/>
                      <a:pt x="501" y="555"/>
                    </a:cubicBezTo>
                    <a:cubicBezTo>
                      <a:pt x="497" y="569"/>
                      <a:pt x="485" y="591"/>
                      <a:pt x="470" y="596"/>
                    </a:cubicBezTo>
                    <a:cubicBezTo>
                      <a:pt x="462" y="599"/>
                      <a:pt x="459" y="590"/>
                      <a:pt x="453" y="592"/>
                    </a:cubicBezTo>
                    <a:cubicBezTo>
                      <a:pt x="447" y="597"/>
                      <a:pt x="468" y="617"/>
                      <a:pt x="453" y="633"/>
                    </a:cubicBezTo>
                    <a:cubicBezTo>
                      <a:pt x="441" y="645"/>
                      <a:pt x="459" y="617"/>
                      <a:pt x="443" y="626"/>
                    </a:cubicBezTo>
                    <a:cubicBezTo>
                      <a:pt x="437" y="630"/>
                      <a:pt x="431" y="637"/>
                      <a:pt x="422" y="639"/>
                    </a:cubicBezTo>
                    <a:cubicBezTo>
                      <a:pt x="420" y="641"/>
                      <a:pt x="418" y="640"/>
                      <a:pt x="415" y="639"/>
                    </a:cubicBezTo>
                    <a:cubicBezTo>
                      <a:pt x="414" y="639"/>
                      <a:pt x="413" y="637"/>
                      <a:pt x="412" y="637"/>
                    </a:cubicBezTo>
                    <a:cubicBezTo>
                      <a:pt x="410" y="638"/>
                      <a:pt x="409" y="641"/>
                      <a:pt x="408" y="641"/>
                    </a:cubicBezTo>
                    <a:cubicBezTo>
                      <a:pt x="406" y="641"/>
                      <a:pt x="406" y="637"/>
                      <a:pt x="405" y="637"/>
                    </a:cubicBezTo>
                    <a:cubicBezTo>
                      <a:pt x="404" y="637"/>
                      <a:pt x="403" y="639"/>
                      <a:pt x="402" y="639"/>
                    </a:cubicBezTo>
                    <a:cubicBezTo>
                      <a:pt x="401" y="639"/>
                      <a:pt x="400" y="638"/>
                      <a:pt x="399" y="637"/>
                    </a:cubicBezTo>
                    <a:cubicBezTo>
                      <a:pt x="397" y="634"/>
                      <a:pt x="398" y="626"/>
                      <a:pt x="391" y="629"/>
                    </a:cubicBezTo>
                    <a:cubicBezTo>
                      <a:pt x="389" y="629"/>
                      <a:pt x="387" y="632"/>
                      <a:pt x="384" y="633"/>
                    </a:cubicBezTo>
                    <a:cubicBezTo>
                      <a:pt x="383" y="633"/>
                      <a:pt x="382" y="629"/>
                      <a:pt x="380" y="630"/>
                    </a:cubicBezTo>
                    <a:cubicBezTo>
                      <a:pt x="371" y="633"/>
                      <a:pt x="379" y="636"/>
                      <a:pt x="379" y="639"/>
                    </a:cubicBezTo>
                    <a:cubicBezTo>
                      <a:pt x="378" y="643"/>
                      <a:pt x="365" y="647"/>
                      <a:pt x="363" y="648"/>
                    </a:cubicBezTo>
                    <a:cubicBezTo>
                      <a:pt x="358" y="652"/>
                      <a:pt x="373" y="661"/>
                      <a:pt x="370" y="663"/>
                    </a:cubicBezTo>
                    <a:cubicBezTo>
                      <a:pt x="369" y="665"/>
                      <a:pt x="365" y="664"/>
                      <a:pt x="363" y="666"/>
                    </a:cubicBezTo>
                    <a:cubicBezTo>
                      <a:pt x="362" y="668"/>
                      <a:pt x="364" y="670"/>
                      <a:pt x="363" y="672"/>
                    </a:cubicBezTo>
                    <a:cubicBezTo>
                      <a:pt x="362" y="680"/>
                      <a:pt x="343" y="667"/>
                      <a:pt x="343" y="667"/>
                    </a:cubicBezTo>
                    <a:cubicBezTo>
                      <a:pt x="340" y="667"/>
                      <a:pt x="339" y="671"/>
                      <a:pt x="337" y="673"/>
                    </a:cubicBezTo>
                    <a:cubicBezTo>
                      <a:pt x="336" y="675"/>
                      <a:pt x="325" y="680"/>
                      <a:pt x="326" y="684"/>
                    </a:cubicBezTo>
                    <a:cubicBezTo>
                      <a:pt x="327" y="685"/>
                      <a:pt x="331" y="685"/>
                      <a:pt x="331" y="688"/>
                    </a:cubicBezTo>
                    <a:cubicBezTo>
                      <a:pt x="332" y="694"/>
                      <a:pt x="319" y="688"/>
                      <a:pt x="318" y="688"/>
                    </a:cubicBezTo>
                    <a:cubicBezTo>
                      <a:pt x="315" y="694"/>
                      <a:pt x="327" y="697"/>
                      <a:pt x="322" y="705"/>
                    </a:cubicBezTo>
                    <a:cubicBezTo>
                      <a:pt x="320" y="707"/>
                      <a:pt x="316" y="706"/>
                      <a:pt x="315" y="708"/>
                    </a:cubicBezTo>
                    <a:cubicBezTo>
                      <a:pt x="313" y="711"/>
                      <a:pt x="320" y="717"/>
                      <a:pt x="320" y="720"/>
                    </a:cubicBezTo>
                    <a:cubicBezTo>
                      <a:pt x="320" y="720"/>
                      <a:pt x="314" y="745"/>
                      <a:pt x="314" y="745"/>
                    </a:cubicBezTo>
                    <a:cubicBezTo>
                      <a:pt x="313" y="749"/>
                      <a:pt x="306" y="742"/>
                      <a:pt x="301" y="743"/>
                    </a:cubicBezTo>
                    <a:cubicBezTo>
                      <a:pt x="299" y="743"/>
                      <a:pt x="299" y="747"/>
                      <a:pt x="297" y="748"/>
                    </a:cubicBezTo>
                    <a:cubicBezTo>
                      <a:pt x="290" y="749"/>
                      <a:pt x="253" y="733"/>
                      <a:pt x="252" y="748"/>
                    </a:cubicBezTo>
                    <a:cubicBezTo>
                      <a:pt x="251" y="750"/>
                      <a:pt x="251" y="753"/>
                      <a:pt x="254" y="754"/>
                    </a:cubicBezTo>
                    <a:cubicBezTo>
                      <a:pt x="255" y="755"/>
                      <a:pt x="260" y="750"/>
                      <a:pt x="263" y="754"/>
                    </a:cubicBezTo>
                    <a:cubicBezTo>
                      <a:pt x="266" y="758"/>
                      <a:pt x="276" y="769"/>
                      <a:pt x="275" y="775"/>
                    </a:cubicBezTo>
                    <a:cubicBezTo>
                      <a:pt x="273" y="779"/>
                      <a:pt x="266" y="781"/>
                      <a:pt x="263" y="777"/>
                    </a:cubicBezTo>
                    <a:cubicBezTo>
                      <a:pt x="260" y="774"/>
                      <a:pt x="259" y="771"/>
                      <a:pt x="258" y="767"/>
                    </a:cubicBezTo>
                    <a:cubicBezTo>
                      <a:pt x="257" y="764"/>
                      <a:pt x="259" y="760"/>
                      <a:pt x="257" y="760"/>
                    </a:cubicBezTo>
                    <a:cubicBezTo>
                      <a:pt x="239" y="761"/>
                      <a:pt x="239" y="761"/>
                      <a:pt x="239" y="761"/>
                    </a:cubicBezTo>
                    <a:cubicBezTo>
                      <a:pt x="226" y="755"/>
                      <a:pt x="241" y="749"/>
                      <a:pt x="221" y="753"/>
                    </a:cubicBezTo>
                    <a:cubicBezTo>
                      <a:pt x="217" y="754"/>
                      <a:pt x="214" y="759"/>
                      <a:pt x="210" y="759"/>
                    </a:cubicBezTo>
                    <a:cubicBezTo>
                      <a:pt x="193" y="758"/>
                      <a:pt x="209" y="744"/>
                      <a:pt x="186" y="751"/>
                    </a:cubicBezTo>
                    <a:cubicBezTo>
                      <a:pt x="180" y="753"/>
                      <a:pt x="161" y="777"/>
                      <a:pt x="156" y="775"/>
                    </a:cubicBezTo>
                    <a:cubicBezTo>
                      <a:pt x="150" y="771"/>
                      <a:pt x="145" y="763"/>
                      <a:pt x="138" y="760"/>
                    </a:cubicBezTo>
                    <a:cubicBezTo>
                      <a:pt x="137" y="759"/>
                      <a:pt x="138" y="762"/>
                      <a:pt x="138" y="763"/>
                    </a:cubicBezTo>
                    <a:cubicBezTo>
                      <a:pt x="137" y="767"/>
                      <a:pt x="136" y="771"/>
                      <a:pt x="133" y="774"/>
                    </a:cubicBezTo>
                    <a:cubicBezTo>
                      <a:pt x="131" y="776"/>
                      <a:pt x="128" y="776"/>
                      <a:pt x="126" y="777"/>
                    </a:cubicBezTo>
                    <a:cubicBezTo>
                      <a:pt x="118" y="787"/>
                      <a:pt x="132" y="789"/>
                      <a:pt x="128" y="798"/>
                    </a:cubicBezTo>
                    <a:cubicBezTo>
                      <a:pt x="125" y="802"/>
                      <a:pt x="122" y="789"/>
                      <a:pt x="119" y="795"/>
                    </a:cubicBezTo>
                    <a:cubicBezTo>
                      <a:pt x="116" y="802"/>
                      <a:pt x="121" y="806"/>
                      <a:pt x="111" y="806"/>
                    </a:cubicBezTo>
                    <a:cubicBezTo>
                      <a:pt x="100" y="807"/>
                      <a:pt x="116" y="799"/>
                      <a:pt x="109" y="796"/>
                    </a:cubicBezTo>
                    <a:cubicBezTo>
                      <a:pt x="97" y="789"/>
                      <a:pt x="99" y="801"/>
                      <a:pt x="90" y="803"/>
                    </a:cubicBezTo>
                    <a:cubicBezTo>
                      <a:pt x="86" y="804"/>
                      <a:pt x="83" y="801"/>
                      <a:pt x="79" y="802"/>
                    </a:cubicBezTo>
                    <a:cubicBezTo>
                      <a:pt x="78" y="802"/>
                      <a:pt x="88" y="810"/>
                      <a:pt x="88" y="811"/>
                    </a:cubicBezTo>
                    <a:cubicBezTo>
                      <a:pt x="84" y="829"/>
                      <a:pt x="85" y="803"/>
                      <a:pt x="79" y="814"/>
                    </a:cubicBezTo>
                    <a:cubicBezTo>
                      <a:pt x="75" y="820"/>
                      <a:pt x="83" y="822"/>
                      <a:pt x="83" y="827"/>
                    </a:cubicBezTo>
                    <a:cubicBezTo>
                      <a:pt x="83" y="827"/>
                      <a:pt x="80" y="847"/>
                      <a:pt x="79" y="848"/>
                    </a:cubicBezTo>
                    <a:cubicBezTo>
                      <a:pt x="77" y="851"/>
                      <a:pt x="73" y="853"/>
                      <a:pt x="71" y="856"/>
                    </a:cubicBezTo>
                    <a:cubicBezTo>
                      <a:pt x="69" y="860"/>
                      <a:pt x="71" y="865"/>
                      <a:pt x="69" y="869"/>
                    </a:cubicBezTo>
                    <a:cubicBezTo>
                      <a:pt x="66" y="873"/>
                      <a:pt x="57" y="871"/>
                      <a:pt x="55" y="876"/>
                    </a:cubicBezTo>
                    <a:cubicBezTo>
                      <a:pt x="51" y="891"/>
                      <a:pt x="65" y="891"/>
                      <a:pt x="64" y="894"/>
                    </a:cubicBezTo>
                    <a:cubicBezTo>
                      <a:pt x="63" y="897"/>
                      <a:pt x="61" y="900"/>
                      <a:pt x="59" y="903"/>
                    </a:cubicBezTo>
                    <a:cubicBezTo>
                      <a:pt x="58" y="904"/>
                      <a:pt x="57" y="904"/>
                      <a:pt x="56" y="905"/>
                    </a:cubicBezTo>
                    <a:cubicBezTo>
                      <a:pt x="56" y="905"/>
                      <a:pt x="53" y="923"/>
                      <a:pt x="52" y="924"/>
                    </a:cubicBezTo>
                    <a:cubicBezTo>
                      <a:pt x="50" y="929"/>
                      <a:pt x="39" y="927"/>
                      <a:pt x="39" y="929"/>
                    </a:cubicBezTo>
                    <a:cubicBezTo>
                      <a:pt x="39" y="933"/>
                      <a:pt x="45" y="930"/>
                      <a:pt x="45" y="930"/>
                    </a:cubicBezTo>
                    <a:cubicBezTo>
                      <a:pt x="49" y="933"/>
                      <a:pt x="62" y="949"/>
                      <a:pt x="66" y="952"/>
                    </a:cubicBezTo>
                    <a:cubicBezTo>
                      <a:pt x="67" y="954"/>
                      <a:pt x="66" y="957"/>
                      <a:pt x="68" y="959"/>
                    </a:cubicBezTo>
                    <a:cubicBezTo>
                      <a:pt x="72" y="963"/>
                      <a:pt x="73" y="950"/>
                      <a:pt x="76" y="961"/>
                    </a:cubicBezTo>
                    <a:cubicBezTo>
                      <a:pt x="77" y="963"/>
                      <a:pt x="77" y="966"/>
                      <a:pt x="76" y="968"/>
                    </a:cubicBezTo>
                    <a:cubicBezTo>
                      <a:pt x="62" y="1001"/>
                      <a:pt x="54" y="982"/>
                      <a:pt x="34" y="974"/>
                    </a:cubicBezTo>
                    <a:cubicBezTo>
                      <a:pt x="32" y="973"/>
                      <a:pt x="9" y="963"/>
                      <a:pt x="7" y="966"/>
                    </a:cubicBezTo>
                    <a:cubicBezTo>
                      <a:pt x="5" y="973"/>
                      <a:pt x="0" y="984"/>
                      <a:pt x="5" y="991"/>
                    </a:cubicBezTo>
                    <a:cubicBezTo>
                      <a:pt x="6" y="992"/>
                      <a:pt x="11" y="994"/>
                      <a:pt x="11" y="996"/>
                    </a:cubicBezTo>
                    <a:cubicBezTo>
                      <a:pt x="12" y="1009"/>
                      <a:pt x="2" y="1012"/>
                      <a:pt x="2" y="1019"/>
                    </a:cubicBezTo>
                    <a:cubicBezTo>
                      <a:pt x="2" y="1021"/>
                      <a:pt x="16" y="1059"/>
                      <a:pt x="16" y="1059"/>
                    </a:cubicBezTo>
                    <a:cubicBezTo>
                      <a:pt x="19" y="1062"/>
                      <a:pt x="30" y="1057"/>
                      <a:pt x="33" y="1064"/>
                    </a:cubicBezTo>
                    <a:cubicBezTo>
                      <a:pt x="37" y="1073"/>
                      <a:pt x="31" y="1078"/>
                      <a:pt x="30" y="1086"/>
                    </a:cubicBezTo>
                    <a:cubicBezTo>
                      <a:pt x="29" y="1094"/>
                      <a:pt x="33" y="1108"/>
                      <a:pt x="34" y="1117"/>
                    </a:cubicBezTo>
                    <a:cubicBezTo>
                      <a:pt x="35" y="1120"/>
                      <a:pt x="34" y="1125"/>
                      <a:pt x="36" y="1127"/>
                    </a:cubicBezTo>
                    <a:cubicBezTo>
                      <a:pt x="38" y="1128"/>
                      <a:pt x="65" y="1122"/>
                      <a:pt x="69" y="1123"/>
                    </a:cubicBezTo>
                    <a:cubicBezTo>
                      <a:pt x="73" y="1124"/>
                      <a:pt x="70" y="1131"/>
                      <a:pt x="73" y="1133"/>
                    </a:cubicBezTo>
                    <a:cubicBezTo>
                      <a:pt x="75" y="1134"/>
                      <a:pt x="77" y="1131"/>
                      <a:pt x="78" y="1132"/>
                    </a:cubicBezTo>
                    <a:cubicBezTo>
                      <a:pt x="79" y="1133"/>
                      <a:pt x="78" y="1136"/>
                      <a:pt x="78" y="1138"/>
                    </a:cubicBezTo>
                    <a:cubicBezTo>
                      <a:pt x="77" y="1139"/>
                      <a:pt x="74" y="1140"/>
                      <a:pt x="75" y="1141"/>
                    </a:cubicBezTo>
                    <a:cubicBezTo>
                      <a:pt x="77" y="1144"/>
                      <a:pt x="82" y="1144"/>
                      <a:pt x="85" y="1147"/>
                    </a:cubicBezTo>
                    <a:cubicBezTo>
                      <a:pt x="86" y="1148"/>
                      <a:pt x="84" y="1149"/>
                      <a:pt x="83" y="1150"/>
                    </a:cubicBezTo>
                    <a:cubicBezTo>
                      <a:pt x="83" y="1150"/>
                      <a:pt x="84" y="1151"/>
                      <a:pt x="84" y="1151"/>
                    </a:cubicBezTo>
                    <a:cubicBezTo>
                      <a:pt x="85" y="1151"/>
                      <a:pt x="100" y="1154"/>
                      <a:pt x="100" y="1154"/>
                    </a:cubicBezTo>
                    <a:cubicBezTo>
                      <a:pt x="101" y="1153"/>
                      <a:pt x="95" y="1142"/>
                      <a:pt x="96" y="1141"/>
                    </a:cubicBezTo>
                    <a:cubicBezTo>
                      <a:pt x="100" y="1141"/>
                      <a:pt x="104" y="1142"/>
                      <a:pt x="109" y="1141"/>
                    </a:cubicBezTo>
                    <a:cubicBezTo>
                      <a:pt x="116" y="1139"/>
                      <a:pt x="120" y="1128"/>
                      <a:pt x="129" y="1130"/>
                    </a:cubicBezTo>
                    <a:cubicBezTo>
                      <a:pt x="151" y="1136"/>
                      <a:pt x="160" y="1146"/>
                      <a:pt x="178" y="1158"/>
                    </a:cubicBezTo>
                    <a:cubicBezTo>
                      <a:pt x="186" y="1163"/>
                      <a:pt x="197" y="1163"/>
                      <a:pt x="203" y="1170"/>
                    </a:cubicBezTo>
                    <a:cubicBezTo>
                      <a:pt x="206" y="1174"/>
                      <a:pt x="198" y="1183"/>
                      <a:pt x="195" y="1184"/>
                    </a:cubicBezTo>
                    <a:cubicBezTo>
                      <a:pt x="192" y="1184"/>
                      <a:pt x="185" y="1175"/>
                      <a:pt x="182" y="1185"/>
                    </a:cubicBezTo>
                    <a:cubicBezTo>
                      <a:pt x="178" y="1201"/>
                      <a:pt x="213" y="1194"/>
                      <a:pt x="225" y="1193"/>
                    </a:cubicBezTo>
                    <a:cubicBezTo>
                      <a:pt x="223" y="1185"/>
                      <a:pt x="220" y="1178"/>
                      <a:pt x="221" y="1176"/>
                    </a:cubicBezTo>
                    <a:cubicBezTo>
                      <a:pt x="225" y="1173"/>
                      <a:pt x="230" y="1178"/>
                      <a:pt x="233" y="1176"/>
                    </a:cubicBezTo>
                    <a:cubicBezTo>
                      <a:pt x="235" y="1175"/>
                      <a:pt x="227" y="1172"/>
                      <a:pt x="229" y="1171"/>
                    </a:cubicBezTo>
                    <a:cubicBezTo>
                      <a:pt x="231" y="1170"/>
                      <a:pt x="234" y="1173"/>
                      <a:pt x="237" y="1174"/>
                    </a:cubicBezTo>
                    <a:cubicBezTo>
                      <a:pt x="238" y="1174"/>
                      <a:pt x="250" y="1156"/>
                      <a:pt x="251" y="1153"/>
                    </a:cubicBezTo>
                    <a:cubicBezTo>
                      <a:pt x="253" y="1148"/>
                      <a:pt x="250" y="1136"/>
                      <a:pt x="254" y="1138"/>
                    </a:cubicBezTo>
                    <a:cubicBezTo>
                      <a:pt x="255" y="1139"/>
                      <a:pt x="256" y="1142"/>
                      <a:pt x="257" y="1141"/>
                    </a:cubicBezTo>
                    <a:cubicBezTo>
                      <a:pt x="258" y="1136"/>
                      <a:pt x="256" y="1129"/>
                      <a:pt x="258" y="1124"/>
                    </a:cubicBezTo>
                    <a:cubicBezTo>
                      <a:pt x="258" y="1123"/>
                      <a:pt x="260" y="1125"/>
                      <a:pt x="262" y="1124"/>
                    </a:cubicBezTo>
                    <a:cubicBezTo>
                      <a:pt x="263" y="1124"/>
                      <a:pt x="263" y="1120"/>
                      <a:pt x="264" y="1121"/>
                    </a:cubicBezTo>
                    <a:cubicBezTo>
                      <a:pt x="266" y="1122"/>
                      <a:pt x="264" y="1125"/>
                      <a:pt x="266" y="1126"/>
                    </a:cubicBezTo>
                    <a:cubicBezTo>
                      <a:pt x="267" y="1127"/>
                      <a:pt x="267" y="1124"/>
                      <a:pt x="267" y="1123"/>
                    </a:cubicBezTo>
                    <a:cubicBezTo>
                      <a:pt x="266" y="1120"/>
                      <a:pt x="265" y="1108"/>
                      <a:pt x="269" y="1114"/>
                    </a:cubicBezTo>
                    <a:cubicBezTo>
                      <a:pt x="270" y="1114"/>
                      <a:pt x="272" y="1116"/>
                      <a:pt x="272" y="1115"/>
                    </a:cubicBezTo>
                    <a:cubicBezTo>
                      <a:pt x="273" y="1102"/>
                      <a:pt x="270" y="1099"/>
                      <a:pt x="281" y="1089"/>
                    </a:cubicBezTo>
                    <a:cubicBezTo>
                      <a:pt x="292" y="1079"/>
                      <a:pt x="303" y="1090"/>
                      <a:pt x="313" y="1086"/>
                    </a:cubicBezTo>
                    <a:cubicBezTo>
                      <a:pt x="315" y="1086"/>
                      <a:pt x="315" y="1082"/>
                      <a:pt x="317" y="1081"/>
                    </a:cubicBezTo>
                    <a:cubicBezTo>
                      <a:pt x="318" y="1080"/>
                      <a:pt x="317" y="1085"/>
                      <a:pt x="318" y="1085"/>
                    </a:cubicBezTo>
                    <a:cubicBezTo>
                      <a:pt x="324" y="1085"/>
                      <a:pt x="330" y="1082"/>
                      <a:pt x="335" y="1081"/>
                    </a:cubicBezTo>
                    <a:cubicBezTo>
                      <a:pt x="339" y="1079"/>
                      <a:pt x="337" y="1062"/>
                      <a:pt x="337" y="1060"/>
                    </a:cubicBezTo>
                    <a:cubicBezTo>
                      <a:pt x="339" y="1058"/>
                      <a:pt x="344" y="1060"/>
                      <a:pt x="346" y="1059"/>
                    </a:cubicBezTo>
                    <a:cubicBezTo>
                      <a:pt x="352" y="1056"/>
                      <a:pt x="360" y="1045"/>
                      <a:pt x="366" y="1050"/>
                    </a:cubicBezTo>
                    <a:cubicBezTo>
                      <a:pt x="369" y="1051"/>
                      <a:pt x="371" y="1055"/>
                      <a:pt x="374" y="1058"/>
                    </a:cubicBezTo>
                    <a:cubicBezTo>
                      <a:pt x="376" y="1059"/>
                      <a:pt x="383" y="1057"/>
                      <a:pt x="383" y="1062"/>
                    </a:cubicBezTo>
                    <a:cubicBezTo>
                      <a:pt x="383" y="1063"/>
                      <a:pt x="381" y="1063"/>
                      <a:pt x="381" y="1063"/>
                    </a:cubicBezTo>
                    <a:cubicBezTo>
                      <a:pt x="380" y="1068"/>
                      <a:pt x="380" y="1073"/>
                      <a:pt x="381" y="1077"/>
                    </a:cubicBezTo>
                    <a:cubicBezTo>
                      <a:pt x="381" y="1079"/>
                      <a:pt x="381" y="1074"/>
                      <a:pt x="382" y="1073"/>
                    </a:cubicBezTo>
                    <a:cubicBezTo>
                      <a:pt x="384" y="1072"/>
                      <a:pt x="385" y="1076"/>
                      <a:pt x="387" y="1077"/>
                    </a:cubicBezTo>
                    <a:cubicBezTo>
                      <a:pt x="396" y="1084"/>
                      <a:pt x="401" y="1094"/>
                      <a:pt x="404" y="1106"/>
                    </a:cubicBezTo>
                    <a:cubicBezTo>
                      <a:pt x="406" y="1118"/>
                      <a:pt x="402" y="1133"/>
                      <a:pt x="407" y="1145"/>
                    </a:cubicBezTo>
                    <a:cubicBezTo>
                      <a:pt x="409" y="1150"/>
                      <a:pt x="439" y="1140"/>
                      <a:pt x="438" y="1143"/>
                    </a:cubicBezTo>
                    <a:cubicBezTo>
                      <a:pt x="432" y="1155"/>
                      <a:pt x="414" y="1157"/>
                      <a:pt x="402" y="1162"/>
                    </a:cubicBezTo>
                    <a:cubicBezTo>
                      <a:pt x="395" y="1165"/>
                      <a:pt x="391" y="1174"/>
                      <a:pt x="383" y="1177"/>
                    </a:cubicBezTo>
                    <a:cubicBezTo>
                      <a:pt x="379" y="1179"/>
                      <a:pt x="374" y="1178"/>
                      <a:pt x="370" y="1180"/>
                    </a:cubicBezTo>
                    <a:cubicBezTo>
                      <a:pt x="366" y="1182"/>
                      <a:pt x="370" y="1189"/>
                      <a:pt x="367" y="1193"/>
                    </a:cubicBezTo>
                    <a:cubicBezTo>
                      <a:pt x="365" y="1196"/>
                      <a:pt x="360" y="1196"/>
                      <a:pt x="359" y="1200"/>
                    </a:cubicBezTo>
                    <a:cubicBezTo>
                      <a:pt x="351" y="1221"/>
                      <a:pt x="363" y="1206"/>
                      <a:pt x="366" y="1222"/>
                    </a:cubicBezTo>
                    <a:cubicBezTo>
                      <a:pt x="367" y="1223"/>
                      <a:pt x="362" y="1220"/>
                      <a:pt x="361" y="1221"/>
                    </a:cubicBezTo>
                    <a:cubicBezTo>
                      <a:pt x="357" y="1224"/>
                      <a:pt x="354" y="1228"/>
                      <a:pt x="354" y="1233"/>
                    </a:cubicBezTo>
                    <a:cubicBezTo>
                      <a:pt x="352" y="1247"/>
                      <a:pt x="369" y="1241"/>
                      <a:pt x="374" y="1242"/>
                    </a:cubicBezTo>
                    <a:cubicBezTo>
                      <a:pt x="378" y="1243"/>
                      <a:pt x="379" y="1248"/>
                      <a:pt x="383" y="1248"/>
                    </a:cubicBezTo>
                    <a:cubicBezTo>
                      <a:pt x="385" y="1248"/>
                      <a:pt x="386" y="1244"/>
                      <a:pt x="387" y="1244"/>
                    </a:cubicBezTo>
                    <a:cubicBezTo>
                      <a:pt x="391" y="1243"/>
                      <a:pt x="395" y="1243"/>
                      <a:pt x="398" y="1246"/>
                    </a:cubicBezTo>
                    <a:cubicBezTo>
                      <a:pt x="399" y="1247"/>
                      <a:pt x="393" y="1247"/>
                      <a:pt x="392" y="1248"/>
                    </a:cubicBezTo>
                    <a:cubicBezTo>
                      <a:pt x="390" y="1249"/>
                      <a:pt x="385" y="1250"/>
                      <a:pt x="384" y="1252"/>
                    </a:cubicBezTo>
                    <a:cubicBezTo>
                      <a:pt x="383" y="1254"/>
                      <a:pt x="384" y="1257"/>
                      <a:pt x="383" y="1258"/>
                    </a:cubicBezTo>
                    <a:cubicBezTo>
                      <a:pt x="375" y="1267"/>
                      <a:pt x="371" y="1257"/>
                      <a:pt x="363" y="1258"/>
                    </a:cubicBezTo>
                    <a:cubicBezTo>
                      <a:pt x="350" y="1261"/>
                      <a:pt x="365" y="1260"/>
                      <a:pt x="359" y="1264"/>
                    </a:cubicBezTo>
                    <a:cubicBezTo>
                      <a:pt x="351" y="1269"/>
                      <a:pt x="334" y="1267"/>
                      <a:pt x="337" y="1282"/>
                    </a:cubicBezTo>
                    <a:cubicBezTo>
                      <a:pt x="343" y="1312"/>
                      <a:pt x="367" y="1281"/>
                      <a:pt x="378" y="1288"/>
                    </a:cubicBezTo>
                    <a:cubicBezTo>
                      <a:pt x="381" y="1290"/>
                      <a:pt x="382" y="1295"/>
                      <a:pt x="384" y="1298"/>
                    </a:cubicBezTo>
                    <a:cubicBezTo>
                      <a:pt x="393" y="1305"/>
                      <a:pt x="422" y="1317"/>
                      <a:pt x="427" y="1322"/>
                    </a:cubicBezTo>
                    <a:cubicBezTo>
                      <a:pt x="432" y="1327"/>
                      <a:pt x="429" y="1341"/>
                      <a:pt x="436" y="1343"/>
                    </a:cubicBezTo>
                    <a:cubicBezTo>
                      <a:pt x="440" y="1344"/>
                      <a:pt x="450" y="1331"/>
                      <a:pt x="455" y="1330"/>
                    </a:cubicBezTo>
                    <a:cubicBezTo>
                      <a:pt x="456" y="1330"/>
                      <a:pt x="455" y="1334"/>
                      <a:pt x="456" y="1334"/>
                    </a:cubicBezTo>
                    <a:cubicBezTo>
                      <a:pt x="461" y="1337"/>
                      <a:pt x="466" y="1338"/>
                      <a:pt x="471" y="1341"/>
                    </a:cubicBezTo>
                    <a:cubicBezTo>
                      <a:pt x="473" y="1342"/>
                      <a:pt x="475" y="1343"/>
                      <a:pt x="478" y="1344"/>
                    </a:cubicBezTo>
                    <a:cubicBezTo>
                      <a:pt x="482" y="1345"/>
                      <a:pt x="483" y="1336"/>
                      <a:pt x="487" y="1333"/>
                    </a:cubicBezTo>
                    <a:cubicBezTo>
                      <a:pt x="491" y="1330"/>
                      <a:pt x="492" y="1337"/>
                      <a:pt x="496" y="1336"/>
                    </a:cubicBezTo>
                    <a:cubicBezTo>
                      <a:pt x="499" y="1335"/>
                      <a:pt x="506" y="1318"/>
                      <a:pt x="518" y="1326"/>
                    </a:cubicBezTo>
                    <a:cubicBezTo>
                      <a:pt x="521" y="1328"/>
                      <a:pt x="526" y="1334"/>
                      <a:pt x="523" y="1335"/>
                    </a:cubicBezTo>
                    <a:cubicBezTo>
                      <a:pt x="520" y="1338"/>
                      <a:pt x="515" y="1331"/>
                      <a:pt x="511" y="1331"/>
                    </a:cubicBezTo>
                    <a:cubicBezTo>
                      <a:pt x="508" y="1331"/>
                      <a:pt x="516" y="1334"/>
                      <a:pt x="518" y="1335"/>
                    </a:cubicBezTo>
                    <a:cubicBezTo>
                      <a:pt x="525" y="1339"/>
                      <a:pt x="526" y="1348"/>
                      <a:pt x="528" y="1355"/>
                    </a:cubicBezTo>
                    <a:cubicBezTo>
                      <a:pt x="528" y="1360"/>
                      <a:pt x="529" y="1364"/>
                      <a:pt x="528" y="1368"/>
                    </a:cubicBezTo>
                    <a:cubicBezTo>
                      <a:pt x="528" y="1369"/>
                      <a:pt x="526" y="1369"/>
                      <a:pt x="526" y="1370"/>
                    </a:cubicBezTo>
                    <a:cubicBezTo>
                      <a:pt x="525" y="1379"/>
                      <a:pt x="535" y="1380"/>
                      <a:pt x="539" y="1386"/>
                    </a:cubicBezTo>
                    <a:cubicBezTo>
                      <a:pt x="542" y="1390"/>
                      <a:pt x="539" y="1395"/>
                      <a:pt x="542" y="1398"/>
                    </a:cubicBezTo>
                    <a:cubicBezTo>
                      <a:pt x="546" y="1385"/>
                      <a:pt x="547" y="1368"/>
                      <a:pt x="553" y="1355"/>
                    </a:cubicBezTo>
                    <a:cubicBezTo>
                      <a:pt x="558" y="1344"/>
                      <a:pt x="585" y="1309"/>
                      <a:pt x="597" y="1305"/>
                    </a:cubicBezTo>
                    <a:cubicBezTo>
                      <a:pt x="604" y="1303"/>
                      <a:pt x="619" y="1301"/>
                      <a:pt x="631" y="1302"/>
                    </a:cubicBezTo>
                    <a:cubicBezTo>
                      <a:pt x="631" y="1176"/>
                      <a:pt x="631" y="1176"/>
                      <a:pt x="631" y="1176"/>
                    </a:cubicBezTo>
                    <a:cubicBezTo>
                      <a:pt x="622" y="1163"/>
                      <a:pt x="614" y="1149"/>
                      <a:pt x="605" y="1136"/>
                    </a:cubicBezTo>
                    <a:cubicBezTo>
                      <a:pt x="601" y="1129"/>
                      <a:pt x="566" y="1082"/>
                      <a:pt x="565" y="1079"/>
                    </a:cubicBezTo>
                    <a:cubicBezTo>
                      <a:pt x="565" y="1073"/>
                      <a:pt x="579" y="1058"/>
                      <a:pt x="582" y="1054"/>
                    </a:cubicBezTo>
                    <a:cubicBezTo>
                      <a:pt x="597" y="1031"/>
                      <a:pt x="612" y="1008"/>
                      <a:pt x="627" y="985"/>
                    </a:cubicBezTo>
                    <a:cubicBezTo>
                      <a:pt x="628" y="983"/>
                      <a:pt x="629" y="981"/>
                      <a:pt x="631" y="977"/>
                    </a:cubicBezTo>
                    <a:lnTo>
                      <a:pt x="631" y="18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8" name="Finland" descr="{&quot;Key&quot;:&quot;finland&quot;,&quot;Name&quot;:&quot;Finland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4A422CC6-1149-F894-C228-7A6BD0AC01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39267" y="5191040"/>
                <a:ext cx="718273" cy="1401730"/>
              </a:xfrm>
              <a:custGeom>
                <a:avLst/>
                <a:gdLst>
                  <a:gd name="T0" fmla="*/ 415 w 430"/>
                  <a:gd name="T1" fmla="*/ 546 h 779"/>
                  <a:gd name="T2" fmla="*/ 361 w 430"/>
                  <a:gd name="T3" fmla="*/ 436 h 779"/>
                  <a:gd name="T4" fmla="*/ 345 w 430"/>
                  <a:gd name="T5" fmla="*/ 366 h 779"/>
                  <a:gd name="T6" fmla="*/ 313 w 430"/>
                  <a:gd name="T7" fmla="*/ 330 h 779"/>
                  <a:gd name="T8" fmla="*/ 305 w 430"/>
                  <a:gd name="T9" fmla="*/ 271 h 779"/>
                  <a:gd name="T10" fmla="*/ 269 w 430"/>
                  <a:gd name="T11" fmla="*/ 154 h 779"/>
                  <a:gd name="T12" fmla="*/ 222 w 430"/>
                  <a:gd name="T13" fmla="*/ 129 h 779"/>
                  <a:gd name="T14" fmla="*/ 200 w 430"/>
                  <a:gd name="T15" fmla="*/ 80 h 779"/>
                  <a:gd name="T16" fmla="*/ 165 w 430"/>
                  <a:gd name="T17" fmla="*/ 4 h 779"/>
                  <a:gd name="T18" fmla="*/ 162 w 430"/>
                  <a:gd name="T19" fmla="*/ 0 h 779"/>
                  <a:gd name="T20" fmla="*/ 129 w 430"/>
                  <a:gd name="T21" fmla="*/ 21 h 779"/>
                  <a:gd name="T22" fmla="*/ 124 w 430"/>
                  <a:gd name="T23" fmla="*/ 64 h 779"/>
                  <a:gd name="T24" fmla="*/ 130 w 430"/>
                  <a:gd name="T25" fmla="*/ 90 h 779"/>
                  <a:gd name="T26" fmla="*/ 115 w 430"/>
                  <a:gd name="T27" fmla="*/ 128 h 779"/>
                  <a:gd name="T28" fmla="*/ 80 w 430"/>
                  <a:gd name="T29" fmla="*/ 124 h 779"/>
                  <a:gd name="T30" fmla="*/ 44 w 430"/>
                  <a:gd name="T31" fmla="*/ 130 h 779"/>
                  <a:gd name="T32" fmla="*/ 4 w 430"/>
                  <a:gd name="T33" fmla="*/ 106 h 779"/>
                  <a:gd name="T34" fmla="*/ 0 w 430"/>
                  <a:gd name="T35" fmla="*/ 119 h 779"/>
                  <a:gd name="T36" fmla="*/ 39 w 430"/>
                  <a:gd name="T37" fmla="*/ 150 h 779"/>
                  <a:gd name="T38" fmla="*/ 78 w 430"/>
                  <a:gd name="T39" fmla="*/ 168 h 779"/>
                  <a:gd name="T40" fmla="*/ 94 w 430"/>
                  <a:gd name="T41" fmla="*/ 207 h 779"/>
                  <a:gd name="T42" fmla="*/ 102 w 430"/>
                  <a:gd name="T43" fmla="*/ 218 h 779"/>
                  <a:gd name="T44" fmla="*/ 115 w 430"/>
                  <a:gd name="T45" fmla="*/ 293 h 779"/>
                  <a:gd name="T46" fmla="*/ 158 w 430"/>
                  <a:gd name="T47" fmla="*/ 342 h 779"/>
                  <a:gd name="T48" fmla="*/ 180 w 430"/>
                  <a:gd name="T49" fmla="*/ 346 h 779"/>
                  <a:gd name="T50" fmla="*/ 183 w 430"/>
                  <a:gd name="T51" fmla="*/ 391 h 779"/>
                  <a:gd name="T52" fmla="*/ 168 w 430"/>
                  <a:gd name="T53" fmla="*/ 403 h 779"/>
                  <a:gd name="T54" fmla="*/ 158 w 430"/>
                  <a:gd name="T55" fmla="*/ 437 h 779"/>
                  <a:gd name="T56" fmla="*/ 152 w 430"/>
                  <a:gd name="T57" fmla="*/ 466 h 779"/>
                  <a:gd name="T58" fmla="*/ 123 w 430"/>
                  <a:gd name="T59" fmla="*/ 495 h 779"/>
                  <a:gd name="T60" fmla="*/ 121 w 430"/>
                  <a:gd name="T61" fmla="*/ 518 h 779"/>
                  <a:gd name="T62" fmla="*/ 107 w 430"/>
                  <a:gd name="T63" fmla="*/ 533 h 779"/>
                  <a:gd name="T64" fmla="*/ 87 w 430"/>
                  <a:gd name="T65" fmla="*/ 572 h 779"/>
                  <a:gd name="T66" fmla="*/ 95 w 430"/>
                  <a:gd name="T67" fmla="*/ 597 h 779"/>
                  <a:gd name="T68" fmla="*/ 100 w 430"/>
                  <a:gd name="T69" fmla="*/ 602 h 779"/>
                  <a:gd name="T70" fmla="*/ 112 w 430"/>
                  <a:gd name="T71" fmla="*/ 641 h 779"/>
                  <a:gd name="T72" fmla="*/ 115 w 430"/>
                  <a:gd name="T73" fmla="*/ 648 h 779"/>
                  <a:gd name="T74" fmla="*/ 114 w 430"/>
                  <a:gd name="T75" fmla="*/ 665 h 779"/>
                  <a:gd name="T76" fmla="*/ 123 w 430"/>
                  <a:gd name="T77" fmla="*/ 684 h 779"/>
                  <a:gd name="T78" fmla="*/ 115 w 430"/>
                  <a:gd name="T79" fmla="*/ 697 h 779"/>
                  <a:gd name="T80" fmla="*/ 125 w 430"/>
                  <a:gd name="T81" fmla="*/ 731 h 779"/>
                  <a:gd name="T82" fmla="*/ 151 w 430"/>
                  <a:gd name="T83" fmla="*/ 735 h 779"/>
                  <a:gd name="T84" fmla="*/ 166 w 430"/>
                  <a:gd name="T85" fmla="*/ 740 h 779"/>
                  <a:gd name="T86" fmla="*/ 171 w 430"/>
                  <a:gd name="T87" fmla="*/ 752 h 779"/>
                  <a:gd name="T88" fmla="*/ 192 w 430"/>
                  <a:gd name="T89" fmla="*/ 760 h 779"/>
                  <a:gd name="T90" fmla="*/ 202 w 430"/>
                  <a:gd name="T91" fmla="*/ 760 h 779"/>
                  <a:gd name="T92" fmla="*/ 189 w 430"/>
                  <a:gd name="T93" fmla="*/ 778 h 779"/>
                  <a:gd name="T94" fmla="*/ 220 w 430"/>
                  <a:gd name="T95" fmla="*/ 761 h 779"/>
                  <a:gd name="T96" fmla="*/ 245 w 430"/>
                  <a:gd name="T97" fmla="*/ 740 h 779"/>
                  <a:gd name="T98" fmla="*/ 259 w 430"/>
                  <a:gd name="T99" fmla="*/ 734 h 779"/>
                  <a:gd name="T100" fmla="*/ 281 w 430"/>
                  <a:gd name="T101" fmla="*/ 716 h 779"/>
                  <a:gd name="T102" fmla="*/ 301 w 430"/>
                  <a:gd name="T103" fmla="*/ 705 h 779"/>
                  <a:gd name="T104" fmla="*/ 317 w 430"/>
                  <a:gd name="T105" fmla="*/ 704 h 779"/>
                  <a:gd name="T106" fmla="*/ 332 w 430"/>
                  <a:gd name="T107" fmla="*/ 692 h 779"/>
                  <a:gd name="T108" fmla="*/ 354 w 430"/>
                  <a:gd name="T109" fmla="*/ 686 h 7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30" h="779">
                    <a:moveTo>
                      <a:pt x="353" y="684"/>
                    </a:moveTo>
                    <a:cubicBezTo>
                      <a:pt x="357" y="671"/>
                      <a:pt x="368" y="657"/>
                      <a:pt x="374" y="646"/>
                    </a:cubicBezTo>
                    <a:cubicBezTo>
                      <a:pt x="392" y="615"/>
                      <a:pt x="403" y="579"/>
                      <a:pt x="415" y="546"/>
                    </a:cubicBezTo>
                    <a:cubicBezTo>
                      <a:pt x="424" y="521"/>
                      <a:pt x="426" y="515"/>
                      <a:pt x="428" y="489"/>
                    </a:cubicBezTo>
                    <a:cubicBezTo>
                      <a:pt x="428" y="485"/>
                      <a:pt x="430" y="481"/>
                      <a:pt x="429" y="477"/>
                    </a:cubicBezTo>
                    <a:cubicBezTo>
                      <a:pt x="424" y="464"/>
                      <a:pt x="374" y="445"/>
                      <a:pt x="361" y="436"/>
                    </a:cubicBezTo>
                    <a:cubicBezTo>
                      <a:pt x="359" y="435"/>
                      <a:pt x="379" y="404"/>
                      <a:pt x="365" y="393"/>
                    </a:cubicBezTo>
                    <a:cubicBezTo>
                      <a:pt x="360" y="389"/>
                      <a:pt x="349" y="393"/>
                      <a:pt x="346" y="387"/>
                    </a:cubicBezTo>
                    <a:cubicBezTo>
                      <a:pt x="331" y="362"/>
                      <a:pt x="349" y="374"/>
                      <a:pt x="345" y="366"/>
                    </a:cubicBezTo>
                    <a:cubicBezTo>
                      <a:pt x="338" y="356"/>
                      <a:pt x="331" y="364"/>
                      <a:pt x="322" y="354"/>
                    </a:cubicBezTo>
                    <a:cubicBezTo>
                      <a:pt x="315" y="346"/>
                      <a:pt x="320" y="345"/>
                      <a:pt x="324" y="337"/>
                    </a:cubicBezTo>
                    <a:cubicBezTo>
                      <a:pt x="326" y="332"/>
                      <a:pt x="313" y="332"/>
                      <a:pt x="313" y="330"/>
                    </a:cubicBezTo>
                    <a:cubicBezTo>
                      <a:pt x="313" y="326"/>
                      <a:pt x="313" y="305"/>
                      <a:pt x="313" y="305"/>
                    </a:cubicBezTo>
                    <a:cubicBezTo>
                      <a:pt x="301" y="295"/>
                      <a:pt x="315" y="301"/>
                      <a:pt x="319" y="297"/>
                    </a:cubicBezTo>
                    <a:cubicBezTo>
                      <a:pt x="321" y="293"/>
                      <a:pt x="307" y="273"/>
                      <a:pt x="305" y="271"/>
                    </a:cubicBezTo>
                    <a:cubicBezTo>
                      <a:pt x="296" y="258"/>
                      <a:pt x="285" y="243"/>
                      <a:pt x="274" y="231"/>
                    </a:cubicBezTo>
                    <a:cubicBezTo>
                      <a:pt x="272" y="230"/>
                      <a:pt x="263" y="223"/>
                      <a:pt x="261" y="219"/>
                    </a:cubicBezTo>
                    <a:cubicBezTo>
                      <a:pt x="253" y="204"/>
                      <a:pt x="280" y="163"/>
                      <a:pt x="269" y="154"/>
                    </a:cubicBezTo>
                    <a:cubicBezTo>
                      <a:pt x="266" y="150"/>
                      <a:pt x="261" y="150"/>
                      <a:pt x="258" y="148"/>
                    </a:cubicBezTo>
                    <a:cubicBezTo>
                      <a:pt x="252" y="144"/>
                      <a:pt x="249" y="136"/>
                      <a:pt x="242" y="132"/>
                    </a:cubicBezTo>
                    <a:cubicBezTo>
                      <a:pt x="242" y="132"/>
                      <a:pt x="223" y="129"/>
                      <a:pt x="222" y="129"/>
                    </a:cubicBezTo>
                    <a:cubicBezTo>
                      <a:pt x="219" y="126"/>
                      <a:pt x="218" y="121"/>
                      <a:pt x="215" y="117"/>
                    </a:cubicBezTo>
                    <a:cubicBezTo>
                      <a:pt x="203" y="97"/>
                      <a:pt x="218" y="99"/>
                      <a:pt x="211" y="84"/>
                    </a:cubicBezTo>
                    <a:cubicBezTo>
                      <a:pt x="209" y="77"/>
                      <a:pt x="198" y="84"/>
                      <a:pt x="200" y="80"/>
                    </a:cubicBezTo>
                    <a:cubicBezTo>
                      <a:pt x="203" y="74"/>
                      <a:pt x="207" y="71"/>
                      <a:pt x="210" y="67"/>
                    </a:cubicBezTo>
                    <a:cubicBezTo>
                      <a:pt x="192" y="58"/>
                      <a:pt x="216" y="45"/>
                      <a:pt x="209" y="32"/>
                    </a:cubicBezTo>
                    <a:cubicBezTo>
                      <a:pt x="197" y="12"/>
                      <a:pt x="180" y="20"/>
                      <a:pt x="165" y="4"/>
                    </a:cubicBezTo>
                    <a:cubicBezTo>
                      <a:pt x="164" y="1"/>
                      <a:pt x="164" y="1"/>
                      <a:pt x="164" y="1"/>
                    </a:cubicBezTo>
                    <a:cubicBezTo>
                      <a:pt x="164" y="1"/>
                      <a:pt x="163" y="1"/>
                      <a:pt x="163" y="2"/>
                    </a:cubicBezTo>
                    <a:cubicBezTo>
                      <a:pt x="163" y="1"/>
                      <a:pt x="162" y="1"/>
                      <a:pt x="162" y="0"/>
                    </a:cubicBezTo>
                    <a:cubicBezTo>
                      <a:pt x="162" y="2"/>
                      <a:pt x="162" y="2"/>
                      <a:pt x="162" y="2"/>
                    </a:cubicBezTo>
                    <a:cubicBezTo>
                      <a:pt x="151" y="4"/>
                      <a:pt x="153" y="17"/>
                      <a:pt x="143" y="20"/>
                    </a:cubicBezTo>
                    <a:cubicBezTo>
                      <a:pt x="135" y="22"/>
                      <a:pt x="138" y="10"/>
                      <a:pt x="129" y="21"/>
                    </a:cubicBezTo>
                    <a:cubicBezTo>
                      <a:pt x="128" y="22"/>
                      <a:pt x="129" y="25"/>
                      <a:pt x="128" y="28"/>
                    </a:cubicBezTo>
                    <a:cubicBezTo>
                      <a:pt x="128" y="28"/>
                      <a:pt x="121" y="40"/>
                      <a:pt x="121" y="41"/>
                    </a:cubicBezTo>
                    <a:cubicBezTo>
                      <a:pt x="120" y="45"/>
                      <a:pt x="123" y="60"/>
                      <a:pt x="124" y="64"/>
                    </a:cubicBezTo>
                    <a:cubicBezTo>
                      <a:pt x="124" y="65"/>
                      <a:pt x="123" y="67"/>
                      <a:pt x="123" y="68"/>
                    </a:cubicBezTo>
                    <a:cubicBezTo>
                      <a:pt x="123" y="72"/>
                      <a:pt x="123" y="74"/>
                      <a:pt x="124" y="78"/>
                    </a:cubicBezTo>
                    <a:cubicBezTo>
                      <a:pt x="125" y="82"/>
                      <a:pt x="129" y="86"/>
                      <a:pt x="130" y="90"/>
                    </a:cubicBezTo>
                    <a:cubicBezTo>
                      <a:pt x="133" y="110"/>
                      <a:pt x="128" y="97"/>
                      <a:pt x="121" y="103"/>
                    </a:cubicBezTo>
                    <a:cubicBezTo>
                      <a:pt x="113" y="111"/>
                      <a:pt x="120" y="113"/>
                      <a:pt x="118" y="123"/>
                    </a:cubicBezTo>
                    <a:cubicBezTo>
                      <a:pt x="117" y="125"/>
                      <a:pt x="115" y="126"/>
                      <a:pt x="115" y="128"/>
                    </a:cubicBezTo>
                    <a:cubicBezTo>
                      <a:pt x="115" y="129"/>
                      <a:pt x="107" y="122"/>
                      <a:pt x="106" y="121"/>
                    </a:cubicBezTo>
                    <a:cubicBezTo>
                      <a:pt x="104" y="120"/>
                      <a:pt x="84" y="113"/>
                      <a:pt x="82" y="115"/>
                    </a:cubicBezTo>
                    <a:cubicBezTo>
                      <a:pt x="80" y="117"/>
                      <a:pt x="81" y="122"/>
                      <a:pt x="80" y="124"/>
                    </a:cubicBezTo>
                    <a:cubicBezTo>
                      <a:pt x="73" y="136"/>
                      <a:pt x="64" y="129"/>
                      <a:pt x="54" y="131"/>
                    </a:cubicBezTo>
                    <a:cubicBezTo>
                      <a:pt x="51" y="131"/>
                      <a:pt x="48" y="132"/>
                      <a:pt x="46" y="132"/>
                    </a:cubicBezTo>
                    <a:cubicBezTo>
                      <a:pt x="44" y="130"/>
                      <a:pt x="44" y="130"/>
                      <a:pt x="44" y="130"/>
                    </a:cubicBezTo>
                    <a:cubicBezTo>
                      <a:pt x="43" y="128"/>
                      <a:pt x="43" y="124"/>
                      <a:pt x="42" y="122"/>
                    </a:cubicBezTo>
                    <a:cubicBezTo>
                      <a:pt x="38" y="115"/>
                      <a:pt x="25" y="98"/>
                      <a:pt x="18" y="94"/>
                    </a:cubicBezTo>
                    <a:cubicBezTo>
                      <a:pt x="3" y="85"/>
                      <a:pt x="3" y="97"/>
                      <a:pt x="4" y="106"/>
                    </a:cubicBezTo>
                    <a:cubicBezTo>
                      <a:pt x="0" y="118"/>
                      <a:pt x="0" y="118"/>
                      <a:pt x="0" y="118"/>
                    </a:cubicBezTo>
                    <a:cubicBezTo>
                      <a:pt x="1" y="118"/>
                      <a:pt x="1" y="118"/>
                      <a:pt x="1" y="118"/>
                    </a:cubicBezTo>
                    <a:cubicBezTo>
                      <a:pt x="0" y="119"/>
                      <a:pt x="0" y="119"/>
                      <a:pt x="0" y="119"/>
                    </a:cubicBezTo>
                    <a:cubicBezTo>
                      <a:pt x="3" y="121"/>
                      <a:pt x="3" y="121"/>
                      <a:pt x="3" y="121"/>
                    </a:cubicBezTo>
                    <a:cubicBezTo>
                      <a:pt x="2" y="123"/>
                      <a:pt x="0" y="123"/>
                      <a:pt x="3" y="125"/>
                    </a:cubicBezTo>
                    <a:cubicBezTo>
                      <a:pt x="12" y="132"/>
                      <a:pt x="29" y="146"/>
                      <a:pt x="39" y="150"/>
                    </a:cubicBezTo>
                    <a:cubicBezTo>
                      <a:pt x="51" y="155"/>
                      <a:pt x="60" y="151"/>
                      <a:pt x="71" y="162"/>
                    </a:cubicBezTo>
                    <a:cubicBezTo>
                      <a:pt x="73" y="163"/>
                      <a:pt x="72" y="168"/>
                      <a:pt x="74" y="170"/>
                    </a:cubicBezTo>
                    <a:cubicBezTo>
                      <a:pt x="76" y="170"/>
                      <a:pt x="77" y="167"/>
                      <a:pt x="78" y="168"/>
                    </a:cubicBezTo>
                    <a:cubicBezTo>
                      <a:pt x="82" y="170"/>
                      <a:pt x="84" y="175"/>
                      <a:pt x="87" y="179"/>
                    </a:cubicBezTo>
                    <a:cubicBezTo>
                      <a:pt x="89" y="180"/>
                      <a:pt x="92" y="180"/>
                      <a:pt x="91" y="181"/>
                    </a:cubicBezTo>
                    <a:cubicBezTo>
                      <a:pt x="85" y="193"/>
                      <a:pt x="92" y="194"/>
                      <a:pt x="94" y="207"/>
                    </a:cubicBezTo>
                    <a:cubicBezTo>
                      <a:pt x="94" y="210"/>
                      <a:pt x="92" y="212"/>
                      <a:pt x="92" y="214"/>
                    </a:cubicBezTo>
                    <a:cubicBezTo>
                      <a:pt x="91" y="215"/>
                      <a:pt x="91" y="215"/>
                      <a:pt x="91" y="215"/>
                    </a:cubicBezTo>
                    <a:cubicBezTo>
                      <a:pt x="91" y="220"/>
                      <a:pt x="100" y="216"/>
                      <a:pt x="102" y="218"/>
                    </a:cubicBezTo>
                    <a:cubicBezTo>
                      <a:pt x="110" y="224"/>
                      <a:pt x="98" y="232"/>
                      <a:pt x="101" y="237"/>
                    </a:cubicBezTo>
                    <a:cubicBezTo>
                      <a:pt x="104" y="245"/>
                      <a:pt x="118" y="253"/>
                      <a:pt x="119" y="262"/>
                    </a:cubicBezTo>
                    <a:cubicBezTo>
                      <a:pt x="120" y="269"/>
                      <a:pt x="115" y="290"/>
                      <a:pt x="115" y="293"/>
                    </a:cubicBezTo>
                    <a:cubicBezTo>
                      <a:pt x="120" y="311"/>
                      <a:pt x="133" y="317"/>
                      <a:pt x="140" y="332"/>
                    </a:cubicBezTo>
                    <a:cubicBezTo>
                      <a:pt x="142" y="328"/>
                      <a:pt x="145" y="325"/>
                      <a:pt x="153" y="329"/>
                    </a:cubicBezTo>
                    <a:cubicBezTo>
                      <a:pt x="156" y="331"/>
                      <a:pt x="154" y="339"/>
                      <a:pt x="158" y="342"/>
                    </a:cubicBezTo>
                    <a:cubicBezTo>
                      <a:pt x="162" y="344"/>
                      <a:pt x="166" y="339"/>
                      <a:pt x="170" y="340"/>
                    </a:cubicBezTo>
                    <a:cubicBezTo>
                      <a:pt x="172" y="340"/>
                      <a:pt x="172" y="344"/>
                      <a:pt x="173" y="345"/>
                    </a:cubicBezTo>
                    <a:cubicBezTo>
                      <a:pt x="176" y="347"/>
                      <a:pt x="176" y="340"/>
                      <a:pt x="180" y="346"/>
                    </a:cubicBezTo>
                    <a:cubicBezTo>
                      <a:pt x="186" y="359"/>
                      <a:pt x="181" y="370"/>
                      <a:pt x="184" y="376"/>
                    </a:cubicBezTo>
                    <a:cubicBezTo>
                      <a:pt x="185" y="381"/>
                      <a:pt x="201" y="369"/>
                      <a:pt x="194" y="386"/>
                    </a:cubicBezTo>
                    <a:cubicBezTo>
                      <a:pt x="192" y="390"/>
                      <a:pt x="186" y="389"/>
                      <a:pt x="183" y="391"/>
                    </a:cubicBezTo>
                    <a:cubicBezTo>
                      <a:pt x="180" y="393"/>
                      <a:pt x="176" y="395"/>
                      <a:pt x="173" y="398"/>
                    </a:cubicBezTo>
                    <a:cubicBezTo>
                      <a:pt x="172" y="399"/>
                      <a:pt x="174" y="402"/>
                      <a:pt x="173" y="403"/>
                    </a:cubicBezTo>
                    <a:cubicBezTo>
                      <a:pt x="172" y="404"/>
                      <a:pt x="169" y="402"/>
                      <a:pt x="168" y="403"/>
                    </a:cubicBezTo>
                    <a:cubicBezTo>
                      <a:pt x="167" y="407"/>
                      <a:pt x="166" y="412"/>
                      <a:pt x="166" y="416"/>
                    </a:cubicBezTo>
                    <a:cubicBezTo>
                      <a:pt x="166" y="419"/>
                      <a:pt x="168" y="422"/>
                      <a:pt x="167" y="425"/>
                    </a:cubicBezTo>
                    <a:cubicBezTo>
                      <a:pt x="166" y="430"/>
                      <a:pt x="159" y="432"/>
                      <a:pt x="158" y="437"/>
                    </a:cubicBezTo>
                    <a:cubicBezTo>
                      <a:pt x="157" y="440"/>
                      <a:pt x="160" y="444"/>
                      <a:pt x="159" y="447"/>
                    </a:cubicBezTo>
                    <a:cubicBezTo>
                      <a:pt x="156" y="453"/>
                      <a:pt x="150" y="452"/>
                      <a:pt x="149" y="460"/>
                    </a:cubicBezTo>
                    <a:cubicBezTo>
                      <a:pt x="149" y="462"/>
                      <a:pt x="152" y="464"/>
                      <a:pt x="152" y="466"/>
                    </a:cubicBezTo>
                    <a:cubicBezTo>
                      <a:pt x="150" y="477"/>
                      <a:pt x="135" y="475"/>
                      <a:pt x="134" y="485"/>
                    </a:cubicBezTo>
                    <a:cubicBezTo>
                      <a:pt x="134" y="489"/>
                      <a:pt x="131" y="499"/>
                      <a:pt x="130" y="499"/>
                    </a:cubicBezTo>
                    <a:cubicBezTo>
                      <a:pt x="128" y="499"/>
                      <a:pt x="125" y="494"/>
                      <a:pt x="123" y="495"/>
                    </a:cubicBezTo>
                    <a:cubicBezTo>
                      <a:pt x="118" y="500"/>
                      <a:pt x="126" y="511"/>
                      <a:pt x="121" y="515"/>
                    </a:cubicBezTo>
                    <a:cubicBezTo>
                      <a:pt x="119" y="516"/>
                      <a:pt x="116" y="508"/>
                      <a:pt x="116" y="511"/>
                    </a:cubicBezTo>
                    <a:cubicBezTo>
                      <a:pt x="116" y="514"/>
                      <a:pt x="120" y="515"/>
                      <a:pt x="121" y="518"/>
                    </a:cubicBezTo>
                    <a:cubicBezTo>
                      <a:pt x="127" y="536"/>
                      <a:pt x="120" y="524"/>
                      <a:pt x="112" y="533"/>
                    </a:cubicBezTo>
                    <a:cubicBezTo>
                      <a:pt x="110" y="535"/>
                      <a:pt x="113" y="541"/>
                      <a:pt x="111" y="541"/>
                    </a:cubicBezTo>
                    <a:cubicBezTo>
                      <a:pt x="108" y="540"/>
                      <a:pt x="110" y="533"/>
                      <a:pt x="107" y="533"/>
                    </a:cubicBezTo>
                    <a:cubicBezTo>
                      <a:pt x="102" y="532"/>
                      <a:pt x="97" y="533"/>
                      <a:pt x="94" y="537"/>
                    </a:cubicBezTo>
                    <a:cubicBezTo>
                      <a:pt x="85" y="553"/>
                      <a:pt x="104" y="542"/>
                      <a:pt x="103" y="551"/>
                    </a:cubicBezTo>
                    <a:cubicBezTo>
                      <a:pt x="102" y="557"/>
                      <a:pt x="87" y="566"/>
                      <a:pt x="87" y="572"/>
                    </a:cubicBezTo>
                    <a:cubicBezTo>
                      <a:pt x="84" y="610"/>
                      <a:pt x="87" y="571"/>
                      <a:pt x="93" y="585"/>
                    </a:cubicBezTo>
                    <a:cubicBezTo>
                      <a:pt x="94" y="586"/>
                      <a:pt x="88" y="596"/>
                      <a:pt x="93" y="599"/>
                    </a:cubicBezTo>
                    <a:cubicBezTo>
                      <a:pt x="93" y="600"/>
                      <a:pt x="94" y="597"/>
                      <a:pt x="95" y="597"/>
                    </a:cubicBezTo>
                    <a:cubicBezTo>
                      <a:pt x="96" y="599"/>
                      <a:pt x="94" y="603"/>
                      <a:pt x="97" y="604"/>
                    </a:cubicBezTo>
                    <a:cubicBezTo>
                      <a:pt x="98" y="604"/>
                      <a:pt x="95" y="598"/>
                      <a:pt x="97" y="598"/>
                    </a:cubicBezTo>
                    <a:cubicBezTo>
                      <a:pt x="99" y="598"/>
                      <a:pt x="99" y="600"/>
                      <a:pt x="100" y="602"/>
                    </a:cubicBezTo>
                    <a:cubicBezTo>
                      <a:pt x="103" y="611"/>
                      <a:pt x="99" y="626"/>
                      <a:pt x="101" y="629"/>
                    </a:cubicBezTo>
                    <a:cubicBezTo>
                      <a:pt x="102" y="631"/>
                      <a:pt x="106" y="630"/>
                      <a:pt x="107" y="632"/>
                    </a:cubicBezTo>
                    <a:cubicBezTo>
                      <a:pt x="110" y="635"/>
                      <a:pt x="111" y="638"/>
                      <a:pt x="112" y="641"/>
                    </a:cubicBezTo>
                    <a:cubicBezTo>
                      <a:pt x="113" y="642"/>
                      <a:pt x="112" y="644"/>
                      <a:pt x="112" y="645"/>
                    </a:cubicBezTo>
                    <a:cubicBezTo>
                      <a:pt x="113" y="647"/>
                      <a:pt x="116" y="647"/>
                      <a:pt x="117" y="648"/>
                    </a:cubicBezTo>
                    <a:cubicBezTo>
                      <a:pt x="117" y="648"/>
                      <a:pt x="115" y="648"/>
                      <a:pt x="115" y="648"/>
                    </a:cubicBezTo>
                    <a:cubicBezTo>
                      <a:pt x="114" y="649"/>
                      <a:pt x="115" y="650"/>
                      <a:pt x="116" y="652"/>
                    </a:cubicBezTo>
                    <a:cubicBezTo>
                      <a:pt x="119" y="655"/>
                      <a:pt x="125" y="657"/>
                      <a:pt x="124" y="661"/>
                    </a:cubicBezTo>
                    <a:cubicBezTo>
                      <a:pt x="124" y="664"/>
                      <a:pt x="115" y="661"/>
                      <a:pt x="114" y="665"/>
                    </a:cubicBezTo>
                    <a:cubicBezTo>
                      <a:pt x="113" y="669"/>
                      <a:pt x="120" y="672"/>
                      <a:pt x="121" y="676"/>
                    </a:cubicBezTo>
                    <a:cubicBezTo>
                      <a:pt x="121" y="678"/>
                      <a:pt x="119" y="679"/>
                      <a:pt x="119" y="682"/>
                    </a:cubicBezTo>
                    <a:cubicBezTo>
                      <a:pt x="120" y="683"/>
                      <a:pt x="123" y="683"/>
                      <a:pt x="123" y="684"/>
                    </a:cubicBezTo>
                    <a:cubicBezTo>
                      <a:pt x="123" y="692"/>
                      <a:pt x="117" y="684"/>
                      <a:pt x="119" y="690"/>
                    </a:cubicBezTo>
                    <a:cubicBezTo>
                      <a:pt x="120" y="692"/>
                      <a:pt x="123" y="694"/>
                      <a:pt x="122" y="696"/>
                    </a:cubicBezTo>
                    <a:cubicBezTo>
                      <a:pt x="121" y="698"/>
                      <a:pt x="116" y="695"/>
                      <a:pt x="115" y="697"/>
                    </a:cubicBezTo>
                    <a:cubicBezTo>
                      <a:pt x="115" y="712"/>
                      <a:pt x="121" y="713"/>
                      <a:pt x="125" y="720"/>
                    </a:cubicBezTo>
                    <a:cubicBezTo>
                      <a:pt x="127" y="721"/>
                      <a:pt x="121" y="722"/>
                      <a:pt x="122" y="723"/>
                    </a:cubicBezTo>
                    <a:cubicBezTo>
                      <a:pt x="123" y="726"/>
                      <a:pt x="124" y="729"/>
                      <a:pt x="125" y="731"/>
                    </a:cubicBezTo>
                    <a:cubicBezTo>
                      <a:pt x="138" y="747"/>
                      <a:pt x="128" y="730"/>
                      <a:pt x="140" y="728"/>
                    </a:cubicBezTo>
                    <a:cubicBezTo>
                      <a:pt x="142" y="728"/>
                      <a:pt x="138" y="734"/>
                      <a:pt x="140" y="736"/>
                    </a:cubicBezTo>
                    <a:cubicBezTo>
                      <a:pt x="143" y="738"/>
                      <a:pt x="147" y="735"/>
                      <a:pt x="151" y="735"/>
                    </a:cubicBezTo>
                    <a:cubicBezTo>
                      <a:pt x="155" y="735"/>
                      <a:pt x="156" y="741"/>
                      <a:pt x="159" y="741"/>
                    </a:cubicBezTo>
                    <a:cubicBezTo>
                      <a:pt x="162" y="741"/>
                      <a:pt x="163" y="738"/>
                      <a:pt x="166" y="738"/>
                    </a:cubicBezTo>
                    <a:cubicBezTo>
                      <a:pt x="167" y="737"/>
                      <a:pt x="166" y="739"/>
                      <a:pt x="166" y="740"/>
                    </a:cubicBezTo>
                    <a:cubicBezTo>
                      <a:pt x="168" y="740"/>
                      <a:pt x="169" y="740"/>
                      <a:pt x="171" y="739"/>
                    </a:cubicBezTo>
                    <a:cubicBezTo>
                      <a:pt x="171" y="739"/>
                      <a:pt x="171" y="735"/>
                      <a:pt x="172" y="736"/>
                    </a:cubicBezTo>
                    <a:cubicBezTo>
                      <a:pt x="177" y="749"/>
                      <a:pt x="168" y="751"/>
                      <a:pt x="171" y="752"/>
                    </a:cubicBezTo>
                    <a:cubicBezTo>
                      <a:pt x="172" y="752"/>
                      <a:pt x="185" y="742"/>
                      <a:pt x="186" y="741"/>
                    </a:cubicBezTo>
                    <a:cubicBezTo>
                      <a:pt x="187" y="740"/>
                      <a:pt x="188" y="738"/>
                      <a:pt x="189" y="737"/>
                    </a:cubicBezTo>
                    <a:cubicBezTo>
                      <a:pt x="186" y="746"/>
                      <a:pt x="179" y="755"/>
                      <a:pt x="192" y="760"/>
                    </a:cubicBezTo>
                    <a:cubicBezTo>
                      <a:pt x="194" y="761"/>
                      <a:pt x="199" y="756"/>
                      <a:pt x="200" y="759"/>
                    </a:cubicBezTo>
                    <a:cubicBezTo>
                      <a:pt x="201" y="762"/>
                      <a:pt x="192" y="767"/>
                      <a:pt x="196" y="768"/>
                    </a:cubicBezTo>
                    <a:cubicBezTo>
                      <a:pt x="199" y="770"/>
                      <a:pt x="198" y="760"/>
                      <a:pt x="202" y="760"/>
                    </a:cubicBezTo>
                    <a:cubicBezTo>
                      <a:pt x="205" y="759"/>
                      <a:pt x="202" y="765"/>
                      <a:pt x="201" y="768"/>
                    </a:cubicBezTo>
                    <a:cubicBezTo>
                      <a:pt x="199" y="770"/>
                      <a:pt x="196" y="772"/>
                      <a:pt x="193" y="774"/>
                    </a:cubicBezTo>
                    <a:cubicBezTo>
                      <a:pt x="192" y="776"/>
                      <a:pt x="188" y="779"/>
                      <a:pt x="189" y="778"/>
                    </a:cubicBezTo>
                    <a:cubicBezTo>
                      <a:pt x="207" y="772"/>
                      <a:pt x="200" y="760"/>
                      <a:pt x="209" y="755"/>
                    </a:cubicBezTo>
                    <a:cubicBezTo>
                      <a:pt x="212" y="753"/>
                      <a:pt x="205" y="762"/>
                      <a:pt x="207" y="764"/>
                    </a:cubicBezTo>
                    <a:cubicBezTo>
                      <a:pt x="211" y="766"/>
                      <a:pt x="216" y="763"/>
                      <a:pt x="220" y="761"/>
                    </a:cubicBezTo>
                    <a:cubicBezTo>
                      <a:pt x="223" y="760"/>
                      <a:pt x="224" y="755"/>
                      <a:pt x="227" y="753"/>
                    </a:cubicBezTo>
                    <a:cubicBezTo>
                      <a:pt x="230" y="751"/>
                      <a:pt x="245" y="749"/>
                      <a:pt x="247" y="747"/>
                    </a:cubicBezTo>
                    <a:cubicBezTo>
                      <a:pt x="249" y="745"/>
                      <a:pt x="243" y="742"/>
                      <a:pt x="245" y="740"/>
                    </a:cubicBezTo>
                    <a:cubicBezTo>
                      <a:pt x="248" y="738"/>
                      <a:pt x="252" y="740"/>
                      <a:pt x="256" y="739"/>
                    </a:cubicBezTo>
                    <a:cubicBezTo>
                      <a:pt x="257" y="739"/>
                      <a:pt x="259" y="740"/>
                      <a:pt x="260" y="739"/>
                    </a:cubicBezTo>
                    <a:cubicBezTo>
                      <a:pt x="261" y="737"/>
                      <a:pt x="259" y="735"/>
                      <a:pt x="259" y="734"/>
                    </a:cubicBezTo>
                    <a:cubicBezTo>
                      <a:pt x="260" y="733"/>
                      <a:pt x="260" y="736"/>
                      <a:pt x="261" y="737"/>
                    </a:cubicBezTo>
                    <a:cubicBezTo>
                      <a:pt x="262" y="738"/>
                      <a:pt x="276" y="729"/>
                      <a:pt x="278" y="727"/>
                    </a:cubicBezTo>
                    <a:cubicBezTo>
                      <a:pt x="278" y="726"/>
                      <a:pt x="275" y="715"/>
                      <a:pt x="281" y="716"/>
                    </a:cubicBezTo>
                    <a:cubicBezTo>
                      <a:pt x="282" y="716"/>
                      <a:pt x="303" y="735"/>
                      <a:pt x="298" y="714"/>
                    </a:cubicBezTo>
                    <a:cubicBezTo>
                      <a:pt x="297" y="710"/>
                      <a:pt x="287" y="710"/>
                      <a:pt x="288" y="705"/>
                    </a:cubicBezTo>
                    <a:cubicBezTo>
                      <a:pt x="289" y="701"/>
                      <a:pt x="297" y="704"/>
                      <a:pt x="301" y="705"/>
                    </a:cubicBezTo>
                    <a:cubicBezTo>
                      <a:pt x="303" y="705"/>
                      <a:pt x="303" y="712"/>
                      <a:pt x="305" y="710"/>
                    </a:cubicBezTo>
                    <a:cubicBezTo>
                      <a:pt x="311" y="707"/>
                      <a:pt x="302" y="687"/>
                      <a:pt x="309" y="691"/>
                    </a:cubicBezTo>
                    <a:cubicBezTo>
                      <a:pt x="315" y="695"/>
                      <a:pt x="300" y="709"/>
                      <a:pt x="317" y="704"/>
                    </a:cubicBezTo>
                    <a:cubicBezTo>
                      <a:pt x="344" y="695"/>
                      <a:pt x="321" y="700"/>
                      <a:pt x="327" y="692"/>
                    </a:cubicBezTo>
                    <a:cubicBezTo>
                      <a:pt x="327" y="691"/>
                      <a:pt x="328" y="693"/>
                      <a:pt x="329" y="693"/>
                    </a:cubicBezTo>
                    <a:cubicBezTo>
                      <a:pt x="330" y="693"/>
                      <a:pt x="332" y="693"/>
                      <a:pt x="332" y="692"/>
                    </a:cubicBezTo>
                    <a:cubicBezTo>
                      <a:pt x="333" y="691"/>
                      <a:pt x="331" y="687"/>
                      <a:pt x="332" y="687"/>
                    </a:cubicBezTo>
                    <a:cubicBezTo>
                      <a:pt x="333" y="687"/>
                      <a:pt x="342" y="695"/>
                      <a:pt x="345" y="693"/>
                    </a:cubicBezTo>
                    <a:cubicBezTo>
                      <a:pt x="349" y="692"/>
                      <a:pt x="352" y="689"/>
                      <a:pt x="354" y="686"/>
                    </a:cubicBezTo>
                    <a:cubicBezTo>
                      <a:pt x="355" y="686"/>
                      <a:pt x="355" y="686"/>
                      <a:pt x="355" y="685"/>
                    </a:cubicBezTo>
                    <a:lnTo>
                      <a:pt x="353" y="684"/>
                    </a:lnTo>
                    <a:close/>
                  </a:path>
                </a:pathLst>
              </a:custGeom>
              <a:solidFill>
                <a:srgbClr val="D9D9D9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0" name="Germany" descr="{&quot;Key&quot;:&quot;germany&quot;,&quot;Name&quot;:&quot;Germany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57F3FBC7-F2A6-8B2C-5DEC-CE658A0524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21769" y="7327086"/>
                <a:ext cx="725678" cy="1027407"/>
              </a:xfrm>
              <a:custGeom>
                <a:avLst/>
                <a:gdLst>
                  <a:gd name="T0" fmla="*/ 408 w 434"/>
                  <a:gd name="T1" fmla="*/ 167 h 571"/>
                  <a:gd name="T2" fmla="*/ 417 w 434"/>
                  <a:gd name="T3" fmla="*/ 204 h 571"/>
                  <a:gd name="T4" fmla="*/ 427 w 434"/>
                  <a:gd name="T5" fmla="*/ 247 h 571"/>
                  <a:gd name="T6" fmla="*/ 382 w 434"/>
                  <a:gd name="T7" fmla="*/ 302 h 571"/>
                  <a:gd name="T8" fmla="*/ 359 w 434"/>
                  <a:gd name="T9" fmla="*/ 314 h 571"/>
                  <a:gd name="T10" fmla="*/ 331 w 434"/>
                  <a:gd name="T11" fmla="*/ 329 h 571"/>
                  <a:gd name="T12" fmla="*/ 316 w 434"/>
                  <a:gd name="T13" fmla="*/ 365 h 571"/>
                  <a:gd name="T14" fmla="*/ 346 w 434"/>
                  <a:gd name="T15" fmla="*/ 414 h 571"/>
                  <a:gd name="T16" fmla="*/ 369 w 434"/>
                  <a:gd name="T17" fmla="*/ 468 h 571"/>
                  <a:gd name="T18" fmla="*/ 345 w 434"/>
                  <a:gd name="T19" fmla="*/ 532 h 571"/>
                  <a:gd name="T20" fmla="*/ 325 w 434"/>
                  <a:gd name="T21" fmla="*/ 539 h 571"/>
                  <a:gd name="T22" fmla="*/ 309 w 434"/>
                  <a:gd name="T23" fmla="*/ 541 h 571"/>
                  <a:gd name="T24" fmla="*/ 270 w 434"/>
                  <a:gd name="T25" fmla="*/ 554 h 571"/>
                  <a:gd name="T26" fmla="*/ 245 w 434"/>
                  <a:gd name="T27" fmla="*/ 549 h 571"/>
                  <a:gd name="T28" fmla="*/ 208 w 434"/>
                  <a:gd name="T29" fmla="*/ 567 h 571"/>
                  <a:gd name="T30" fmla="*/ 203 w 434"/>
                  <a:gd name="T31" fmla="*/ 553 h 571"/>
                  <a:gd name="T32" fmla="*/ 179 w 434"/>
                  <a:gd name="T33" fmla="*/ 549 h 571"/>
                  <a:gd name="T34" fmla="*/ 139 w 434"/>
                  <a:gd name="T35" fmla="*/ 537 h 571"/>
                  <a:gd name="T36" fmla="*/ 129 w 434"/>
                  <a:gd name="T37" fmla="*/ 538 h 571"/>
                  <a:gd name="T38" fmla="*/ 79 w 434"/>
                  <a:gd name="T39" fmla="*/ 544 h 571"/>
                  <a:gd name="T40" fmla="*/ 78 w 434"/>
                  <a:gd name="T41" fmla="*/ 509 h 571"/>
                  <a:gd name="T42" fmla="*/ 113 w 434"/>
                  <a:gd name="T43" fmla="*/ 441 h 571"/>
                  <a:gd name="T44" fmla="*/ 55 w 434"/>
                  <a:gd name="T45" fmla="*/ 423 h 571"/>
                  <a:gd name="T46" fmla="*/ 32 w 434"/>
                  <a:gd name="T47" fmla="*/ 375 h 571"/>
                  <a:gd name="T48" fmla="*/ 23 w 434"/>
                  <a:gd name="T49" fmla="*/ 315 h 571"/>
                  <a:gd name="T50" fmla="*/ 6 w 434"/>
                  <a:gd name="T51" fmla="*/ 282 h 571"/>
                  <a:gd name="T52" fmla="*/ 23 w 434"/>
                  <a:gd name="T53" fmla="*/ 259 h 571"/>
                  <a:gd name="T54" fmla="*/ 23 w 434"/>
                  <a:gd name="T55" fmla="*/ 223 h 571"/>
                  <a:gd name="T56" fmla="*/ 48 w 434"/>
                  <a:gd name="T57" fmla="*/ 208 h 571"/>
                  <a:gd name="T58" fmla="*/ 51 w 434"/>
                  <a:gd name="T59" fmla="*/ 166 h 571"/>
                  <a:gd name="T60" fmla="*/ 77 w 434"/>
                  <a:gd name="T61" fmla="*/ 122 h 571"/>
                  <a:gd name="T62" fmla="*/ 68 w 434"/>
                  <a:gd name="T63" fmla="*/ 115 h 571"/>
                  <a:gd name="T64" fmla="*/ 113 w 434"/>
                  <a:gd name="T65" fmla="*/ 89 h 571"/>
                  <a:gd name="T66" fmla="*/ 150 w 434"/>
                  <a:gd name="T67" fmla="*/ 80 h 571"/>
                  <a:gd name="T68" fmla="*/ 180 w 434"/>
                  <a:gd name="T69" fmla="*/ 96 h 571"/>
                  <a:gd name="T70" fmla="*/ 139 w 434"/>
                  <a:gd name="T71" fmla="*/ 42 h 571"/>
                  <a:gd name="T72" fmla="*/ 142 w 434"/>
                  <a:gd name="T73" fmla="*/ 13 h 571"/>
                  <a:gd name="T74" fmla="*/ 175 w 434"/>
                  <a:gd name="T75" fmla="*/ 8 h 571"/>
                  <a:gd name="T76" fmla="*/ 197 w 434"/>
                  <a:gd name="T77" fmla="*/ 11 h 571"/>
                  <a:gd name="T78" fmla="*/ 200 w 434"/>
                  <a:gd name="T79" fmla="*/ 18 h 571"/>
                  <a:gd name="T80" fmla="*/ 205 w 434"/>
                  <a:gd name="T81" fmla="*/ 44 h 571"/>
                  <a:gd name="T82" fmla="*/ 238 w 434"/>
                  <a:gd name="T83" fmla="*/ 71 h 571"/>
                  <a:gd name="T84" fmla="*/ 291 w 434"/>
                  <a:gd name="T85" fmla="*/ 58 h 571"/>
                  <a:gd name="T86" fmla="*/ 324 w 434"/>
                  <a:gd name="T87" fmla="*/ 34 h 571"/>
                  <a:gd name="T88" fmla="*/ 352 w 434"/>
                  <a:gd name="T89" fmla="*/ 58 h 571"/>
                  <a:gd name="T90" fmla="*/ 378 w 434"/>
                  <a:gd name="T91" fmla="*/ 82 h 571"/>
                  <a:gd name="T92" fmla="*/ 350 w 434"/>
                  <a:gd name="T93" fmla="*/ 28 h 571"/>
                  <a:gd name="T94" fmla="*/ 357 w 434"/>
                  <a:gd name="T95" fmla="*/ 21 h 571"/>
                  <a:gd name="T96" fmla="*/ 334 w 434"/>
                  <a:gd name="T97" fmla="*/ 40 h 5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34" h="571">
                    <a:moveTo>
                      <a:pt x="386" y="84"/>
                    </a:moveTo>
                    <a:cubicBezTo>
                      <a:pt x="387" y="93"/>
                      <a:pt x="396" y="110"/>
                      <a:pt x="397" y="116"/>
                    </a:cubicBezTo>
                    <a:cubicBezTo>
                      <a:pt x="399" y="129"/>
                      <a:pt x="381" y="138"/>
                      <a:pt x="385" y="149"/>
                    </a:cubicBezTo>
                    <a:cubicBezTo>
                      <a:pt x="387" y="156"/>
                      <a:pt x="408" y="159"/>
                      <a:pt x="408" y="167"/>
                    </a:cubicBezTo>
                    <a:cubicBezTo>
                      <a:pt x="408" y="176"/>
                      <a:pt x="402" y="179"/>
                      <a:pt x="407" y="185"/>
                    </a:cubicBezTo>
                    <a:cubicBezTo>
                      <a:pt x="408" y="188"/>
                      <a:pt x="412" y="189"/>
                      <a:pt x="414" y="192"/>
                    </a:cubicBezTo>
                    <a:cubicBezTo>
                      <a:pt x="415" y="195"/>
                      <a:pt x="413" y="199"/>
                      <a:pt x="414" y="202"/>
                    </a:cubicBezTo>
                    <a:cubicBezTo>
                      <a:pt x="414" y="204"/>
                      <a:pt x="416" y="203"/>
                      <a:pt x="417" y="204"/>
                    </a:cubicBezTo>
                    <a:cubicBezTo>
                      <a:pt x="420" y="208"/>
                      <a:pt x="413" y="218"/>
                      <a:pt x="411" y="221"/>
                    </a:cubicBezTo>
                    <a:cubicBezTo>
                      <a:pt x="408" y="226"/>
                      <a:pt x="416" y="229"/>
                      <a:pt x="418" y="234"/>
                    </a:cubicBezTo>
                    <a:cubicBezTo>
                      <a:pt x="419" y="237"/>
                      <a:pt x="415" y="240"/>
                      <a:pt x="417" y="243"/>
                    </a:cubicBezTo>
                    <a:cubicBezTo>
                      <a:pt x="419" y="246"/>
                      <a:pt x="424" y="245"/>
                      <a:pt x="427" y="247"/>
                    </a:cubicBezTo>
                    <a:cubicBezTo>
                      <a:pt x="434" y="254"/>
                      <a:pt x="431" y="296"/>
                      <a:pt x="424" y="297"/>
                    </a:cubicBezTo>
                    <a:cubicBezTo>
                      <a:pt x="417" y="299"/>
                      <a:pt x="405" y="267"/>
                      <a:pt x="399" y="285"/>
                    </a:cubicBezTo>
                    <a:cubicBezTo>
                      <a:pt x="398" y="288"/>
                      <a:pt x="408" y="290"/>
                      <a:pt x="406" y="292"/>
                    </a:cubicBezTo>
                    <a:cubicBezTo>
                      <a:pt x="399" y="297"/>
                      <a:pt x="389" y="298"/>
                      <a:pt x="382" y="302"/>
                    </a:cubicBezTo>
                    <a:cubicBezTo>
                      <a:pt x="381" y="303"/>
                      <a:pt x="382" y="305"/>
                      <a:pt x="381" y="306"/>
                    </a:cubicBezTo>
                    <a:cubicBezTo>
                      <a:pt x="377" y="308"/>
                      <a:pt x="371" y="305"/>
                      <a:pt x="367" y="308"/>
                    </a:cubicBezTo>
                    <a:cubicBezTo>
                      <a:pt x="364" y="310"/>
                      <a:pt x="365" y="314"/>
                      <a:pt x="363" y="317"/>
                    </a:cubicBezTo>
                    <a:cubicBezTo>
                      <a:pt x="361" y="318"/>
                      <a:pt x="360" y="314"/>
                      <a:pt x="359" y="314"/>
                    </a:cubicBezTo>
                    <a:cubicBezTo>
                      <a:pt x="354" y="316"/>
                      <a:pt x="353" y="322"/>
                      <a:pt x="350" y="325"/>
                    </a:cubicBezTo>
                    <a:cubicBezTo>
                      <a:pt x="348" y="326"/>
                      <a:pt x="344" y="324"/>
                      <a:pt x="343" y="325"/>
                    </a:cubicBezTo>
                    <a:cubicBezTo>
                      <a:pt x="341" y="326"/>
                      <a:pt x="343" y="330"/>
                      <a:pt x="341" y="331"/>
                    </a:cubicBezTo>
                    <a:cubicBezTo>
                      <a:pt x="339" y="334"/>
                      <a:pt x="333" y="329"/>
                      <a:pt x="331" y="329"/>
                    </a:cubicBezTo>
                    <a:cubicBezTo>
                      <a:pt x="317" y="331"/>
                      <a:pt x="314" y="342"/>
                      <a:pt x="310" y="351"/>
                    </a:cubicBezTo>
                    <a:cubicBezTo>
                      <a:pt x="309" y="353"/>
                      <a:pt x="309" y="346"/>
                      <a:pt x="307" y="344"/>
                    </a:cubicBezTo>
                    <a:cubicBezTo>
                      <a:pt x="305" y="342"/>
                      <a:pt x="301" y="341"/>
                      <a:pt x="299" y="340"/>
                    </a:cubicBezTo>
                    <a:cubicBezTo>
                      <a:pt x="294" y="339"/>
                      <a:pt x="304" y="357"/>
                      <a:pt x="316" y="365"/>
                    </a:cubicBezTo>
                    <a:cubicBezTo>
                      <a:pt x="317" y="365"/>
                      <a:pt x="321" y="366"/>
                      <a:pt x="321" y="369"/>
                    </a:cubicBezTo>
                    <a:cubicBezTo>
                      <a:pt x="323" y="377"/>
                      <a:pt x="316" y="374"/>
                      <a:pt x="314" y="381"/>
                    </a:cubicBezTo>
                    <a:cubicBezTo>
                      <a:pt x="314" y="382"/>
                      <a:pt x="326" y="403"/>
                      <a:pt x="328" y="405"/>
                    </a:cubicBezTo>
                    <a:cubicBezTo>
                      <a:pt x="338" y="415"/>
                      <a:pt x="340" y="408"/>
                      <a:pt x="346" y="414"/>
                    </a:cubicBezTo>
                    <a:cubicBezTo>
                      <a:pt x="350" y="418"/>
                      <a:pt x="351" y="424"/>
                      <a:pt x="355" y="428"/>
                    </a:cubicBezTo>
                    <a:cubicBezTo>
                      <a:pt x="364" y="434"/>
                      <a:pt x="388" y="442"/>
                      <a:pt x="387" y="457"/>
                    </a:cubicBezTo>
                    <a:cubicBezTo>
                      <a:pt x="387" y="472"/>
                      <a:pt x="384" y="469"/>
                      <a:pt x="372" y="466"/>
                    </a:cubicBezTo>
                    <a:cubicBezTo>
                      <a:pt x="371" y="466"/>
                      <a:pt x="369" y="467"/>
                      <a:pt x="369" y="468"/>
                    </a:cubicBezTo>
                    <a:cubicBezTo>
                      <a:pt x="368" y="473"/>
                      <a:pt x="371" y="480"/>
                      <a:pt x="365" y="484"/>
                    </a:cubicBezTo>
                    <a:cubicBezTo>
                      <a:pt x="360" y="488"/>
                      <a:pt x="337" y="494"/>
                      <a:pt x="336" y="503"/>
                    </a:cubicBezTo>
                    <a:cubicBezTo>
                      <a:pt x="336" y="503"/>
                      <a:pt x="350" y="522"/>
                      <a:pt x="350" y="522"/>
                    </a:cubicBezTo>
                    <a:cubicBezTo>
                      <a:pt x="350" y="523"/>
                      <a:pt x="342" y="529"/>
                      <a:pt x="345" y="532"/>
                    </a:cubicBezTo>
                    <a:cubicBezTo>
                      <a:pt x="351" y="537"/>
                      <a:pt x="357" y="529"/>
                      <a:pt x="352" y="548"/>
                    </a:cubicBezTo>
                    <a:cubicBezTo>
                      <a:pt x="352" y="549"/>
                      <a:pt x="351" y="550"/>
                      <a:pt x="350" y="550"/>
                    </a:cubicBezTo>
                    <a:cubicBezTo>
                      <a:pt x="332" y="545"/>
                      <a:pt x="346" y="536"/>
                      <a:pt x="338" y="536"/>
                    </a:cubicBezTo>
                    <a:cubicBezTo>
                      <a:pt x="333" y="536"/>
                      <a:pt x="329" y="540"/>
                      <a:pt x="325" y="539"/>
                    </a:cubicBezTo>
                    <a:cubicBezTo>
                      <a:pt x="322" y="539"/>
                      <a:pt x="323" y="535"/>
                      <a:pt x="321" y="534"/>
                    </a:cubicBezTo>
                    <a:cubicBezTo>
                      <a:pt x="318" y="533"/>
                      <a:pt x="314" y="536"/>
                      <a:pt x="312" y="535"/>
                    </a:cubicBezTo>
                    <a:cubicBezTo>
                      <a:pt x="311" y="534"/>
                      <a:pt x="313" y="531"/>
                      <a:pt x="312" y="531"/>
                    </a:cubicBezTo>
                    <a:cubicBezTo>
                      <a:pt x="305" y="531"/>
                      <a:pt x="311" y="540"/>
                      <a:pt x="309" y="541"/>
                    </a:cubicBezTo>
                    <a:cubicBezTo>
                      <a:pt x="301" y="543"/>
                      <a:pt x="288" y="540"/>
                      <a:pt x="281" y="542"/>
                    </a:cubicBezTo>
                    <a:cubicBezTo>
                      <a:pt x="279" y="544"/>
                      <a:pt x="280" y="548"/>
                      <a:pt x="278" y="549"/>
                    </a:cubicBezTo>
                    <a:cubicBezTo>
                      <a:pt x="275" y="550"/>
                      <a:pt x="273" y="548"/>
                      <a:pt x="270" y="549"/>
                    </a:cubicBezTo>
                    <a:cubicBezTo>
                      <a:pt x="269" y="550"/>
                      <a:pt x="271" y="553"/>
                      <a:pt x="270" y="554"/>
                    </a:cubicBezTo>
                    <a:cubicBezTo>
                      <a:pt x="269" y="554"/>
                      <a:pt x="250" y="559"/>
                      <a:pt x="248" y="558"/>
                    </a:cubicBezTo>
                    <a:cubicBezTo>
                      <a:pt x="247" y="557"/>
                      <a:pt x="248" y="554"/>
                      <a:pt x="247" y="553"/>
                    </a:cubicBezTo>
                    <a:cubicBezTo>
                      <a:pt x="246" y="552"/>
                      <a:pt x="243" y="552"/>
                      <a:pt x="243" y="551"/>
                    </a:cubicBezTo>
                    <a:cubicBezTo>
                      <a:pt x="242" y="550"/>
                      <a:pt x="245" y="550"/>
                      <a:pt x="245" y="549"/>
                    </a:cubicBezTo>
                    <a:cubicBezTo>
                      <a:pt x="243" y="542"/>
                      <a:pt x="227" y="551"/>
                      <a:pt x="222" y="546"/>
                    </a:cubicBezTo>
                    <a:cubicBezTo>
                      <a:pt x="222" y="546"/>
                      <a:pt x="223" y="545"/>
                      <a:pt x="223" y="545"/>
                    </a:cubicBezTo>
                    <a:cubicBezTo>
                      <a:pt x="220" y="542"/>
                      <a:pt x="223" y="552"/>
                      <a:pt x="222" y="556"/>
                    </a:cubicBezTo>
                    <a:cubicBezTo>
                      <a:pt x="222" y="558"/>
                      <a:pt x="212" y="571"/>
                      <a:pt x="208" y="567"/>
                    </a:cubicBezTo>
                    <a:cubicBezTo>
                      <a:pt x="205" y="565"/>
                      <a:pt x="212" y="562"/>
                      <a:pt x="210" y="559"/>
                    </a:cubicBezTo>
                    <a:cubicBezTo>
                      <a:pt x="209" y="559"/>
                      <a:pt x="208" y="561"/>
                      <a:pt x="206" y="561"/>
                    </a:cubicBezTo>
                    <a:cubicBezTo>
                      <a:pt x="205" y="561"/>
                      <a:pt x="204" y="561"/>
                      <a:pt x="203" y="559"/>
                    </a:cubicBezTo>
                    <a:cubicBezTo>
                      <a:pt x="202" y="558"/>
                      <a:pt x="206" y="555"/>
                      <a:pt x="203" y="553"/>
                    </a:cubicBezTo>
                    <a:cubicBezTo>
                      <a:pt x="201" y="552"/>
                      <a:pt x="200" y="549"/>
                      <a:pt x="197" y="548"/>
                    </a:cubicBezTo>
                    <a:cubicBezTo>
                      <a:pt x="196" y="546"/>
                      <a:pt x="193" y="549"/>
                      <a:pt x="191" y="549"/>
                    </a:cubicBezTo>
                    <a:cubicBezTo>
                      <a:pt x="190" y="548"/>
                      <a:pt x="191" y="545"/>
                      <a:pt x="190" y="544"/>
                    </a:cubicBezTo>
                    <a:cubicBezTo>
                      <a:pt x="187" y="541"/>
                      <a:pt x="188" y="552"/>
                      <a:pt x="179" y="549"/>
                    </a:cubicBezTo>
                    <a:cubicBezTo>
                      <a:pt x="172" y="546"/>
                      <a:pt x="169" y="540"/>
                      <a:pt x="162" y="539"/>
                    </a:cubicBezTo>
                    <a:cubicBezTo>
                      <a:pt x="162" y="539"/>
                      <a:pt x="143" y="540"/>
                      <a:pt x="143" y="540"/>
                    </a:cubicBezTo>
                    <a:cubicBezTo>
                      <a:pt x="141" y="539"/>
                      <a:pt x="141" y="535"/>
                      <a:pt x="139" y="533"/>
                    </a:cubicBezTo>
                    <a:cubicBezTo>
                      <a:pt x="138" y="532"/>
                      <a:pt x="140" y="536"/>
                      <a:pt x="139" y="537"/>
                    </a:cubicBezTo>
                    <a:cubicBezTo>
                      <a:pt x="137" y="537"/>
                      <a:pt x="135" y="537"/>
                      <a:pt x="135" y="536"/>
                    </a:cubicBezTo>
                    <a:cubicBezTo>
                      <a:pt x="134" y="534"/>
                      <a:pt x="137" y="532"/>
                      <a:pt x="136" y="531"/>
                    </a:cubicBezTo>
                    <a:cubicBezTo>
                      <a:pt x="127" y="522"/>
                      <a:pt x="118" y="537"/>
                      <a:pt x="119" y="538"/>
                    </a:cubicBezTo>
                    <a:cubicBezTo>
                      <a:pt x="123" y="539"/>
                      <a:pt x="126" y="537"/>
                      <a:pt x="129" y="538"/>
                    </a:cubicBezTo>
                    <a:cubicBezTo>
                      <a:pt x="132" y="539"/>
                      <a:pt x="126" y="539"/>
                      <a:pt x="124" y="540"/>
                    </a:cubicBezTo>
                    <a:cubicBezTo>
                      <a:pt x="123" y="541"/>
                      <a:pt x="124" y="544"/>
                      <a:pt x="124" y="544"/>
                    </a:cubicBezTo>
                    <a:cubicBezTo>
                      <a:pt x="110" y="552"/>
                      <a:pt x="120" y="541"/>
                      <a:pt x="109" y="541"/>
                    </a:cubicBezTo>
                    <a:cubicBezTo>
                      <a:pt x="107" y="541"/>
                      <a:pt x="81" y="548"/>
                      <a:pt x="79" y="544"/>
                    </a:cubicBezTo>
                    <a:cubicBezTo>
                      <a:pt x="79" y="543"/>
                      <a:pt x="83" y="542"/>
                      <a:pt x="82" y="542"/>
                    </a:cubicBezTo>
                    <a:cubicBezTo>
                      <a:pt x="77" y="538"/>
                      <a:pt x="75" y="555"/>
                      <a:pt x="75" y="535"/>
                    </a:cubicBezTo>
                    <a:cubicBezTo>
                      <a:pt x="74" y="527"/>
                      <a:pt x="80" y="520"/>
                      <a:pt x="80" y="512"/>
                    </a:cubicBezTo>
                    <a:cubicBezTo>
                      <a:pt x="80" y="511"/>
                      <a:pt x="78" y="511"/>
                      <a:pt x="78" y="509"/>
                    </a:cubicBezTo>
                    <a:cubicBezTo>
                      <a:pt x="77" y="506"/>
                      <a:pt x="79" y="503"/>
                      <a:pt x="80" y="501"/>
                    </a:cubicBezTo>
                    <a:cubicBezTo>
                      <a:pt x="88" y="488"/>
                      <a:pt x="88" y="488"/>
                      <a:pt x="88" y="488"/>
                    </a:cubicBezTo>
                    <a:cubicBezTo>
                      <a:pt x="88" y="484"/>
                      <a:pt x="89" y="472"/>
                      <a:pt x="90" y="468"/>
                    </a:cubicBezTo>
                    <a:cubicBezTo>
                      <a:pt x="95" y="459"/>
                      <a:pt x="106" y="452"/>
                      <a:pt x="113" y="441"/>
                    </a:cubicBezTo>
                    <a:cubicBezTo>
                      <a:pt x="115" y="437"/>
                      <a:pt x="81" y="433"/>
                      <a:pt x="79" y="432"/>
                    </a:cubicBezTo>
                    <a:cubicBezTo>
                      <a:pt x="77" y="430"/>
                      <a:pt x="78" y="426"/>
                      <a:pt x="76" y="425"/>
                    </a:cubicBezTo>
                    <a:cubicBezTo>
                      <a:pt x="73" y="423"/>
                      <a:pt x="55" y="430"/>
                      <a:pt x="54" y="428"/>
                    </a:cubicBezTo>
                    <a:cubicBezTo>
                      <a:pt x="54" y="426"/>
                      <a:pt x="56" y="424"/>
                      <a:pt x="55" y="423"/>
                    </a:cubicBezTo>
                    <a:cubicBezTo>
                      <a:pt x="38" y="408"/>
                      <a:pt x="49" y="431"/>
                      <a:pt x="42" y="424"/>
                    </a:cubicBezTo>
                    <a:cubicBezTo>
                      <a:pt x="37" y="418"/>
                      <a:pt x="34" y="405"/>
                      <a:pt x="29" y="402"/>
                    </a:cubicBezTo>
                    <a:cubicBezTo>
                      <a:pt x="28" y="400"/>
                      <a:pt x="24" y="402"/>
                      <a:pt x="23" y="400"/>
                    </a:cubicBezTo>
                    <a:cubicBezTo>
                      <a:pt x="17" y="389"/>
                      <a:pt x="40" y="385"/>
                      <a:pt x="32" y="375"/>
                    </a:cubicBezTo>
                    <a:cubicBezTo>
                      <a:pt x="30" y="373"/>
                      <a:pt x="17" y="372"/>
                      <a:pt x="14" y="360"/>
                    </a:cubicBezTo>
                    <a:cubicBezTo>
                      <a:pt x="9" y="339"/>
                      <a:pt x="35" y="340"/>
                      <a:pt x="27" y="327"/>
                    </a:cubicBezTo>
                    <a:cubicBezTo>
                      <a:pt x="25" y="325"/>
                      <a:pt x="20" y="325"/>
                      <a:pt x="19" y="322"/>
                    </a:cubicBezTo>
                    <a:cubicBezTo>
                      <a:pt x="19" y="320"/>
                      <a:pt x="23" y="317"/>
                      <a:pt x="23" y="315"/>
                    </a:cubicBezTo>
                    <a:cubicBezTo>
                      <a:pt x="23" y="313"/>
                      <a:pt x="19" y="316"/>
                      <a:pt x="18" y="314"/>
                    </a:cubicBezTo>
                    <a:cubicBezTo>
                      <a:pt x="17" y="314"/>
                      <a:pt x="10" y="302"/>
                      <a:pt x="10" y="300"/>
                    </a:cubicBezTo>
                    <a:cubicBezTo>
                      <a:pt x="11" y="298"/>
                      <a:pt x="15" y="298"/>
                      <a:pt x="15" y="296"/>
                    </a:cubicBezTo>
                    <a:cubicBezTo>
                      <a:pt x="17" y="286"/>
                      <a:pt x="0" y="283"/>
                      <a:pt x="6" y="282"/>
                    </a:cubicBezTo>
                    <a:cubicBezTo>
                      <a:pt x="7" y="281"/>
                      <a:pt x="8" y="283"/>
                      <a:pt x="10" y="283"/>
                    </a:cubicBezTo>
                    <a:cubicBezTo>
                      <a:pt x="20" y="274"/>
                      <a:pt x="20" y="274"/>
                      <a:pt x="20" y="274"/>
                    </a:cubicBezTo>
                    <a:cubicBezTo>
                      <a:pt x="21" y="271"/>
                      <a:pt x="13" y="274"/>
                      <a:pt x="16" y="270"/>
                    </a:cubicBezTo>
                    <a:cubicBezTo>
                      <a:pt x="17" y="266"/>
                      <a:pt x="21" y="263"/>
                      <a:pt x="23" y="259"/>
                    </a:cubicBezTo>
                    <a:cubicBezTo>
                      <a:pt x="28" y="247"/>
                      <a:pt x="16" y="238"/>
                      <a:pt x="12" y="231"/>
                    </a:cubicBezTo>
                    <a:cubicBezTo>
                      <a:pt x="12" y="230"/>
                      <a:pt x="13" y="228"/>
                      <a:pt x="13" y="227"/>
                    </a:cubicBezTo>
                    <a:cubicBezTo>
                      <a:pt x="13" y="226"/>
                      <a:pt x="12" y="224"/>
                      <a:pt x="13" y="224"/>
                    </a:cubicBezTo>
                    <a:cubicBezTo>
                      <a:pt x="16" y="222"/>
                      <a:pt x="20" y="224"/>
                      <a:pt x="23" y="223"/>
                    </a:cubicBezTo>
                    <a:cubicBezTo>
                      <a:pt x="24" y="222"/>
                      <a:pt x="22" y="219"/>
                      <a:pt x="23" y="219"/>
                    </a:cubicBezTo>
                    <a:cubicBezTo>
                      <a:pt x="27" y="221"/>
                      <a:pt x="29" y="224"/>
                      <a:pt x="33" y="224"/>
                    </a:cubicBezTo>
                    <a:cubicBezTo>
                      <a:pt x="37" y="225"/>
                      <a:pt x="52" y="220"/>
                      <a:pt x="54" y="216"/>
                    </a:cubicBezTo>
                    <a:cubicBezTo>
                      <a:pt x="55" y="212"/>
                      <a:pt x="43" y="211"/>
                      <a:pt x="48" y="208"/>
                    </a:cubicBezTo>
                    <a:cubicBezTo>
                      <a:pt x="57" y="202"/>
                      <a:pt x="68" y="200"/>
                      <a:pt x="66" y="185"/>
                    </a:cubicBezTo>
                    <a:cubicBezTo>
                      <a:pt x="65" y="178"/>
                      <a:pt x="44" y="181"/>
                      <a:pt x="49" y="172"/>
                    </a:cubicBezTo>
                    <a:cubicBezTo>
                      <a:pt x="50" y="171"/>
                      <a:pt x="53" y="172"/>
                      <a:pt x="53" y="171"/>
                    </a:cubicBezTo>
                    <a:cubicBezTo>
                      <a:pt x="53" y="170"/>
                      <a:pt x="50" y="168"/>
                      <a:pt x="51" y="166"/>
                    </a:cubicBezTo>
                    <a:cubicBezTo>
                      <a:pt x="51" y="165"/>
                      <a:pt x="53" y="165"/>
                      <a:pt x="54" y="165"/>
                    </a:cubicBezTo>
                    <a:cubicBezTo>
                      <a:pt x="58" y="165"/>
                      <a:pt x="61" y="167"/>
                      <a:pt x="65" y="167"/>
                    </a:cubicBezTo>
                    <a:cubicBezTo>
                      <a:pt x="70" y="167"/>
                      <a:pt x="66" y="158"/>
                      <a:pt x="67" y="153"/>
                    </a:cubicBezTo>
                    <a:cubicBezTo>
                      <a:pt x="68" y="149"/>
                      <a:pt x="78" y="131"/>
                      <a:pt x="77" y="122"/>
                    </a:cubicBezTo>
                    <a:cubicBezTo>
                      <a:pt x="79" y="121"/>
                      <a:pt x="80" y="120"/>
                      <a:pt x="82" y="118"/>
                    </a:cubicBezTo>
                    <a:cubicBezTo>
                      <a:pt x="84" y="115"/>
                      <a:pt x="79" y="116"/>
                      <a:pt x="74" y="116"/>
                    </a:cubicBezTo>
                    <a:cubicBezTo>
                      <a:pt x="73" y="115"/>
                      <a:pt x="71" y="116"/>
                      <a:pt x="70" y="116"/>
                    </a:cubicBezTo>
                    <a:cubicBezTo>
                      <a:pt x="69" y="116"/>
                      <a:pt x="68" y="115"/>
                      <a:pt x="68" y="115"/>
                    </a:cubicBezTo>
                    <a:cubicBezTo>
                      <a:pt x="63" y="109"/>
                      <a:pt x="76" y="92"/>
                      <a:pt x="80" y="89"/>
                    </a:cubicBezTo>
                    <a:cubicBezTo>
                      <a:pt x="83" y="88"/>
                      <a:pt x="86" y="91"/>
                      <a:pt x="89" y="91"/>
                    </a:cubicBezTo>
                    <a:cubicBezTo>
                      <a:pt x="132" y="89"/>
                      <a:pt x="45" y="86"/>
                      <a:pt x="110" y="88"/>
                    </a:cubicBezTo>
                    <a:cubicBezTo>
                      <a:pt x="110" y="88"/>
                      <a:pt x="112" y="88"/>
                      <a:pt x="113" y="89"/>
                    </a:cubicBezTo>
                    <a:cubicBezTo>
                      <a:pt x="116" y="95"/>
                      <a:pt x="118" y="121"/>
                      <a:pt x="132" y="115"/>
                    </a:cubicBezTo>
                    <a:cubicBezTo>
                      <a:pt x="137" y="114"/>
                      <a:pt x="128" y="75"/>
                      <a:pt x="141" y="75"/>
                    </a:cubicBezTo>
                    <a:cubicBezTo>
                      <a:pt x="142" y="75"/>
                      <a:pt x="142" y="78"/>
                      <a:pt x="144" y="79"/>
                    </a:cubicBezTo>
                    <a:cubicBezTo>
                      <a:pt x="145" y="80"/>
                      <a:pt x="148" y="80"/>
                      <a:pt x="150" y="80"/>
                    </a:cubicBezTo>
                    <a:cubicBezTo>
                      <a:pt x="156" y="81"/>
                      <a:pt x="162" y="75"/>
                      <a:pt x="167" y="77"/>
                    </a:cubicBezTo>
                    <a:cubicBezTo>
                      <a:pt x="171" y="79"/>
                      <a:pt x="171" y="85"/>
                      <a:pt x="174" y="88"/>
                    </a:cubicBezTo>
                    <a:cubicBezTo>
                      <a:pt x="176" y="93"/>
                      <a:pt x="192" y="122"/>
                      <a:pt x="192" y="102"/>
                    </a:cubicBezTo>
                    <a:cubicBezTo>
                      <a:pt x="192" y="98"/>
                      <a:pt x="183" y="99"/>
                      <a:pt x="180" y="96"/>
                    </a:cubicBezTo>
                    <a:cubicBezTo>
                      <a:pt x="174" y="91"/>
                      <a:pt x="175" y="78"/>
                      <a:pt x="165" y="76"/>
                    </a:cubicBezTo>
                    <a:cubicBezTo>
                      <a:pt x="163" y="76"/>
                      <a:pt x="150" y="79"/>
                      <a:pt x="151" y="71"/>
                    </a:cubicBezTo>
                    <a:cubicBezTo>
                      <a:pt x="152" y="66"/>
                      <a:pt x="159" y="50"/>
                      <a:pt x="154" y="44"/>
                    </a:cubicBezTo>
                    <a:cubicBezTo>
                      <a:pt x="153" y="42"/>
                      <a:pt x="140" y="49"/>
                      <a:pt x="139" y="42"/>
                    </a:cubicBezTo>
                    <a:cubicBezTo>
                      <a:pt x="138" y="41"/>
                      <a:pt x="142" y="42"/>
                      <a:pt x="142" y="41"/>
                    </a:cubicBezTo>
                    <a:cubicBezTo>
                      <a:pt x="144" y="40"/>
                      <a:pt x="139" y="38"/>
                      <a:pt x="140" y="38"/>
                    </a:cubicBezTo>
                    <a:cubicBezTo>
                      <a:pt x="145" y="36"/>
                      <a:pt x="155" y="42"/>
                      <a:pt x="157" y="30"/>
                    </a:cubicBezTo>
                    <a:cubicBezTo>
                      <a:pt x="157" y="29"/>
                      <a:pt x="144" y="15"/>
                      <a:pt x="142" y="13"/>
                    </a:cubicBezTo>
                    <a:cubicBezTo>
                      <a:pt x="141" y="9"/>
                      <a:pt x="140" y="4"/>
                      <a:pt x="140" y="0"/>
                    </a:cubicBezTo>
                    <a:cubicBezTo>
                      <a:pt x="144" y="1"/>
                      <a:pt x="151" y="0"/>
                      <a:pt x="153" y="0"/>
                    </a:cubicBezTo>
                    <a:cubicBezTo>
                      <a:pt x="160" y="2"/>
                      <a:pt x="167" y="6"/>
                      <a:pt x="175" y="7"/>
                    </a:cubicBezTo>
                    <a:cubicBezTo>
                      <a:pt x="174" y="8"/>
                      <a:pt x="174" y="9"/>
                      <a:pt x="175" y="8"/>
                    </a:cubicBezTo>
                    <a:cubicBezTo>
                      <a:pt x="178" y="7"/>
                      <a:pt x="179" y="4"/>
                      <a:pt x="181" y="3"/>
                    </a:cubicBezTo>
                    <a:cubicBezTo>
                      <a:pt x="182" y="3"/>
                      <a:pt x="180" y="6"/>
                      <a:pt x="181" y="7"/>
                    </a:cubicBezTo>
                    <a:cubicBezTo>
                      <a:pt x="183" y="8"/>
                      <a:pt x="185" y="8"/>
                      <a:pt x="187" y="8"/>
                    </a:cubicBezTo>
                    <a:cubicBezTo>
                      <a:pt x="191" y="9"/>
                      <a:pt x="195" y="9"/>
                      <a:pt x="197" y="11"/>
                    </a:cubicBezTo>
                    <a:cubicBezTo>
                      <a:pt x="199" y="12"/>
                      <a:pt x="200" y="14"/>
                      <a:pt x="200" y="16"/>
                    </a:cubicBezTo>
                    <a:cubicBezTo>
                      <a:pt x="200" y="16"/>
                      <a:pt x="199" y="16"/>
                      <a:pt x="199" y="16"/>
                    </a:cubicBezTo>
                    <a:cubicBezTo>
                      <a:pt x="197" y="16"/>
                      <a:pt x="195" y="17"/>
                      <a:pt x="196" y="18"/>
                    </a:cubicBezTo>
                    <a:cubicBezTo>
                      <a:pt x="197" y="19"/>
                      <a:pt x="200" y="17"/>
                      <a:pt x="200" y="18"/>
                    </a:cubicBezTo>
                    <a:cubicBezTo>
                      <a:pt x="202" y="21"/>
                      <a:pt x="201" y="24"/>
                      <a:pt x="200" y="27"/>
                    </a:cubicBezTo>
                    <a:cubicBezTo>
                      <a:pt x="199" y="30"/>
                      <a:pt x="191" y="32"/>
                      <a:pt x="193" y="34"/>
                    </a:cubicBezTo>
                    <a:cubicBezTo>
                      <a:pt x="196" y="38"/>
                      <a:pt x="207" y="28"/>
                      <a:pt x="208" y="33"/>
                    </a:cubicBezTo>
                    <a:cubicBezTo>
                      <a:pt x="208" y="37"/>
                      <a:pt x="202" y="43"/>
                      <a:pt x="205" y="44"/>
                    </a:cubicBezTo>
                    <a:cubicBezTo>
                      <a:pt x="209" y="46"/>
                      <a:pt x="209" y="36"/>
                      <a:pt x="213" y="36"/>
                    </a:cubicBezTo>
                    <a:cubicBezTo>
                      <a:pt x="217" y="35"/>
                      <a:pt x="230" y="46"/>
                      <a:pt x="232" y="45"/>
                    </a:cubicBezTo>
                    <a:cubicBezTo>
                      <a:pt x="233" y="45"/>
                      <a:pt x="244" y="32"/>
                      <a:pt x="248" y="39"/>
                    </a:cubicBezTo>
                    <a:cubicBezTo>
                      <a:pt x="256" y="54"/>
                      <a:pt x="217" y="69"/>
                      <a:pt x="238" y="71"/>
                    </a:cubicBezTo>
                    <a:cubicBezTo>
                      <a:pt x="243" y="72"/>
                      <a:pt x="246" y="66"/>
                      <a:pt x="251" y="66"/>
                    </a:cubicBezTo>
                    <a:cubicBezTo>
                      <a:pt x="256" y="67"/>
                      <a:pt x="250" y="83"/>
                      <a:pt x="262" y="75"/>
                    </a:cubicBezTo>
                    <a:cubicBezTo>
                      <a:pt x="265" y="73"/>
                      <a:pt x="267" y="59"/>
                      <a:pt x="272" y="56"/>
                    </a:cubicBezTo>
                    <a:cubicBezTo>
                      <a:pt x="279" y="52"/>
                      <a:pt x="287" y="50"/>
                      <a:pt x="291" y="58"/>
                    </a:cubicBezTo>
                    <a:cubicBezTo>
                      <a:pt x="290" y="56"/>
                      <a:pt x="290" y="54"/>
                      <a:pt x="290" y="53"/>
                    </a:cubicBezTo>
                    <a:cubicBezTo>
                      <a:pt x="294" y="49"/>
                      <a:pt x="298" y="47"/>
                      <a:pt x="301" y="44"/>
                    </a:cubicBezTo>
                    <a:cubicBezTo>
                      <a:pt x="304" y="40"/>
                      <a:pt x="305" y="34"/>
                      <a:pt x="308" y="30"/>
                    </a:cubicBezTo>
                    <a:cubicBezTo>
                      <a:pt x="309" y="29"/>
                      <a:pt x="317" y="32"/>
                      <a:pt x="324" y="34"/>
                    </a:cubicBezTo>
                    <a:cubicBezTo>
                      <a:pt x="326" y="33"/>
                      <a:pt x="329" y="33"/>
                      <a:pt x="330" y="33"/>
                    </a:cubicBezTo>
                    <a:cubicBezTo>
                      <a:pt x="334" y="33"/>
                      <a:pt x="332" y="41"/>
                      <a:pt x="334" y="44"/>
                    </a:cubicBezTo>
                    <a:cubicBezTo>
                      <a:pt x="336" y="46"/>
                      <a:pt x="340" y="45"/>
                      <a:pt x="342" y="47"/>
                    </a:cubicBezTo>
                    <a:cubicBezTo>
                      <a:pt x="345" y="50"/>
                      <a:pt x="347" y="58"/>
                      <a:pt x="352" y="58"/>
                    </a:cubicBezTo>
                    <a:cubicBezTo>
                      <a:pt x="356" y="58"/>
                      <a:pt x="360" y="55"/>
                      <a:pt x="365" y="56"/>
                    </a:cubicBezTo>
                    <a:cubicBezTo>
                      <a:pt x="367" y="56"/>
                      <a:pt x="363" y="59"/>
                      <a:pt x="363" y="61"/>
                    </a:cubicBezTo>
                    <a:cubicBezTo>
                      <a:pt x="363" y="66"/>
                      <a:pt x="365" y="70"/>
                      <a:pt x="367" y="75"/>
                    </a:cubicBezTo>
                    <a:cubicBezTo>
                      <a:pt x="368" y="79"/>
                      <a:pt x="374" y="81"/>
                      <a:pt x="378" y="82"/>
                    </a:cubicBezTo>
                    <a:cubicBezTo>
                      <a:pt x="382" y="84"/>
                      <a:pt x="384" y="84"/>
                      <a:pt x="386" y="84"/>
                    </a:cubicBezTo>
                    <a:close/>
                    <a:moveTo>
                      <a:pt x="334" y="40"/>
                    </a:moveTo>
                    <a:cubicBezTo>
                      <a:pt x="335" y="35"/>
                      <a:pt x="333" y="29"/>
                      <a:pt x="335" y="24"/>
                    </a:cubicBezTo>
                    <a:cubicBezTo>
                      <a:pt x="337" y="19"/>
                      <a:pt x="354" y="33"/>
                      <a:pt x="350" y="28"/>
                    </a:cubicBezTo>
                    <a:cubicBezTo>
                      <a:pt x="348" y="25"/>
                      <a:pt x="341" y="26"/>
                      <a:pt x="339" y="23"/>
                    </a:cubicBezTo>
                    <a:cubicBezTo>
                      <a:pt x="338" y="19"/>
                      <a:pt x="343" y="16"/>
                      <a:pt x="346" y="13"/>
                    </a:cubicBezTo>
                    <a:cubicBezTo>
                      <a:pt x="348" y="12"/>
                      <a:pt x="344" y="20"/>
                      <a:pt x="346" y="21"/>
                    </a:cubicBezTo>
                    <a:cubicBezTo>
                      <a:pt x="350" y="22"/>
                      <a:pt x="354" y="20"/>
                      <a:pt x="357" y="21"/>
                    </a:cubicBezTo>
                    <a:cubicBezTo>
                      <a:pt x="361" y="23"/>
                      <a:pt x="353" y="27"/>
                      <a:pt x="354" y="30"/>
                    </a:cubicBezTo>
                    <a:cubicBezTo>
                      <a:pt x="355" y="34"/>
                      <a:pt x="360" y="35"/>
                      <a:pt x="362" y="39"/>
                    </a:cubicBezTo>
                    <a:cubicBezTo>
                      <a:pt x="363" y="40"/>
                      <a:pt x="356" y="46"/>
                      <a:pt x="347" y="48"/>
                    </a:cubicBezTo>
                    <a:cubicBezTo>
                      <a:pt x="342" y="50"/>
                      <a:pt x="338" y="43"/>
                      <a:pt x="334" y="4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2" name="Ukraine" descr="{&quot;Key&quot;:&quot;ukraine&quot;,&quot;Name&quot;:&quot;Ukraine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DFF976EB-EB08-B266-9AFE-F37CBC746D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48723" y="7339827"/>
                <a:ext cx="1418772" cy="1054483"/>
              </a:xfrm>
              <a:custGeom>
                <a:avLst/>
                <a:gdLst>
                  <a:gd name="T0" fmla="*/ 788 w 849"/>
                  <a:gd name="T1" fmla="*/ 258 h 586"/>
                  <a:gd name="T2" fmla="*/ 845 w 849"/>
                  <a:gd name="T3" fmla="*/ 202 h 586"/>
                  <a:gd name="T4" fmla="*/ 845 w 849"/>
                  <a:gd name="T5" fmla="*/ 179 h 586"/>
                  <a:gd name="T6" fmla="*/ 828 w 849"/>
                  <a:gd name="T7" fmla="*/ 143 h 586"/>
                  <a:gd name="T8" fmla="*/ 820 w 849"/>
                  <a:gd name="T9" fmla="*/ 100 h 586"/>
                  <a:gd name="T10" fmla="*/ 769 w 849"/>
                  <a:gd name="T11" fmla="*/ 88 h 586"/>
                  <a:gd name="T12" fmla="*/ 730 w 849"/>
                  <a:gd name="T13" fmla="*/ 91 h 586"/>
                  <a:gd name="T14" fmla="*/ 671 w 849"/>
                  <a:gd name="T15" fmla="*/ 76 h 586"/>
                  <a:gd name="T16" fmla="*/ 590 w 849"/>
                  <a:gd name="T17" fmla="*/ 112 h 586"/>
                  <a:gd name="T18" fmla="*/ 564 w 849"/>
                  <a:gd name="T19" fmla="*/ 70 h 586"/>
                  <a:gd name="T20" fmla="*/ 530 w 849"/>
                  <a:gd name="T21" fmla="*/ 71 h 586"/>
                  <a:gd name="T22" fmla="*/ 510 w 849"/>
                  <a:gd name="T23" fmla="*/ 64 h 586"/>
                  <a:gd name="T24" fmla="*/ 487 w 849"/>
                  <a:gd name="T25" fmla="*/ 25 h 586"/>
                  <a:gd name="T26" fmla="*/ 454 w 849"/>
                  <a:gd name="T27" fmla="*/ 10 h 586"/>
                  <a:gd name="T28" fmla="*/ 390 w 849"/>
                  <a:gd name="T29" fmla="*/ 52 h 586"/>
                  <a:gd name="T30" fmla="*/ 349 w 849"/>
                  <a:gd name="T31" fmla="*/ 61 h 586"/>
                  <a:gd name="T32" fmla="*/ 313 w 849"/>
                  <a:gd name="T33" fmla="*/ 123 h 586"/>
                  <a:gd name="T34" fmla="*/ 264 w 849"/>
                  <a:gd name="T35" fmla="*/ 138 h 586"/>
                  <a:gd name="T36" fmla="*/ 221 w 849"/>
                  <a:gd name="T37" fmla="*/ 134 h 586"/>
                  <a:gd name="T38" fmla="*/ 195 w 849"/>
                  <a:gd name="T39" fmla="*/ 137 h 586"/>
                  <a:gd name="T40" fmla="*/ 112 w 849"/>
                  <a:gd name="T41" fmla="*/ 138 h 586"/>
                  <a:gd name="T42" fmla="*/ 46 w 849"/>
                  <a:gd name="T43" fmla="*/ 177 h 586"/>
                  <a:gd name="T44" fmla="*/ 30 w 849"/>
                  <a:gd name="T45" fmla="*/ 184 h 586"/>
                  <a:gd name="T46" fmla="*/ 69 w 849"/>
                  <a:gd name="T47" fmla="*/ 251 h 586"/>
                  <a:gd name="T48" fmla="*/ 31 w 849"/>
                  <a:gd name="T49" fmla="*/ 376 h 586"/>
                  <a:gd name="T50" fmla="*/ 8 w 849"/>
                  <a:gd name="T51" fmla="*/ 404 h 586"/>
                  <a:gd name="T52" fmla="*/ 29 w 849"/>
                  <a:gd name="T53" fmla="*/ 444 h 586"/>
                  <a:gd name="T54" fmla="*/ 56 w 849"/>
                  <a:gd name="T55" fmla="*/ 438 h 586"/>
                  <a:gd name="T56" fmla="*/ 146 w 849"/>
                  <a:gd name="T57" fmla="*/ 450 h 586"/>
                  <a:gd name="T58" fmla="*/ 220 w 849"/>
                  <a:gd name="T59" fmla="*/ 392 h 586"/>
                  <a:gd name="T60" fmla="*/ 227 w 849"/>
                  <a:gd name="T61" fmla="*/ 381 h 586"/>
                  <a:gd name="T62" fmla="*/ 305 w 849"/>
                  <a:gd name="T63" fmla="*/ 372 h 586"/>
                  <a:gd name="T64" fmla="*/ 341 w 849"/>
                  <a:gd name="T65" fmla="*/ 387 h 586"/>
                  <a:gd name="T66" fmla="*/ 384 w 849"/>
                  <a:gd name="T67" fmla="*/ 439 h 586"/>
                  <a:gd name="T68" fmla="*/ 426 w 849"/>
                  <a:gd name="T69" fmla="*/ 480 h 586"/>
                  <a:gd name="T70" fmla="*/ 391 w 849"/>
                  <a:gd name="T71" fmla="*/ 485 h 586"/>
                  <a:gd name="T72" fmla="*/ 381 w 849"/>
                  <a:gd name="T73" fmla="*/ 492 h 586"/>
                  <a:gd name="T74" fmla="*/ 375 w 849"/>
                  <a:gd name="T75" fmla="*/ 526 h 586"/>
                  <a:gd name="T76" fmla="*/ 352 w 849"/>
                  <a:gd name="T77" fmla="*/ 569 h 586"/>
                  <a:gd name="T78" fmla="*/ 355 w 849"/>
                  <a:gd name="T79" fmla="*/ 583 h 586"/>
                  <a:gd name="T80" fmla="*/ 425 w 849"/>
                  <a:gd name="T81" fmla="*/ 573 h 586"/>
                  <a:gd name="T82" fmla="*/ 414 w 849"/>
                  <a:gd name="T83" fmla="*/ 537 h 586"/>
                  <a:gd name="T84" fmla="*/ 428 w 849"/>
                  <a:gd name="T85" fmla="*/ 523 h 586"/>
                  <a:gd name="T86" fmla="*/ 457 w 849"/>
                  <a:gd name="T87" fmla="*/ 473 h 586"/>
                  <a:gd name="T88" fmla="*/ 494 w 849"/>
                  <a:gd name="T89" fmla="*/ 441 h 586"/>
                  <a:gd name="T90" fmla="*/ 544 w 849"/>
                  <a:gd name="T91" fmla="*/ 426 h 586"/>
                  <a:gd name="T92" fmla="*/ 501 w 849"/>
                  <a:gd name="T93" fmla="*/ 456 h 586"/>
                  <a:gd name="T94" fmla="*/ 534 w 849"/>
                  <a:gd name="T95" fmla="*/ 463 h 586"/>
                  <a:gd name="T96" fmla="*/ 573 w 849"/>
                  <a:gd name="T97" fmla="*/ 453 h 586"/>
                  <a:gd name="T98" fmla="*/ 606 w 849"/>
                  <a:gd name="T99" fmla="*/ 460 h 586"/>
                  <a:gd name="T100" fmla="*/ 577 w 849"/>
                  <a:gd name="T101" fmla="*/ 492 h 586"/>
                  <a:gd name="T102" fmla="*/ 606 w 849"/>
                  <a:gd name="T103" fmla="*/ 522 h 586"/>
                  <a:gd name="T104" fmla="*/ 637 w 849"/>
                  <a:gd name="T105" fmla="*/ 564 h 586"/>
                  <a:gd name="T106" fmla="*/ 710 w 849"/>
                  <a:gd name="T107" fmla="*/ 501 h 586"/>
                  <a:gd name="T108" fmla="*/ 738 w 849"/>
                  <a:gd name="T109" fmla="*/ 488 h 586"/>
                  <a:gd name="T110" fmla="*/ 740 w 849"/>
                  <a:gd name="T111" fmla="*/ 448 h 586"/>
                  <a:gd name="T112" fmla="*/ 714 w 849"/>
                  <a:gd name="T113" fmla="*/ 473 h 586"/>
                  <a:gd name="T114" fmla="*/ 691 w 849"/>
                  <a:gd name="T115" fmla="*/ 386 h 586"/>
                  <a:gd name="T116" fmla="*/ 741 w 849"/>
                  <a:gd name="T117" fmla="*/ 354 h 586"/>
                  <a:gd name="T118" fmla="*/ 791 w 849"/>
                  <a:gd name="T119" fmla="*/ 298 h 5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49" h="586">
                    <a:moveTo>
                      <a:pt x="797" y="293"/>
                    </a:moveTo>
                    <a:cubicBezTo>
                      <a:pt x="797" y="293"/>
                      <a:pt x="797" y="293"/>
                      <a:pt x="797" y="293"/>
                    </a:cubicBezTo>
                    <a:cubicBezTo>
                      <a:pt x="792" y="288"/>
                      <a:pt x="795" y="286"/>
                      <a:pt x="796" y="281"/>
                    </a:cubicBezTo>
                    <a:cubicBezTo>
                      <a:pt x="798" y="275"/>
                      <a:pt x="790" y="283"/>
                      <a:pt x="790" y="279"/>
                    </a:cubicBezTo>
                    <a:cubicBezTo>
                      <a:pt x="790" y="275"/>
                      <a:pt x="787" y="262"/>
                      <a:pt x="788" y="258"/>
                    </a:cubicBezTo>
                    <a:cubicBezTo>
                      <a:pt x="789" y="258"/>
                      <a:pt x="805" y="243"/>
                      <a:pt x="805" y="243"/>
                    </a:cubicBezTo>
                    <a:cubicBezTo>
                      <a:pt x="807" y="241"/>
                      <a:pt x="804" y="238"/>
                      <a:pt x="804" y="236"/>
                    </a:cubicBezTo>
                    <a:cubicBezTo>
                      <a:pt x="803" y="233"/>
                      <a:pt x="803" y="231"/>
                      <a:pt x="804" y="228"/>
                    </a:cubicBezTo>
                    <a:cubicBezTo>
                      <a:pt x="813" y="218"/>
                      <a:pt x="839" y="223"/>
                      <a:pt x="847" y="211"/>
                    </a:cubicBezTo>
                    <a:cubicBezTo>
                      <a:pt x="849" y="208"/>
                      <a:pt x="846" y="205"/>
                      <a:pt x="845" y="202"/>
                    </a:cubicBezTo>
                    <a:cubicBezTo>
                      <a:pt x="844" y="201"/>
                      <a:pt x="842" y="201"/>
                      <a:pt x="842" y="199"/>
                    </a:cubicBezTo>
                    <a:cubicBezTo>
                      <a:pt x="842" y="198"/>
                      <a:pt x="846" y="198"/>
                      <a:pt x="846" y="197"/>
                    </a:cubicBezTo>
                    <a:cubicBezTo>
                      <a:pt x="846" y="195"/>
                      <a:pt x="843" y="194"/>
                      <a:pt x="843" y="192"/>
                    </a:cubicBezTo>
                    <a:cubicBezTo>
                      <a:pt x="842" y="189"/>
                      <a:pt x="843" y="186"/>
                      <a:pt x="843" y="182"/>
                    </a:cubicBezTo>
                    <a:cubicBezTo>
                      <a:pt x="843" y="181"/>
                      <a:pt x="845" y="180"/>
                      <a:pt x="845" y="179"/>
                    </a:cubicBezTo>
                    <a:cubicBezTo>
                      <a:pt x="847" y="172"/>
                      <a:pt x="837" y="178"/>
                      <a:pt x="837" y="178"/>
                    </a:cubicBezTo>
                    <a:cubicBezTo>
                      <a:pt x="835" y="177"/>
                      <a:pt x="839" y="174"/>
                      <a:pt x="838" y="172"/>
                    </a:cubicBezTo>
                    <a:cubicBezTo>
                      <a:pt x="836" y="168"/>
                      <a:pt x="833" y="164"/>
                      <a:pt x="830" y="161"/>
                    </a:cubicBezTo>
                    <a:cubicBezTo>
                      <a:pt x="826" y="157"/>
                      <a:pt x="820" y="167"/>
                      <a:pt x="819" y="160"/>
                    </a:cubicBezTo>
                    <a:cubicBezTo>
                      <a:pt x="816" y="142"/>
                      <a:pt x="818" y="147"/>
                      <a:pt x="828" y="143"/>
                    </a:cubicBezTo>
                    <a:cubicBezTo>
                      <a:pt x="829" y="142"/>
                      <a:pt x="833" y="133"/>
                      <a:pt x="830" y="134"/>
                    </a:cubicBezTo>
                    <a:cubicBezTo>
                      <a:pt x="822" y="135"/>
                      <a:pt x="818" y="141"/>
                      <a:pt x="811" y="135"/>
                    </a:cubicBezTo>
                    <a:cubicBezTo>
                      <a:pt x="804" y="129"/>
                      <a:pt x="817" y="128"/>
                      <a:pt x="818" y="125"/>
                    </a:cubicBezTo>
                    <a:cubicBezTo>
                      <a:pt x="820" y="123"/>
                      <a:pt x="818" y="120"/>
                      <a:pt x="818" y="118"/>
                    </a:cubicBezTo>
                    <a:cubicBezTo>
                      <a:pt x="820" y="111"/>
                      <a:pt x="827" y="107"/>
                      <a:pt x="820" y="100"/>
                    </a:cubicBezTo>
                    <a:cubicBezTo>
                      <a:pt x="818" y="97"/>
                      <a:pt x="814" y="96"/>
                      <a:pt x="812" y="94"/>
                    </a:cubicBezTo>
                    <a:cubicBezTo>
                      <a:pt x="809" y="91"/>
                      <a:pt x="816" y="83"/>
                      <a:pt x="811" y="83"/>
                    </a:cubicBezTo>
                    <a:cubicBezTo>
                      <a:pt x="800" y="82"/>
                      <a:pt x="807" y="91"/>
                      <a:pt x="799" y="93"/>
                    </a:cubicBezTo>
                    <a:cubicBezTo>
                      <a:pt x="770" y="98"/>
                      <a:pt x="806" y="89"/>
                      <a:pt x="783" y="85"/>
                    </a:cubicBezTo>
                    <a:cubicBezTo>
                      <a:pt x="775" y="84"/>
                      <a:pt x="775" y="92"/>
                      <a:pt x="769" y="88"/>
                    </a:cubicBezTo>
                    <a:cubicBezTo>
                      <a:pt x="766" y="87"/>
                      <a:pt x="765" y="85"/>
                      <a:pt x="763" y="83"/>
                    </a:cubicBezTo>
                    <a:cubicBezTo>
                      <a:pt x="758" y="79"/>
                      <a:pt x="760" y="92"/>
                      <a:pt x="754" y="92"/>
                    </a:cubicBezTo>
                    <a:cubicBezTo>
                      <a:pt x="750" y="92"/>
                      <a:pt x="746" y="91"/>
                      <a:pt x="742" y="90"/>
                    </a:cubicBezTo>
                    <a:cubicBezTo>
                      <a:pt x="740" y="88"/>
                      <a:pt x="739" y="85"/>
                      <a:pt x="737" y="85"/>
                    </a:cubicBezTo>
                    <a:cubicBezTo>
                      <a:pt x="734" y="85"/>
                      <a:pt x="733" y="91"/>
                      <a:pt x="730" y="91"/>
                    </a:cubicBezTo>
                    <a:cubicBezTo>
                      <a:pt x="726" y="91"/>
                      <a:pt x="723" y="87"/>
                      <a:pt x="718" y="86"/>
                    </a:cubicBezTo>
                    <a:cubicBezTo>
                      <a:pt x="704" y="84"/>
                      <a:pt x="726" y="106"/>
                      <a:pt x="710" y="103"/>
                    </a:cubicBezTo>
                    <a:cubicBezTo>
                      <a:pt x="706" y="103"/>
                      <a:pt x="705" y="98"/>
                      <a:pt x="702" y="96"/>
                    </a:cubicBezTo>
                    <a:cubicBezTo>
                      <a:pt x="700" y="95"/>
                      <a:pt x="696" y="96"/>
                      <a:pt x="693" y="95"/>
                    </a:cubicBezTo>
                    <a:cubicBezTo>
                      <a:pt x="685" y="92"/>
                      <a:pt x="679" y="82"/>
                      <a:pt x="671" y="76"/>
                    </a:cubicBezTo>
                    <a:cubicBezTo>
                      <a:pt x="669" y="74"/>
                      <a:pt x="648" y="96"/>
                      <a:pt x="641" y="106"/>
                    </a:cubicBezTo>
                    <a:cubicBezTo>
                      <a:pt x="639" y="109"/>
                      <a:pt x="633" y="103"/>
                      <a:pt x="629" y="103"/>
                    </a:cubicBezTo>
                    <a:cubicBezTo>
                      <a:pt x="627" y="103"/>
                      <a:pt x="627" y="106"/>
                      <a:pt x="625" y="107"/>
                    </a:cubicBezTo>
                    <a:cubicBezTo>
                      <a:pt x="622" y="109"/>
                      <a:pt x="620" y="102"/>
                      <a:pt x="616" y="101"/>
                    </a:cubicBezTo>
                    <a:cubicBezTo>
                      <a:pt x="603" y="98"/>
                      <a:pt x="600" y="117"/>
                      <a:pt x="590" y="112"/>
                    </a:cubicBezTo>
                    <a:cubicBezTo>
                      <a:pt x="586" y="111"/>
                      <a:pt x="583" y="108"/>
                      <a:pt x="580" y="105"/>
                    </a:cubicBezTo>
                    <a:cubicBezTo>
                      <a:pt x="578" y="103"/>
                      <a:pt x="576" y="100"/>
                      <a:pt x="575" y="97"/>
                    </a:cubicBezTo>
                    <a:cubicBezTo>
                      <a:pt x="575" y="95"/>
                      <a:pt x="579" y="95"/>
                      <a:pt x="578" y="93"/>
                    </a:cubicBezTo>
                    <a:cubicBezTo>
                      <a:pt x="578" y="91"/>
                      <a:pt x="563" y="78"/>
                      <a:pt x="563" y="76"/>
                    </a:cubicBezTo>
                    <a:cubicBezTo>
                      <a:pt x="562" y="74"/>
                      <a:pt x="566" y="72"/>
                      <a:pt x="564" y="70"/>
                    </a:cubicBezTo>
                    <a:cubicBezTo>
                      <a:pt x="564" y="70"/>
                      <a:pt x="563" y="70"/>
                      <a:pt x="562" y="70"/>
                    </a:cubicBezTo>
                    <a:cubicBezTo>
                      <a:pt x="560" y="70"/>
                      <a:pt x="558" y="72"/>
                      <a:pt x="556" y="72"/>
                    </a:cubicBezTo>
                    <a:cubicBezTo>
                      <a:pt x="552" y="73"/>
                      <a:pt x="551" y="66"/>
                      <a:pt x="549" y="63"/>
                    </a:cubicBezTo>
                    <a:cubicBezTo>
                      <a:pt x="549" y="62"/>
                      <a:pt x="547" y="62"/>
                      <a:pt x="546" y="62"/>
                    </a:cubicBezTo>
                    <a:cubicBezTo>
                      <a:pt x="544" y="64"/>
                      <a:pt x="532" y="71"/>
                      <a:pt x="530" y="71"/>
                    </a:cubicBezTo>
                    <a:cubicBezTo>
                      <a:pt x="529" y="72"/>
                      <a:pt x="529" y="68"/>
                      <a:pt x="527" y="68"/>
                    </a:cubicBezTo>
                    <a:cubicBezTo>
                      <a:pt x="523" y="68"/>
                      <a:pt x="519" y="69"/>
                      <a:pt x="516" y="70"/>
                    </a:cubicBezTo>
                    <a:cubicBezTo>
                      <a:pt x="515" y="70"/>
                      <a:pt x="511" y="78"/>
                      <a:pt x="508" y="73"/>
                    </a:cubicBezTo>
                    <a:cubicBezTo>
                      <a:pt x="508" y="72"/>
                      <a:pt x="510" y="70"/>
                      <a:pt x="510" y="69"/>
                    </a:cubicBezTo>
                    <a:cubicBezTo>
                      <a:pt x="511" y="68"/>
                      <a:pt x="511" y="65"/>
                      <a:pt x="510" y="64"/>
                    </a:cubicBezTo>
                    <a:cubicBezTo>
                      <a:pt x="508" y="62"/>
                      <a:pt x="506" y="64"/>
                      <a:pt x="504" y="62"/>
                    </a:cubicBezTo>
                    <a:cubicBezTo>
                      <a:pt x="501" y="60"/>
                      <a:pt x="504" y="55"/>
                      <a:pt x="502" y="52"/>
                    </a:cubicBezTo>
                    <a:cubicBezTo>
                      <a:pt x="500" y="49"/>
                      <a:pt x="492" y="48"/>
                      <a:pt x="494" y="44"/>
                    </a:cubicBezTo>
                    <a:cubicBezTo>
                      <a:pt x="496" y="42"/>
                      <a:pt x="509" y="39"/>
                      <a:pt x="506" y="34"/>
                    </a:cubicBezTo>
                    <a:cubicBezTo>
                      <a:pt x="501" y="27"/>
                      <a:pt x="490" y="27"/>
                      <a:pt x="487" y="25"/>
                    </a:cubicBezTo>
                    <a:cubicBezTo>
                      <a:pt x="485" y="23"/>
                      <a:pt x="483" y="21"/>
                      <a:pt x="482" y="18"/>
                    </a:cubicBezTo>
                    <a:cubicBezTo>
                      <a:pt x="481" y="16"/>
                      <a:pt x="483" y="13"/>
                      <a:pt x="482" y="12"/>
                    </a:cubicBezTo>
                    <a:cubicBezTo>
                      <a:pt x="480" y="10"/>
                      <a:pt x="476" y="10"/>
                      <a:pt x="474" y="8"/>
                    </a:cubicBezTo>
                    <a:cubicBezTo>
                      <a:pt x="470" y="6"/>
                      <a:pt x="469" y="1"/>
                      <a:pt x="465" y="1"/>
                    </a:cubicBezTo>
                    <a:cubicBezTo>
                      <a:pt x="460" y="0"/>
                      <a:pt x="459" y="10"/>
                      <a:pt x="454" y="10"/>
                    </a:cubicBezTo>
                    <a:cubicBezTo>
                      <a:pt x="452" y="10"/>
                      <a:pt x="452" y="6"/>
                      <a:pt x="451" y="6"/>
                    </a:cubicBezTo>
                    <a:cubicBezTo>
                      <a:pt x="429" y="4"/>
                      <a:pt x="442" y="17"/>
                      <a:pt x="429" y="22"/>
                    </a:cubicBezTo>
                    <a:cubicBezTo>
                      <a:pt x="429" y="22"/>
                      <a:pt x="405" y="24"/>
                      <a:pt x="404" y="24"/>
                    </a:cubicBezTo>
                    <a:cubicBezTo>
                      <a:pt x="403" y="24"/>
                      <a:pt x="407" y="41"/>
                      <a:pt x="402" y="46"/>
                    </a:cubicBezTo>
                    <a:cubicBezTo>
                      <a:pt x="399" y="49"/>
                      <a:pt x="395" y="52"/>
                      <a:pt x="390" y="52"/>
                    </a:cubicBezTo>
                    <a:cubicBezTo>
                      <a:pt x="388" y="52"/>
                      <a:pt x="389" y="49"/>
                      <a:pt x="387" y="48"/>
                    </a:cubicBezTo>
                    <a:cubicBezTo>
                      <a:pt x="386" y="47"/>
                      <a:pt x="384" y="50"/>
                      <a:pt x="383" y="49"/>
                    </a:cubicBezTo>
                    <a:cubicBezTo>
                      <a:pt x="377" y="51"/>
                      <a:pt x="370" y="51"/>
                      <a:pt x="365" y="54"/>
                    </a:cubicBezTo>
                    <a:cubicBezTo>
                      <a:pt x="362" y="55"/>
                      <a:pt x="364" y="59"/>
                      <a:pt x="361" y="60"/>
                    </a:cubicBezTo>
                    <a:cubicBezTo>
                      <a:pt x="358" y="62"/>
                      <a:pt x="353" y="60"/>
                      <a:pt x="349" y="61"/>
                    </a:cubicBezTo>
                    <a:cubicBezTo>
                      <a:pt x="347" y="62"/>
                      <a:pt x="343" y="68"/>
                      <a:pt x="340" y="83"/>
                    </a:cubicBezTo>
                    <a:cubicBezTo>
                      <a:pt x="340" y="87"/>
                      <a:pt x="339" y="98"/>
                      <a:pt x="339" y="103"/>
                    </a:cubicBezTo>
                    <a:cubicBezTo>
                      <a:pt x="339" y="109"/>
                      <a:pt x="361" y="124"/>
                      <a:pt x="347" y="127"/>
                    </a:cubicBezTo>
                    <a:cubicBezTo>
                      <a:pt x="332" y="130"/>
                      <a:pt x="339" y="116"/>
                      <a:pt x="326" y="115"/>
                    </a:cubicBezTo>
                    <a:cubicBezTo>
                      <a:pt x="300" y="113"/>
                      <a:pt x="331" y="120"/>
                      <a:pt x="313" y="123"/>
                    </a:cubicBezTo>
                    <a:cubicBezTo>
                      <a:pt x="310" y="124"/>
                      <a:pt x="307" y="120"/>
                      <a:pt x="304" y="120"/>
                    </a:cubicBezTo>
                    <a:cubicBezTo>
                      <a:pt x="295" y="122"/>
                      <a:pt x="300" y="132"/>
                      <a:pt x="292" y="134"/>
                    </a:cubicBezTo>
                    <a:cubicBezTo>
                      <a:pt x="287" y="135"/>
                      <a:pt x="283" y="120"/>
                      <a:pt x="278" y="117"/>
                    </a:cubicBezTo>
                    <a:cubicBezTo>
                      <a:pt x="274" y="115"/>
                      <a:pt x="268" y="123"/>
                      <a:pt x="265" y="128"/>
                    </a:cubicBezTo>
                    <a:cubicBezTo>
                      <a:pt x="263" y="130"/>
                      <a:pt x="267" y="139"/>
                      <a:pt x="264" y="138"/>
                    </a:cubicBezTo>
                    <a:cubicBezTo>
                      <a:pt x="252" y="135"/>
                      <a:pt x="270" y="139"/>
                      <a:pt x="255" y="129"/>
                    </a:cubicBezTo>
                    <a:cubicBezTo>
                      <a:pt x="247" y="123"/>
                      <a:pt x="250" y="134"/>
                      <a:pt x="245" y="134"/>
                    </a:cubicBezTo>
                    <a:cubicBezTo>
                      <a:pt x="231" y="134"/>
                      <a:pt x="243" y="129"/>
                      <a:pt x="238" y="126"/>
                    </a:cubicBezTo>
                    <a:cubicBezTo>
                      <a:pt x="235" y="124"/>
                      <a:pt x="235" y="133"/>
                      <a:pt x="232" y="135"/>
                    </a:cubicBezTo>
                    <a:cubicBezTo>
                      <a:pt x="229" y="139"/>
                      <a:pt x="224" y="134"/>
                      <a:pt x="221" y="134"/>
                    </a:cubicBezTo>
                    <a:cubicBezTo>
                      <a:pt x="218" y="134"/>
                      <a:pt x="221" y="145"/>
                      <a:pt x="218" y="146"/>
                    </a:cubicBezTo>
                    <a:cubicBezTo>
                      <a:pt x="218" y="147"/>
                      <a:pt x="216" y="146"/>
                      <a:pt x="215" y="145"/>
                    </a:cubicBezTo>
                    <a:cubicBezTo>
                      <a:pt x="207" y="141"/>
                      <a:pt x="228" y="131"/>
                      <a:pt x="205" y="137"/>
                    </a:cubicBezTo>
                    <a:cubicBezTo>
                      <a:pt x="198" y="139"/>
                      <a:pt x="209" y="148"/>
                      <a:pt x="194" y="142"/>
                    </a:cubicBezTo>
                    <a:cubicBezTo>
                      <a:pt x="193" y="142"/>
                      <a:pt x="196" y="138"/>
                      <a:pt x="195" y="137"/>
                    </a:cubicBezTo>
                    <a:cubicBezTo>
                      <a:pt x="194" y="136"/>
                      <a:pt x="192" y="139"/>
                      <a:pt x="190" y="138"/>
                    </a:cubicBezTo>
                    <a:cubicBezTo>
                      <a:pt x="187" y="135"/>
                      <a:pt x="192" y="130"/>
                      <a:pt x="185" y="131"/>
                    </a:cubicBezTo>
                    <a:cubicBezTo>
                      <a:pt x="172" y="135"/>
                      <a:pt x="155" y="137"/>
                      <a:pt x="141" y="135"/>
                    </a:cubicBezTo>
                    <a:cubicBezTo>
                      <a:pt x="139" y="134"/>
                      <a:pt x="138" y="132"/>
                      <a:pt x="137" y="132"/>
                    </a:cubicBezTo>
                    <a:cubicBezTo>
                      <a:pt x="129" y="131"/>
                      <a:pt x="121" y="137"/>
                      <a:pt x="112" y="138"/>
                    </a:cubicBezTo>
                    <a:cubicBezTo>
                      <a:pt x="110" y="138"/>
                      <a:pt x="107" y="138"/>
                      <a:pt x="104" y="138"/>
                    </a:cubicBezTo>
                    <a:cubicBezTo>
                      <a:pt x="101" y="138"/>
                      <a:pt x="98" y="137"/>
                      <a:pt x="95" y="137"/>
                    </a:cubicBezTo>
                    <a:cubicBezTo>
                      <a:pt x="88" y="139"/>
                      <a:pt x="83" y="145"/>
                      <a:pt x="76" y="148"/>
                    </a:cubicBezTo>
                    <a:cubicBezTo>
                      <a:pt x="72" y="150"/>
                      <a:pt x="66" y="148"/>
                      <a:pt x="61" y="151"/>
                    </a:cubicBezTo>
                    <a:cubicBezTo>
                      <a:pt x="59" y="152"/>
                      <a:pt x="51" y="179"/>
                      <a:pt x="46" y="177"/>
                    </a:cubicBezTo>
                    <a:cubicBezTo>
                      <a:pt x="44" y="177"/>
                      <a:pt x="44" y="174"/>
                      <a:pt x="43" y="174"/>
                    </a:cubicBezTo>
                    <a:cubicBezTo>
                      <a:pt x="39" y="173"/>
                      <a:pt x="35" y="173"/>
                      <a:pt x="33" y="174"/>
                    </a:cubicBezTo>
                    <a:cubicBezTo>
                      <a:pt x="23" y="177"/>
                      <a:pt x="37" y="182"/>
                      <a:pt x="30" y="184"/>
                    </a:cubicBezTo>
                    <a:cubicBezTo>
                      <a:pt x="30" y="185"/>
                      <a:pt x="30" y="185"/>
                      <a:pt x="30" y="185"/>
                    </a:cubicBezTo>
                    <a:cubicBezTo>
                      <a:pt x="30" y="184"/>
                      <a:pt x="30" y="184"/>
                      <a:pt x="30" y="184"/>
                    </a:cubicBezTo>
                    <a:cubicBezTo>
                      <a:pt x="31" y="186"/>
                      <a:pt x="34" y="188"/>
                      <a:pt x="35" y="190"/>
                    </a:cubicBezTo>
                    <a:cubicBezTo>
                      <a:pt x="36" y="194"/>
                      <a:pt x="34" y="198"/>
                      <a:pt x="35" y="201"/>
                    </a:cubicBezTo>
                    <a:cubicBezTo>
                      <a:pt x="40" y="211"/>
                      <a:pt x="56" y="222"/>
                      <a:pt x="65" y="229"/>
                    </a:cubicBezTo>
                    <a:cubicBezTo>
                      <a:pt x="67" y="231"/>
                      <a:pt x="54" y="230"/>
                      <a:pt x="57" y="236"/>
                    </a:cubicBezTo>
                    <a:cubicBezTo>
                      <a:pt x="57" y="236"/>
                      <a:pt x="69" y="246"/>
                      <a:pt x="69" y="251"/>
                    </a:cubicBezTo>
                    <a:cubicBezTo>
                      <a:pt x="67" y="271"/>
                      <a:pt x="61" y="259"/>
                      <a:pt x="51" y="267"/>
                    </a:cubicBezTo>
                    <a:cubicBezTo>
                      <a:pt x="46" y="271"/>
                      <a:pt x="12" y="335"/>
                      <a:pt x="13" y="340"/>
                    </a:cubicBezTo>
                    <a:cubicBezTo>
                      <a:pt x="14" y="346"/>
                      <a:pt x="20" y="350"/>
                      <a:pt x="22" y="356"/>
                    </a:cubicBezTo>
                    <a:cubicBezTo>
                      <a:pt x="22" y="359"/>
                      <a:pt x="18" y="363"/>
                      <a:pt x="20" y="365"/>
                    </a:cubicBezTo>
                    <a:cubicBezTo>
                      <a:pt x="30" y="377"/>
                      <a:pt x="24" y="354"/>
                      <a:pt x="31" y="376"/>
                    </a:cubicBezTo>
                    <a:cubicBezTo>
                      <a:pt x="31" y="377"/>
                      <a:pt x="29" y="374"/>
                      <a:pt x="28" y="374"/>
                    </a:cubicBezTo>
                    <a:cubicBezTo>
                      <a:pt x="25" y="373"/>
                      <a:pt x="22" y="374"/>
                      <a:pt x="20" y="374"/>
                    </a:cubicBezTo>
                    <a:cubicBezTo>
                      <a:pt x="18" y="374"/>
                      <a:pt x="16" y="374"/>
                      <a:pt x="14" y="373"/>
                    </a:cubicBezTo>
                    <a:cubicBezTo>
                      <a:pt x="14" y="379"/>
                      <a:pt x="10" y="387"/>
                      <a:pt x="10" y="392"/>
                    </a:cubicBezTo>
                    <a:cubicBezTo>
                      <a:pt x="9" y="396"/>
                      <a:pt x="10" y="400"/>
                      <a:pt x="8" y="404"/>
                    </a:cubicBezTo>
                    <a:cubicBezTo>
                      <a:pt x="7" y="408"/>
                      <a:pt x="1" y="409"/>
                      <a:pt x="1" y="413"/>
                    </a:cubicBezTo>
                    <a:cubicBezTo>
                      <a:pt x="0" y="417"/>
                      <a:pt x="3" y="421"/>
                      <a:pt x="3" y="425"/>
                    </a:cubicBezTo>
                    <a:cubicBezTo>
                      <a:pt x="16" y="426"/>
                      <a:pt x="7" y="432"/>
                      <a:pt x="16" y="435"/>
                    </a:cubicBezTo>
                    <a:cubicBezTo>
                      <a:pt x="18" y="436"/>
                      <a:pt x="20" y="433"/>
                      <a:pt x="22" y="434"/>
                    </a:cubicBezTo>
                    <a:cubicBezTo>
                      <a:pt x="25" y="436"/>
                      <a:pt x="26" y="442"/>
                      <a:pt x="29" y="444"/>
                    </a:cubicBezTo>
                    <a:cubicBezTo>
                      <a:pt x="31" y="445"/>
                      <a:pt x="33" y="442"/>
                      <a:pt x="35" y="442"/>
                    </a:cubicBezTo>
                    <a:cubicBezTo>
                      <a:pt x="37" y="442"/>
                      <a:pt x="39" y="443"/>
                      <a:pt x="40" y="443"/>
                    </a:cubicBezTo>
                    <a:cubicBezTo>
                      <a:pt x="47" y="448"/>
                      <a:pt x="38" y="447"/>
                      <a:pt x="45" y="453"/>
                    </a:cubicBezTo>
                    <a:cubicBezTo>
                      <a:pt x="47" y="454"/>
                      <a:pt x="50" y="452"/>
                      <a:pt x="54" y="441"/>
                    </a:cubicBezTo>
                    <a:cubicBezTo>
                      <a:pt x="55" y="440"/>
                      <a:pt x="55" y="438"/>
                      <a:pt x="56" y="438"/>
                    </a:cubicBezTo>
                    <a:cubicBezTo>
                      <a:pt x="57" y="438"/>
                      <a:pt x="72" y="445"/>
                      <a:pt x="73" y="445"/>
                    </a:cubicBezTo>
                    <a:cubicBezTo>
                      <a:pt x="74" y="445"/>
                      <a:pt x="75" y="442"/>
                      <a:pt x="76" y="442"/>
                    </a:cubicBezTo>
                    <a:cubicBezTo>
                      <a:pt x="83" y="439"/>
                      <a:pt x="102" y="446"/>
                      <a:pt x="111" y="444"/>
                    </a:cubicBezTo>
                    <a:cubicBezTo>
                      <a:pt x="116" y="442"/>
                      <a:pt x="120" y="438"/>
                      <a:pt x="125" y="437"/>
                    </a:cubicBezTo>
                    <a:cubicBezTo>
                      <a:pt x="134" y="436"/>
                      <a:pt x="140" y="448"/>
                      <a:pt x="146" y="450"/>
                    </a:cubicBezTo>
                    <a:cubicBezTo>
                      <a:pt x="155" y="453"/>
                      <a:pt x="158" y="437"/>
                      <a:pt x="160" y="435"/>
                    </a:cubicBezTo>
                    <a:cubicBezTo>
                      <a:pt x="170" y="424"/>
                      <a:pt x="196" y="425"/>
                      <a:pt x="204" y="417"/>
                    </a:cubicBezTo>
                    <a:cubicBezTo>
                      <a:pt x="219" y="403"/>
                      <a:pt x="197" y="415"/>
                      <a:pt x="208" y="401"/>
                    </a:cubicBezTo>
                    <a:cubicBezTo>
                      <a:pt x="211" y="397"/>
                      <a:pt x="215" y="395"/>
                      <a:pt x="220" y="393"/>
                    </a:cubicBezTo>
                    <a:cubicBezTo>
                      <a:pt x="220" y="392"/>
                      <a:pt x="220" y="392"/>
                      <a:pt x="220" y="392"/>
                    </a:cubicBezTo>
                    <a:cubicBezTo>
                      <a:pt x="223" y="387"/>
                      <a:pt x="223" y="387"/>
                      <a:pt x="223" y="387"/>
                    </a:cubicBezTo>
                    <a:cubicBezTo>
                      <a:pt x="223" y="386"/>
                      <a:pt x="223" y="386"/>
                      <a:pt x="223" y="386"/>
                    </a:cubicBezTo>
                    <a:cubicBezTo>
                      <a:pt x="223" y="383"/>
                      <a:pt x="223" y="383"/>
                      <a:pt x="223" y="383"/>
                    </a:cubicBezTo>
                    <a:cubicBezTo>
                      <a:pt x="229" y="384"/>
                      <a:pt x="229" y="384"/>
                      <a:pt x="229" y="384"/>
                    </a:cubicBezTo>
                    <a:cubicBezTo>
                      <a:pt x="228" y="383"/>
                      <a:pt x="227" y="382"/>
                      <a:pt x="227" y="381"/>
                    </a:cubicBezTo>
                    <a:cubicBezTo>
                      <a:pt x="227" y="380"/>
                      <a:pt x="249" y="378"/>
                      <a:pt x="250" y="377"/>
                    </a:cubicBezTo>
                    <a:cubicBezTo>
                      <a:pt x="261" y="372"/>
                      <a:pt x="257" y="363"/>
                      <a:pt x="272" y="365"/>
                    </a:cubicBezTo>
                    <a:cubicBezTo>
                      <a:pt x="279" y="365"/>
                      <a:pt x="285" y="367"/>
                      <a:pt x="291" y="371"/>
                    </a:cubicBezTo>
                    <a:cubicBezTo>
                      <a:pt x="292" y="373"/>
                      <a:pt x="291" y="376"/>
                      <a:pt x="292" y="376"/>
                    </a:cubicBezTo>
                    <a:cubicBezTo>
                      <a:pt x="296" y="376"/>
                      <a:pt x="300" y="373"/>
                      <a:pt x="305" y="372"/>
                    </a:cubicBezTo>
                    <a:cubicBezTo>
                      <a:pt x="307" y="371"/>
                      <a:pt x="304" y="377"/>
                      <a:pt x="305" y="379"/>
                    </a:cubicBezTo>
                    <a:cubicBezTo>
                      <a:pt x="306" y="384"/>
                      <a:pt x="309" y="375"/>
                      <a:pt x="310" y="376"/>
                    </a:cubicBezTo>
                    <a:cubicBezTo>
                      <a:pt x="311" y="379"/>
                      <a:pt x="311" y="382"/>
                      <a:pt x="313" y="383"/>
                    </a:cubicBezTo>
                    <a:cubicBezTo>
                      <a:pt x="315" y="386"/>
                      <a:pt x="313" y="376"/>
                      <a:pt x="317" y="375"/>
                    </a:cubicBezTo>
                    <a:cubicBezTo>
                      <a:pt x="336" y="370"/>
                      <a:pt x="327" y="381"/>
                      <a:pt x="341" y="387"/>
                    </a:cubicBezTo>
                    <a:cubicBezTo>
                      <a:pt x="347" y="389"/>
                      <a:pt x="343" y="378"/>
                      <a:pt x="348" y="380"/>
                    </a:cubicBezTo>
                    <a:cubicBezTo>
                      <a:pt x="361" y="389"/>
                      <a:pt x="352" y="401"/>
                      <a:pt x="356" y="413"/>
                    </a:cubicBezTo>
                    <a:cubicBezTo>
                      <a:pt x="356" y="416"/>
                      <a:pt x="370" y="426"/>
                      <a:pt x="374" y="427"/>
                    </a:cubicBezTo>
                    <a:cubicBezTo>
                      <a:pt x="381" y="430"/>
                      <a:pt x="372" y="417"/>
                      <a:pt x="380" y="422"/>
                    </a:cubicBezTo>
                    <a:cubicBezTo>
                      <a:pt x="390" y="427"/>
                      <a:pt x="377" y="443"/>
                      <a:pt x="384" y="439"/>
                    </a:cubicBezTo>
                    <a:cubicBezTo>
                      <a:pt x="387" y="437"/>
                      <a:pt x="386" y="446"/>
                      <a:pt x="388" y="448"/>
                    </a:cubicBezTo>
                    <a:cubicBezTo>
                      <a:pt x="391" y="451"/>
                      <a:pt x="405" y="451"/>
                      <a:pt x="409" y="454"/>
                    </a:cubicBezTo>
                    <a:cubicBezTo>
                      <a:pt x="414" y="472"/>
                      <a:pt x="414" y="472"/>
                      <a:pt x="414" y="472"/>
                    </a:cubicBezTo>
                    <a:cubicBezTo>
                      <a:pt x="414" y="473"/>
                      <a:pt x="411" y="473"/>
                      <a:pt x="412" y="474"/>
                    </a:cubicBezTo>
                    <a:cubicBezTo>
                      <a:pt x="413" y="478"/>
                      <a:pt x="426" y="479"/>
                      <a:pt x="426" y="480"/>
                    </a:cubicBezTo>
                    <a:cubicBezTo>
                      <a:pt x="422" y="482"/>
                      <a:pt x="418" y="483"/>
                      <a:pt x="416" y="485"/>
                    </a:cubicBezTo>
                    <a:cubicBezTo>
                      <a:pt x="414" y="486"/>
                      <a:pt x="415" y="487"/>
                      <a:pt x="414" y="489"/>
                    </a:cubicBezTo>
                    <a:cubicBezTo>
                      <a:pt x="412" y="491"/>
                      <a:pt x="409" y="481"/>
                      <a:pt x="404" y="481"/>
                    </a:cubicBezTo>
                    <a:cubicBezTo>
                      <a:pt x="401" y="481"/>
                      <a:pt x="404" y="491"/>
                      <a:pt x="401" y="491"/>
                    </a:cubicBezTo>
                    <a:cubicBezTo>
                      <a:pt x="399" y="490"/>
                      <a:pt x="391" y="485"/>
                      <a:pt x="391" y="485"/>
                    </a:cubicBezTo>
                    <a:cubicBezTo>
                      <a:pt x="390" y="486"/>
                      <a:pt x="391" y="490"/>
                      <a:pt x="388" y="490"/>
                    </a:cubicBezTo>
                    <a:cubicBezTo>
                      <a:pt x="387" y="491"/>
                      <a:pt x="387" y="486"/>
                      <a:pt x="386" y="487"/>
                    </a:cubicBezTo>
                    <a:cubicBezTo>
                      <a:pt x="383" y="490"/>
                      <a:pt x="384" y="494"/>
                      <a:pt x="382" y="496"/>
                    </a:cubicBezTo>
                    <a:cubicBezTo>
                      <a:pt x="382" y="496"/>
                      <a:pt x="381" y="496"/>
                      <a:pt x="380" y="495"/>
                    </a:cubicBezTo>
                    <a:cubicBezTo>
                      <a:pt x="380" y="494"/>
                      <a:pt x="381" y="494"/>
                      <a:pt x="381" y="492"/>
                    </a:cubicBezTo>
                    <a:cubicBezTo>
                      <a:pt x="381" y="490"/>
                      <a:pt x="379" y="487"/>
                      <a:pt x="378" y="485"/>
                    </a:cubicBezTo>
                    <a:cubicBezTo>
                      <a:pt x="376" y="481"/>
                      <a:pt x="371" y="489"/>
                      <a:pt x="368" y="492"/>
                    </a:cubicBezTo>
                    <a:cubicBezTo>
                      <a:pt x="360" y="502"/>
                      <a:pt x="374" y="506"/>
                      <a:pt x="375" y="511"/>
                    </a:cubicBezTo>
                    <a:cubicBezTo>
                      <a:pt x="376" y="513"/>
                      <a:pt x="373" y="516"/>
                      <a:pt x="373" y="519"/>
                    </a:cubicBezTo>
                    <a:cubicBezTo>
                      <a:pt x="373" y="522"/>
                      <a:pt x="377" y="524"/>
                      <a:pt x="375" y="526"/>
                    </a:cubicBezTo>
                    <a:cubicBezTo>
                      <a:pt x="374" y="529"/>
                      <a:pt x="370" y="529"/>
                      <a:pt x="368" y="531"/>
                    </a:cubicBezTo>
                    <a:cubicBezTo>
                      <a:pt x="363" y="535"/>
                      <a:pt x="371" y="537"/>
                      <a:pt x="368" y="541"/>
                    </a:cubicBezTo>
                    <a:cubicBezTo>
                      <a:pt x="366" y="544"/>
                      <a:pt x="362" y="546"/>
                      <a:pt x="361" y="548"/>
                    </a:cubicBezTo>
                    <a:cubicBezTo>
                      <a:pt x="356" y="556"/>
                      <a:pt x="364" y="568"/>
                      <a:pt x="360" y="569"/>
                    </a:cubicBezTo>
                    <a:cubicBezTo>
                      <a:pt x="357" y="569"/>
                      <a:pt x="354" y="568"/>
                      <a:pt x="352" y="569"/>
                    </a:cubicBezTo>
                    <a:cubicBezTo>
                      <a:pt x="352" y="569"/>
                      <a:pt x="352" y="569"/>
                      <a:pt x="352" y="569"/>
                    </a:cubicBezTo>
                    <a:cubicBezTo>
                      <a:pt x="349" y="573"/>
                      <a:pt x="349" y="573"/>
                      <a:pt x="349" y="573"/>
                    </a:cubicBezTo>
                    <a:cubicBezTo>
                      <a:pt x="349" y="575"/>
                      <a:pt x="349" y="576"/>
                      <a:pt x="348" y="576"/>
                    </a:cubicBezTo>
                    <a:cubicBezTo>
                      <a:pt x="349" y="576"/>
                      <a:pt x="351" y="575"/>
                      <a:pt x="352" y="576"/>
                    </a:cubicBezTo>
                    <a:cubicBezTo>
                      <a:pt x="353" y="578"/>
                      <a:pt x="353" y="581"/>
                      <a:pt x="355" y="583"/>
                    </a:cubicBezTo>
                    <a:cubicBezTo>
                      <a:pt x="357" y="585"/>
                      <a:pt x="382" y="586"/>
                      <a:pt x="381" y="584"/>
                    </a:cubicBezTo>
                    <a:cubicBezTo>
                      <a:pt x="381" y="583"/>
                      <a:pt x="373" y="581"/>
                      <a:pt x="379" y="578"/>
                    </a:cubicBezTo>
                    <a:cubicBezTo>
                      <a:pt x="382" y="576"/>
                      <a:pt x="386" y="577"/>
                      <a:pt x="390" y="575"/>
                    </a:cubicBezTo>
                    <a:cubicBezTo>
                      <a:pt x="395" y="572"/>
                      <a:pt x="397" y="564"/>
                      <a:pt x="404" y="562"/>
                    </a:cubicBezTo>
                    <a:cubicBezTo>
                      <a:pt x="416" y="558"/>
                      <a:pt x="422" y="562"/>
                      <a:pt x="425" y="573"/>
                    </a:cubicBezTo>
                    <a:cubicBezTo>
                      <a:pt x="426" y="569"/>
                      <a:pt x="431" y="556"/>
                      <a:pt x="424" y="554"/>
                    </a:cubicBezTo>
                    <a:cubicBezTo>
                      <a:pt x="423" y="554"/>
                      <a:pt x="425" y="556"/>
                      <a:pt x="424" y="556"/>
                    </a:cubicBezTo>
                    <a:cubicBezTo>
                      <a:pt x="423" y="557"/>
                      <a:pt x="423" y="555"/>
                      <a:pt x="422" y="554"/>
                    </a:cubicBezTo>
                    <a:cubicBezTo>
                      <a:pt x="419" y="553"/>
                      <a:pt x="421" y="563"/>
                      <a:pt x="417" y="556"/>
                    </a:cubicBezTo>
                    <a:cubicBezTo>
                      <a:pt x="414" y="551"/>
                      <a:pt x="414" y="543"/>
                      <a:pt x="414" y="537"/>
                    </a:cubicBezTo>
                    <a:cubicBezTo>
                      <a:pt x="414" y="535"/>
                      <a:pt x="410" y="529"/>
                      <a:pt x="412" y="530"/>
                    </a:cubicBezTo>
                    <a:cubicBezTo>
                      <a:pt x="417" y="532"/>
                      <a:pt x="416" y="545"/>
                      <a:pt x="421" y="543"/>
                    </a:cubicBezTo>
                    <a:cubicBezTo>
                      <a:pt x="438" y="537"/>
                      <a:pt x="427" y="535"/>
                      <a:pt x="427" y="528"/>
                    </a:cubicBezTo>
                    <a:cubicBezTo>
                      <a:pt x="427" y="526"/>
                      <a:pt x="428" y="530"/>
                      <a:pt x="429" y="529"/>
                    </a:cubicBezTo>
                    <a:cubicBezTo>
                      <a:pt x="431" y="529"/>
                      <a:pt x="426" y="524"/>
                      <a:pt x="428" y="523"/>
                    </a:cubicBezTo>
                    <a:cubicBezTo>
                      <a:pt x="431" y="522"/>
                      <a:pt x="434" y="524"/>
                      <a:pt x="437" y="523"/>
                    </a:cubicBezTo>
                    <a:cubicBezTo>
                      <a:pt x="439" y="522"/>
                      <a:pt x="441" y="520"/>
                      <a:pt x="442" y="518"/>
                    </a:cubicBezTo>
                    <a:cubicBezTo>
                      <a:pt x="447" y="508"/>
                      <a:pt x="452" y="495"/>
                      <a:pt x="455" y="484"/>
                    </a:cubicBezTo>
                    <a:cubicBezTo>
                      <a:pt x="456" y="482"/>
                      <a:pt x="451" y="479"/>
                      <a:pt x="452" y="477"/>
                    </a:cubicBezTo>
                    <a:cubicBezTo>
                      <a:pt x="453" y="475"/>
                      <a:pt x="456" y="475"/>
                      <a:pt x="457" y="473"/>
                    </a:cubicBezTo>
                    <a:cubicBezTo>
                      <a:pt x="461" y="466"/>
                      <a:pt x="450" y="467"/>
                      <a:pt x="455" y="461"/>
                    </a:cubicBezTo>
                    <a:cubicBezTo>
                      <a:pt x="467" y="445"/>
                      <a:pt x="484" y="452"/>
                      <a:pt x="484" y="447"/>
                    </a:cubicBezTo>
                    <a:cubicBezTo>
                      <a:pt x="485" y="442"/>
                      <a:pt x="478" y="436"/>
                      <a:pt x="482" y="433"/>
                    </a:cubicBezTo>
                    <a:cubicBezTo>
                      <a:pt x="485" y="431"/>
                      <a:pt x="483" y="442"/>
                      <a:pt x="487" y="444"/>
                    </a:cubicBezTo>
                    <a:cubicBezTo>
                      <a:pt x="489" y="446"/>
                      <a:pt x="491" y="442"/>
                      <a:pt x="494" y="441"/>
                    </a:cubicBezTo>
                    <a:cubicBezTo>
                      <a:pt x="497" y="440"/>
                      <a:pt x="500" y="441"/>
                      <a:pt x="504" y="440"/>
                    </a:cubicBezTo>
                    <a:cubicBezTo>
                      <a:pt x="511" y="439"/>
                      <a:pt x="502" y="427"/>
                      <a:pt x="502" y="427"/>
                    </a:cubicBezTo>
                    <a:cubicBezTo>
                      <a:pt x="502" y="420"/>
                      <a:pt x="507" y="421"/>
                      <a:pt x="504" y="416"/>
                    </a:cubicBezTo>
                    <a:cubicBezTo>
                      <a:pt x="506" y="416"/>
                      <a:pt x="507" y="415"/>
                      <a:pt x="507" y="416"/>
                    </a:cubicBezTo>
                    <a:cubicBezTo>
                      <a:pt x="508" y="449"/>
                      <a:pt x="526" y="438"/>
                      <a:pt x="544" y="426"/>
                    </a:cubicBezTo>
                    <a:cubicBezTo>
                      <a:pt x="546" y="425"/>
                      <a:pt x="539" y="430"/>
                      <a:pt x="537" y="432"/>
                    </a:cubicBezTo>
                    <a:cubicBezTo>
                      <a:pt x="534" y="436"/>
                      <a:pt x="538" y="442"/>
                      <a:pt x="533" y="443"/>
                    </a:cubicBezTo>
                    <a:cubicBezTo>
                      <a:pt x="523" y="444"/>
                      <a:pt x="512" y="445"/>
                      <a:pt x="503" y="446"/>
                    </a:cubicBezTo>
                    <a:cubicBezTo>
                      <a:pt x="502" y="446"/>
                      <a:pt x="488" y="446"/>
                      <a:pt x="490" y="448"/>
                    </a:cubicBezTo>
                    <a:cubicBezTo>
                      <a:pt x="493" y="451"/>
                      <a:pt x="497" y="455"/>
                      <a:pt x="501" y="456"/>
                    </a:cubicBezTo>
                    <a:cubicBezTo>
                      <a:pt x="503" y="456"/>
                      <a:pt x="500" y="451"/>
                      <a:pt x="502" y="451"/>
                    </a:cubicBezTo>
                    <a:cubicBezTo>
                      <a:pt x="505" y="449"/>
                      <a:pt x="509" y="451"/>
                      <a:pt x="513" y="451"/>
                    </a:cubicBezTo>
                    <a:cubicBezTo>
                      <a:pt x="514" y="451"/>
                      <a:pt x="519" y="448"/>
                      <a:pt x="519" y="451"/>
                    </a:cubicBezTo>
                    <a:cubicBezTo>
                      <a:pt x="520" y="457"/>
                      <a:pt x="506" y="461"/>
                      <a:pt x="510" y="465"/>
                    </a:cubicBezTo>
                    <a:cubicBezTo>
                      <a:pt x="512" y="467"/>
                      <a:pt x="532" y="462"/>
                      <a:pt x="534" y="463"/>
                    </a:cubicBezTo>
                    <a:cubicBezTo>
                      <a:pt x="536" y="464"/>
                      <a:pt x="534" y="468"/>
                      <a:pt x="536" y="468"/>
                    </a:cubicBezTo>
                    <a:cubicBezTo>
                      <a:pt x="540" y="470"/>
                      <a:pt x="545" y="470"/>
                      <a:pt x="550" y="469"/>
                    </a:cubicBezTo>
                    <a:cubicBezTo>
                      <a:pt x="554" y="468"/>
                      <a:pt x="556" y="462"/>
                      <a:pt x="560" y="460"/>
                    </a:cubicBezTo>
                    <a:cubicBezTo>
                      <a:pt x="564" y="458"/>
                      <a:pt x="569" y="459"/>
                      <a:pt x="573" y="457"/>
                    </a:cubicBezTo>
                    <a:cubicBezTo>
                      <a:pt x="574" y="457"/>
                      <a:pt x="572" y="454"/>
                      <a:pt x="573" y="453"/>
                    </a:cubicBezTo>
                    <a:cubicBezTo>
                      <a:pt x="574" y="452"/>
                      <a:pt x="576" y="455"/>
                      <a:pt x="577" y="455"/>
                    </a:cubicBezTo>
                    <a:cubicBezTo>
                      <a:pt x="580" y="453"/>
                      <a:pt x="579" y="446"/>
                      <a:pt x="581" y="447"/>
                    </a:cubicBezTo>
                    <a:cubicBezTo>
                      <a:pt x="586" y="448"/>
                      <a:pt x="591" y="459"/>
                      <a:pt x="595" y="455"/>
                    </a:cubicBezTo>
                    <a:cubicBezTo>
                      <a:pt x="598" y="452"/>
                      <a:pt x="597" y="447"/>
                      <a:pt x="601" y="445"/>
                    </a:cubicBezTo>
                    <a:cubicBezTo>
                      <a:pt x="610" y="439"/>
                      <a:pt x="600" y="455"/>
                      <a:pt x="606" y="460"/>
                    </a:cubicBezTo>
                    <a:cubicBezTo>
                      <a:pt x="609" y="462"/>
                      <a:pt x="614" y="455"/>
                      <a:pt x="614" y="458"/>
                    </a:cubicBezTo>
                    <a:cubicBezTo>
                      <a:pt x="614" y="460"/>
                      <a:pt x="596" y="478"/>
                      <a:pt x="593" y="479"/>
                    </a:cubicBezTo>
                    <a:cubicBezTo>
                      <a:pt x="591" y="480"/>
                      <a:pt x="589" y="477"/>
                      <a:pt x="588" y="478"/>
                    </a:cubicBezTo>
                    <a:cubicBezTo>
                      <a:pt x="587" y="479"/>
                      <a:pt x="590" y="481"/>
                      <a:pt x="590" y="482"/>
                    </a:cubicBezTo>
                    <a:cubicBezTo>
                      <a:pt x="590" y="482"/>
                      <a:pt x="578" y="492"/>
                      <a:pt x="577" y="492"/>
                    </a:cubicBezTo>
                    <a:cubicBezTo>
                      <a:pt x="576" y="494"/>
                      <a:pt x="575" y="495"/>
                      <a:pt x="575" y="497"/>
                    </a:cubicBezTo>
                    <a:cubicBezTo>
                      <a:pt x="575" y="498"/>
                      <a:pt x="576" y="499"/>
                      <a:pt x="576" y="499"/>
                    </a:cubicBezTo>
                    <a:cubicBezTo>
                      <a:pt x="576" y="500"/>
                      <a:pt x="555" y="514"/>
                      <a:pt x="563" y="517"/>
                    </a:cubicBezTo>
                    <a:cubicBezTo>
                      <a:pt x="577" y="522"/>
                      <a:pt x="574" y="513"/>
                      <a:pt x="586" y="513"/>
                    </a:cubicBezTo>
                    <a:cubicBezTo>
                      <a:pt x="590" y="513"/>
                      <a:pt x="602" y="524"/>
                      <a:pt x="606" y="522"/>
                    </a:cubicBezTo>
                    <a:cubicBezTo>
                      <a:pt x="611" y="520"/>
                      <a:pt x="615" y="514"/>
                      <a:pt x="622" y="521"/>
                    </a:cubicBezTo>
                    <a:cubicBezTo>
                      <a:pt x="637" y="537"/>
                      <a:pt x="624" y="534"/>
                      <a:pt x="627" y="543"/>
                    </a:cubicBezTo>
                    <a:cubicBezTo>
                      <a:pt x="630" y="551"/>
                      <a:pt x="634" y="554"/>
                      <a:pt x="633" y="555"/>
                    </a:cubicBezTo>
                    <a:cubicBezTo>
                      <a:pt x="631" y="557"/>
                      <a:pt x="623" y="557"/>
                      <a:pt x="624" y="560"/>
                    </a:cubicBezTo>
                    <a:cubicBezTo>
                      <a:pt x="626" y="564"/>
                      <a:pt x="633" y="562"/>
                      <a:pt x="637" y="564"/>
                    </a:cubicBezTo>
                    <a:cubicBezTo>
                      <a:pt x="641" y="565"/>
                      <a:pt x="641" y="569"/>
                      <a:pt x="646" y="569"/>
                    </a:cubicBezTo>
                    <a:cubicBezTo>
                      <a:pt x="675" y="565"/>
                      <a:pt x="669" y="533"/>
                      <a:pt x="687" y="520"/>
                    </a:cubicBezTo>
                    <a:cubicBezTo>
                      <a:pt x="691" y="517"/>
                      <a:pt x="694" y="515"/>
                      <a:pt x="699" y="515"/>
                    </a:cubicBezTo>
                    <a:cubicBezTo>
                      <a:pt x="701" y="515"/>
                      <a:pt x="704" y="517"/>
                      <a:pt x="705" y="516"/>
                    </a:cubicBezTo>
                    <a:cubicBezTo>
                      <a:pt x="709" y="512"/>
                      <a:pt x="706" y="504"/>
                      <a:pt x="710" y="501"/>
                    </a:cubicBezTo>
                    <a:cubicBezTo>
                      <a:pt x="714" y="498"/>
                      <a:pt x="716" y="499"/>
                      <a:pt x="717" y="494"/>
                    </a:cubicBezTo>
                    <a:cubicBezTo>
                      <a:pt x="718" y="494"/>
                      <a:pt x="716" y="494"/>
                      <a:pt x="715" y="494"/>
                    </a:cubicBezTo>
                    <a:cubicBezTo>
                      <a:pt x="713" y="491"/>
                      <a:pt x="717" y="485"/>
                      <a:pt x="719" y="485"/>
                    </a:cubicBezTo>
                    <a:cubicBezTo>
                      <a:pt x="722" y="483"/>
                      <a:pt x="726" y="483"/>
                      <a:pt x="729" y="483"/>
                    </a:cubicBezTo>
                    <a:cubicBezTo>
                      <a:pt x="732" y="484"/>
                      <a:pt x="735" y="489"/>
                      <a:pt x="738" y="488"/>
                    </a:cubicBezTo>
                    <a:cubicBezTo>
                      <a:pt x="742" y="487"/>
                      <a:pt x="743" y="482"/>
                      <a:pt x="747" y="481"/>
                    </a:cubicBezTo>
                    <a:cubicBezTo>
                      <a:pt x="749" y="479"/>
                      <a:pt x="753" y="481"/>
                      <a:pt x="756" y="479"/>
                    </a:cubicBezTo>
                    <a:cubicBezTo>
                      <a:pt x="767" y="475"/>
                      <a:pt x="758" y="465"/>
                      <a:pt x="759" y="456"/>
                    </a:cubicBezTo>
                    <a:cubicBezTo>
                      <a:pt x="760" y="451"/>
                      <a:pt x="767" y="447"/>
                      <a:pt x="764" y="443"/>
                    </a:cubicBezTo>
                    <a:cubicBezTo>
                      <a:pt x="764" y="443"/>
                      <a:pt x="741" y="448"/>
                      <a:pt x="740" y="448"/>
                    </a:cubicBezTo>
                    <a:cubicBezTo>
                      <a:pt x="737" y="451"/>
                      <a:pt x="740" y="457"/>
                      <a:pt x="736" y="459"/>
                    </a:cubicBezTo>
                    <a:cubicBezTo>
                      <a:pt x="734" y="460"/>
                      <a:pt x="731" y="459"/>
                      <a:pt x="729" y="458"/>
                    </a:cubicBezTo>
                    <a:cubicBezTo>
                      <a:pt x="727" y="457"/>
                      <a:pt x="728" y="454"/>
                      <a:pt x="726" y="454"/>
                    </a:cubicBezTo>
                    <a:cubicBezTo>
                      <a:pt x="722" y="454"/>
                      <a:pt x="726" y="462"/>
                      <a:pt x="723" y="466"/>
                    </a:cubicBezTo>
                    <a:cubicBezTo>
                      <a:pt x="721" y="469"/>
                      <a:pt x="718" y="472"/>
                      <a:pt x="714" y="473"/>
                    </a:cubicBezTo>
                    <a:cubicBezTo>
                      <a:pt x="704" y="476"/>
                      <a:pt x="672" y="446"/>
                      <a:pt x="667" y="439"/>
                    </a:cubicBezTo>
                    <a:cubicBezTo>
                      <a:pt x="666" y="437"/>
                      <a:pt x="658" y="423"/>
                      <a:pt x="659" y="422"/>
                    </a:cubicBezTo>
                    <a:cubicBezTo>
                      <a:pt x="662" y="419"/>
                      <a:pt x="666" y="428"/>
                      <a:pt x="670" y="427"/>
                    </a:cubicBezTo>
                    <a:cubicBezTo>
                      <a:pt x="683" y="425"/>
                      <a:pt x="679" y="399"/>
                      <a:pt x="684" y="391"/>
                    </a:cubicBezTo>
                    <a:cubicBezTo>
                      <a:pt x="686" y="389"/>
                      <a:pt x="689" y="388"/>
                      <a:pt x="691" y="386"/>
                    </a:cubicBezTo>
                    <a:cubicBezTo>
                      <a:pt x="693" y="382"/>
                      <a:pt x="693" y="377"/>
                      <a:pt x="696" y="374"/>
                    </a:cubicBezTo>
                    <a:cubicBezTo>
                      <a:pt x="705" y="362"/>
                      <a:pt x="709" y="363"/>
                      <a:pt x="717" y="367"/>
                    </a:cubicBezTo>
                    <a:cubicBezTo>
                      <a:pt x="717" y="367"/>
                      <a:pt x="717" y="366"/>
                      <a:pt x="718" y="365"/>
                    </a:cubicBezTo>
                    <a:cubicBezTo>
                      <a:pt x="723" y="360"/>
                      <a:pt x="717" y="349"/>
                      <a:pt x="730" y="348"/>
                    </a:cubicBezTo>
                    <a:cubicBezTo>
                      <a:pt x="735" y="348"/>
                      <a:pt x="738" y="357"/>
                      <a:pt x="741" y="354"/>
                    </a:cubicBezTo>
                    <a:cubicBezTo>
                      <a:pt x="745" y="352"/>
                      <a:pt x="740" y="345"/>
                      <a:pt x="742" y="341"/>
                    </a:cubicBezTo>
                    <a:cubicBezTo>
                      <a:pt x="742" y="340"/>
                      <a:pt x="755" y="325"/>
                      <a:pt x="755" y="325"/>
                    </a:cubicBezTo>
                    <a:cubicBezTo>
                      <a:pt x="757" y="324"/>
                      <a:pt x="760" y="330"/>
                      <a:pt x="761" y="328"/>
                    </a:cubicBezTo>
                    <a:cubicBezTo>
                      <a:pt x="762" y="326"/>
                      <a:pt x="763" y="311"/>
                      <a:pt x="766" y="308"/>
                    </a:cubicBezTo>
                    <a:cubicBezTo>
                      <a:pt x="771" y="305"/>
                      <a:pt x="785" y="299"/>
                      <a:pt x="791" y="298"/>
                    </a:cubicBezTo>
                    <a:cubicBezTo>
                      <a:pt x="792" y="298"/>
                      <a:pt x="793" y="303"/>
                      <a:pt x="794" y="302"/>
                    </a:cubicBezTo>
                    <a:cubicBezTo>
                      <a:pt x="796" y="300"/>
                      <a:pt x="795" y="296"/>
                      <a:pt x="797" y="293"/>
                    </a:cubicBez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3" name="Azerbaijan" descr="{&quot;Key&quot;:&quot;azerbaijan&quot;,&quot;Name&quot;:&quot;Azerbaijan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3B7806FE-17E9-3932-F9BC-D65381B46A7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712426" y="8059806"/>
                <a:ext cx="496126" cy="503348"/>
              </a:xfrm>
              <a:custGeom>
                <a:avLst/>
                <a:gdLst>
                  <a:gd name="T0" fmla="*/ 7 w 297"/>
                  <a:gd name="T1" fmla="*/ 150 h 280"/>
                  <a:gd name="T2" fmla="*/ 9 w 297"/>
                  <a:gd name="T3" fmla="*/ 139 h 280"/>
                  <a:gd name="T4" fmla="*/ 31 w 297"/>
                  <a:gd name="T5" fmla="*/ 148 h 280"/>
                  <a:gd name="T6" fmla="*/ 82 w 297"/>
                  <a:gd name="T7" fmla="*/ 182 h 280"/>
                  <a:gd name="T8" fmla="*/ 70 w 297"/>
                  <a:gd name="T9" fmla="*/ 209 h 280"/>
                  <a:gd name="T10" fmla="*/ 132 w 297"/>
                  <a:gd name="T11" fmla="*/ 212 h 280"/>
                  <a:gd name="T12" fmla="*/ 137 w 297"/>
                  <a:gd name="T13" fmla="*/ 237 h 280"/>
                  <a:gd name="T14" fmla="*/ 152 w 297"/>
                  <a:gd name="T15" fmla="*/ 257 h 280"/>
                  <a:gd name="T16" fmla="*/ 168 w 297"/>
                  <a:gd name="T17" fmla="*/ 223 h 280"/>
                  <a:gd name="T18" fmla="*/ 197 w 297"/>
                  <a:gd name="T19" fmla="*/ 160 h 280"/>
                  <a:gd name="T20" fmla="*/ 227 w 297"/>
                  <a:gd name="T21" fmla="*/ 171 h 280"/>
                  <a:gd name="T22" fmla="*/ 228 w 297"/>
                  <a:gd name="T23" fmla="*/ 216 h 280"/>
                  <a:gd name="T24" fmla="*/ 256 w 297"/>
                  <a:gd name="T25" fmla="*/ 219 h 280"/>
                  <a:gd name="T26" fmla="*/ 268 w 297"/>
                  <a:gd name="T27" fmla="*/ 191 h 280"/>
                  <a:gd name="T28" fmla="*/ 275 w 297"/>
                  <a:gd name="T29" fmla="*/ 166 h 280"/>
                  <a:gd name="T30" fmla="*/ 279 w 297"/>
                  <a:gd name="T31" fmla="*/ 166 h 280"/>
                  <a:gd name="T32" fmla="*/ 281 w 297"/>
                  <a:gd name="T33" fmla="*/ 147 h 280"/>
                  <a:gd name="T34" fmla="*/ 268 w 297"/>
                  <a:gd name="T35" fmla="*/ 119 h 280"/>
                  <a:gd name="T36" fmla="*/ 267 w 297"/>
                  <a:gd name="T37" fmla="*/ 61 h 280"/>
                  <a:gd name="T38" fmla="*/ 279 w 297"/>
                  <a:gd name="T39" fmla="*/ 55 h 280"/>
                  <a:gd name="T40" fmla="*/ 268 w 297"/>
                  <a:gd name="T41" fmla="*/ 41 h 280"/>
                  <a:gd name="T42" fmla="*/ 227 w 297"/>
                  <a:gd name="T43" fmla="*/ 43 h 280"/>
                  <a:gd name="T44" fmla="*/ 152 w 297"/>
                  <a:gd name="T45" fmla="*/ 0 h 280"/>
                  <a:gd name="T46" fmla="*/ 142 w 297"/>
                  <a:gd name="T47" fmla="*/ 41 h 280"/>
                  <a:gd name="T48" fmla="*/ 93 w 297"/>
                  <a:gd name="T49" fmla="*/ 60 h 280"/>
                  <a:gd name="T50" fmla="*/ 61 w 297"/>
                  <a:gd name="T51" fmla="*/ 52 h 280"/>
                  <a:gd name="T52" fmla="*/ 50 w 297"/>
                  <a:gd name="T53" fmla="*/ 56 h 280"/>
                  <a:gd name="T54" fmla="*/ 43 w 297"/>
                  <a:gd name="T55" fmla="*/ 74 h 280"/>
                  <a:gd name="T56" fmla="*/ 54 w 297"/>
                  <a:gd name="T57" fmla="*/ 85 h 280"/>
                  <a:gd name="T58" fmla="*/ 47 w 297"/>
                  <a:gd name="T59" fmla="*/ 120 h 280"/>
                  <a:gd name="T60" fmla="*/ 35 w 297"/>
                  <a:gd name="T61" fmla="*/ 113 h 280"/>
                  <a:gd name="T62" fmla="*/ 134 w 297"/>
                  <a:gd name="T63" fmla="*/ 268 h 280"/>
                  <a:gd name="T64" fmla="*/ 112 w 297"/>
                  <a:gd name="T65" fmla="*/ 246 h 280"/>
                  <a:gd name="T66" fmla="*/ 78 w 297"/>
                  <a:gd name="T67" fmla="*/ 246 h 280"/>
                  <a:gd name="T68" fmla="*/ 48 w 297"/>
                  <a:gd name="T69" fmla="*/ 238 h 280"/>
                  <a:gd name="T70" fmla="*/ 55 w 297"/>
                  <a:gd name="T71" fmla="*/ 264 h 280"/>
                  <a:gd name="T72" fmla="*/ 82 w 297"/>
                  <a:gd name="T73" fmla="*/ 272 h 280"/>
                  <a:gd name="T74" fmla="*/ 134 w 297"/>
                  <a:gd name="T75" fmla="*/ 268 h 280"/>
                  <a:gd name="T76" fmla="*/ 151 w 297"/>
                  <a:gd name="T77" fmla="*/ 0 h 280"/>
                  <a:gd name="T78" fmla="*/ 151 w 297"/>
                  <a:gd name="T79" fmla="*/ 0 h 280"/>
                  <a:gd name="T80" fmla="*/ 46 w 297"/>
                  <a:gd name="T81" fmla="*/ 164 h 280"/>
                  <a:gd name="T82" fmla="*/ 150 w 297"/>
                  <a:gd name="T83" fmla="*/ 0 h 280"/>
                  <a:gd name="T84" fmla="*/ 150 w 297"/>
                  <a:gd name="T85" fmla="*/ 0 h 280"/>
                  <a:gd name="T86" fmla="*/ 150 w 297"/>
                  <a:gd name="T87" fmla="*/ 0 h 280"/>
                  <a:gd name="T88" fmla="*/ 151 w 297"/>
                  <a:gd name="T89" fmla="*/ 0 h 280"/>
                  <a:gd name="T90" fmla="*/ 152 w 297"/>
                  <a:gd name="T91" fmla="*/ 0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97" h="280">
                    <a:moveTo>
                      <a:pt x="7" y="150"/>
                    </a:moveTo>
                    <a:cubicBezTo>
                      <a:pt x="8" y="151"/>
                      <a:pt x="9" y="151"/>
                      <a:pt x="10" y="151"/>
                    </a:cubicBezTo>
                    <a:cubicBezTo>
                      <a:pt x="11" y="154"/>
                      <a:pt x="0" y="154"/>
                      <a:pt x="7" y="150"/>
                    </a:cubicBezTo>
                    <a:moveTo>
                      <a:pt x="0" y="137"/>
                    </a:moveTo>
                    <a:cubicBezTo>
                      <a:pt x="1" y="138"/>
                      <a:pt x="2" y="141"/>
                      <a:pt x="4" y="142"/>
                    </a:cubicBezTo>
                    <a:cubicBezTo>
                      <a:pt x="6" y="142"/>
                      <a:pt x="7" y="139"/>
                      <a:pt x="9" y="139"/>
                    </a:cubicBezTo>
                    <a:cubicBezTo>
                      <a:pt x="23" y="139"/>
                      <a:pt x="7" y="146"/>
                      <a:pt x="9" y="149"/>
                    </a:cubicBezTo>
                    <a:cubicBezTo>
                      <a:pt x="12" y="151"/>
                      <a:pt x="26" y="144"/>
                      <a:pt x="30" y="143"/>
                    </a:cubicBezTo>
                    <a:cubicBezTo>
                      <a:pt x="31" y="143"/>
                      <a:pt x="30" y="148"/>
                      <a:pt x="31" y="148"/>
                    </a:cubicBezTo>
                    <a:cubicBezTo>
                      <a:pt x="35" y="150"/>
                      <a:pt x="39" y="148"/>
                      <a:pt x="43" y="150"/>
                    </a:cubicBezTo>
                    <a:cubicBezTo>
                      <a:pt x="51" y="154"/>
                      <a:pt x="33" y="163"/>
                      <a:pt x="38" y="170"/>
                    </a:cubicBezTo>
                    <a:cubicBezTo>
                      <a:pt x="47" y="182"/>
                      <a:pt x="81" y="180"/>
                      <a:pt x="82" y="182"/>
                    </a:cubicBezTo>
                    <a:cubicBezTo>
                      <a:pt x="83" y="184"/>
                      <a:pt x="85" y="198"/>
                      <a:pt x="83" y="199"/>
                    </a:cubicBezTo>
                    <a:cubicBezTo>
                      <a:pt x="80" y="202"/>
                      <a:pt x="74" y="203"/>
                      <a:pt x="70" y="206"/>
                    </a:cubicBezTo>
                    <a:cubicBezTo>
                      <a:pt x="70" y="207"/>
                      <a:pt x="69" y="209"/>
                      <a:pt x="70" y="209"/>
                    </a:cubicBezTo>
                    <a:cubicBezTo>
                      <a:pt x="74" y="210"/>
                      <a:pt x="77" y="207"/>
                      <a:pt x="81" y="207"/>
                    </a:cubicBezTo>
                    <a:cubicBezTo>
                      <a:pt x="91" y="208"/>
                      <a:pt x="103" y="219"/>
                      <a:pt x="113" y="218"/>
                    </a:cubicBezTo>
                    <a:cubicBezTo>
                      <a:pt x="116" y="218"/>
                      <a:pt x="129" y="207"/>
                      <a:pt x="132" y="212"/>
                    </a:cubicBezTo>
                    <a:cubicBezTo>
                      <a:pt x="135" y="220"/>
                      <a:pt x="126" y="218"/>
                      <a:pt x="127" y="224"/>
                    </a:cubicBezTo>
                    <a:cubicBezTo>
                      <a:pt x="127" y="233"/>
                      <a:pt x="145" y="221"/>
                      <a:pt x="146" y="233"/>
                    </a:cubicBezTo>
                    <a:cubicBezTo>
                      <a:pt x="146" y="236"/>
                      <a:pt x="139" y="236"/>
                      <a:pt x="137" y="237"/>
                    </a:cubicBezTo>
                    <a:cubicBezTo>
                      <a:pt x="137" y="238"/>
                      <a:pt x="136" y="238"/>
                      <a:pt x="136" y="240"/>
                    </a:cubicBezTo>
                    <a:cubicBezTo>
                      <a:pt x="136" y="244"/>
                      <a:pt x="141" y="241"/>
                      <a:pt x="143" y="242"/>
                    </a:cubicBezTo>
                    <a:cubicBezTo>
                      <a:pt x="148" y="245"/>
                      <a:pt x="147" y="253"/>
                      <a:pt x="152" y="257"/>
                    </a:cubicBezTo>
                    <a:cubicBezTo>
                      <a:pt x="152" y="258"/>
                      <a:pt x="152" y="258"/>
                      <a:pt x="152" y="258"/>
                    </a:cubicBezTo>
                    <a:cubicBezTo>
                      <a:pt x="154" y="255"/>
                      <a:pt x="159" y="231"/>
                      <a:pt x="159" y="231"/>
                    </a:cubicBezTo>
                    <a:cubicBezTo>
                      <a:pt x="160" y="227"/>
                      <a:pt x="166" y="227"/>
                      <a:pt x="168" y="223"/>
                    </a:cubicBezTo>
                    <a:cubicBezTo>
                      <a:pt x="169" y="220"/>
                      <a:pt x="167" y="216"/>
                      <a:pt x="167" y="213"/>
                    </a:cubicBezTo>
                    <a:cubicBezTo>
                      <a:pt x="168" y="207"/>
                      <a:pt x="173" y="203"/>
                      <a:pt x="175" y="197"/>
                    </a:cubicBezTo>
                    <a:cubicBezTo>
                      <a:pt x="177" y="192"/>
                      <a:pt x="193" y="160"/>
                      <a:pt x="197" y="160"/>
                    </a:cubicBezTo>
                    <a:cubicBezTo>
                      <a:pt x="202" y="159"/>
                      <a:pt x="206" y="163"/>
                      <a:pt x="211" y="164"/>
                    </a:cubicBezTo>
                    <a:cubicBezTo>
                      <a:pt x="215" y="165"/>
                      <a:pt x="220" y="167"/>
                      <a:pt x="224" y="168"/>
                    </a:cubicBezTo>
                    <a:cubicBezTo>
                      <a:pt x="225" y="169"/>
                      <a:pt x="228" y="169"/>
                      <a:pt x="227" y="171"/>
                    </a:cubicBezTo>
                    <a:cubicBezTo>
                      <a:pt x="225" y="176"/>
                      <a:pt x="216" y="179"/>
                      <a:pt x="219" y="186"/>
                    </a:cubicBezTo>
                    <a:cubicBezTo>
                      <a:pt x="222" y="194"/>
                      <a:pt x="233" y="186"/>
                      <a:pt x="237" y="195"/>
                    </a:cubicBezTo>
                    <a:cubicBezTo>
                      <a:pt x="240" y="204"/>
                      <a:pt x="219" y="210"/>
                      <a:pt x="228" y="216"/>
                    </a:cubicBezTo>
                    <a:cubicBezTo>
                      <a:pt x="236" y="223"/>
                      <a:pt x="234" y="215"/>
                      <a:pt x="243" y="218"/>
                    </a:cubicBezTo>
                    <a:cubicBezTo>
                      <a:pt x="249" y="219"/>
                      <a:pt x="240" y="228"/>
                      <a:pt x="252" y="224"/>
                    </a:cubicBezTo>
                    <a:cubicBezTo>
                      <a:pt x="254" y="223"/>
                      <a:pt x="254" y="219"/>
                      <a:pt x="256" y="219"/>
                    </a:cubicBezTo>
                    <a:cubicBezTo>
                      <a:pt x="261" y="219"/>
                      <a:pt x="271" y="233"/>
                      <a:pt x="276" y="228"/>
                    </a:cubicBezTo>
                    <a:cubicBezTo>
                      <a:pt x="279" y="225"/>
                      <a:pt x="281" y="222"/>
                      <a:pt x="283" y="219"/>
                    </a:cubicBezTo>
                    <a:cubicBezTo>
                      <a:pt x="276" y="207"/>
                      <a:pt x="270" y="195"/>
                      <a:pt x="268" y="191"/>
                    </a:cubicBezTo>
                    <a:cubicBezTo>
                      <a:pt x="267" y="189"/>
                      <a:pt x="270" y="186"/>
                      <a:pt x="270" y="183"/>
                    </a:cubicBezTo>
                    <a:cubicBezTo>
                      <a:pt x="270" y="177"/>
                      <a:pt x="261" y="172"/>
                      <a:pt x="264" y="167"/>
                    </a:cubicBezTo>
                    <a:cubicBezTo>
                      <a:pt x="266" y="164"/>
                      <a:pt x="272" y="164"/>
                      <a:pt x="275" y="166"/>
                    </a:cubicBezTo>
                    <a:cubicBezTo>
                      <a:pt x="279" y="169"/>
                      <a:pt x="275" y="174"/>
                      <a:pt x="276" y="177"/>
                    </a:cubicBezTo>
                    <a:cubicBezTo>
                      <a:pt x="277" y="180"/>
                      <a:pt x="281" y="173"/>
                      <a:pt x="281" y="170"/>
                    </a:cubicBezTo>
                    <a:cubicBezTo>
                      <a:pt x="281" y="169"/>
                      <a:pt x="279" y="168"/>
                      <a:pt x="279" y="166"/>
                    </a:cubicBezTo>
                    <a:cubicBezTo>
                      <a:pt x="278" y="164"/>
                      <a:pt x="279" y="162"/>
                      <a:pt x="278" y="160"/>
                    </a:cubicBezTo>
                    <a:cubicBezTo>
                      <a:pt x="276" y="156"/>
                      <a:pt x="272" y="152"/>
                      <a:pt x="273" y="147"/>
                    </a:cubicBezTo>
                    <a:cubicBezTo>
                      <a:pt x="274" y="145"/>
                      <a:pt x="279" y="148"/>
                      <a:pt x="281" y="147"/>
                    </a:cubicBezTo>
                    <a:cubicBezTo>
                      <a:pt x="283" y="146"/>
                      <a:pt x="279" y="145"/>
                      <a:pt x="278" y="143"/>
                    </a:cubicBezTo>
                    <a:cubicBezTo>
                      <a:pt x="275" y="141"/>
                      <a:pt x="271" y="139"/>
                      <a:pt x="268" y="136"/>
                    </a:cubicBezTo>
                    <a:cubicBezTo>
                      <a:pt x="261" y="126"/>
                      <a:pt x="269" y="129"/>
                      <a:pt x="268" y="119"/>
                    </a:cubicBezTo>
                    <a:cubicBezTo>
                      <a:pt x="267" y="108"/>
                      <a:pt x="252" y="91"/>
                      <a:pt x="257" y="80"/>
                    </a:cubicBezTo>
                    <a:cubicBezTo>
                      <a:pt x="265" y="66"/>
                      <a:pt x="259" y="90"/>
                      <a:pt x="267" y="68"/>
                    </a:cubicBezTo>
                    <a:cubicBezTo>
                      <a:pt x="267" y="66"/>
                      <a:pt x="266" y="62"/>
                      <a:pt x="267" y="61"/>
                    </a:cubicBezTo>
                    <a:cubicBezTo>
                      <a:pt x="268" y="59"/>
                      <a:pt x="270" y="59"/>
                      <a:pt x="271" y="59"/>
                    </a:cubicBezTo>
                    <a:cubicBezTo>
                      <a:pt x="272" y="59"/>
                      <a:pt x="273" y="61"/>
                      <a:pt x="274" y="61"/>
                    </a:cubicBezTo>
                    <a:cubicBezTo>
                      <a:pt x="276" y="59"/>
                      <a:pt x="276" y="56"/>
                      <a:pt x="279" y="55"/>
                    </a:cubicBezTo>
                    <a:cubicBezTo>
                      <a:pt x="281" y="53"/>
                      <a:pt x="284" y="51"/>
                      <a:pt x="287" y="51"/>
                    </a:cubicBezTo>
                    <a:cubicBezTo>
                      <a:pt x="290" y="51"/>
                      <a:pt x="296" y="57"/>
                      <a:pt x="296" y="53"/>
                    </a:cubicBezTo>
                    <a:cubicBezTo>
                      <a:pt x="297" y="44"/>
                      <a:pt x="274" y="39"/>
                      <a:pt x="268" y="41"/>
                    </a:cubicBezTo>
                    <a:cubicBezTo>
                      <a:pt x="254" y="46"/>
                      <a:pt x="257" y="54"/>
                      <a:pt x="240" y="51"/>
                    </a:cubicBezTo>
                    <a:cubicBezTo>
                      <a:pt x="237" y="51"/>
                      <a:pt x="236" y="44"/>
                      <a:pt x="236" y="44"/>
                    </a:cubicBezTo>
                    <a:cubicBezTo>
                      <a:pt x="235" y="42"/>
                      <a:pt x="227" y="43"/>
                      <a:pt x="227" y="43"/>
                    </a:cubicBezTo>
                    <a:cubicBezTo>
                      <a:pt x="212" y="36"/>
                      <a:pt x="212" y="36"/>
                      <a:pt x="212" y="36"/>
                    </a:cubicBezTo>
                    <a:cubicBezTo>
                      <a:pt x="202" y="31"/>
                      <a:pt x="200" y="22"/>
                      <a:pt x="189" y="17"/>
                    </a:cubicBezTo>
                    <a:cubicBezTo>
                      <a:pt x="180" y="12"/>
                      <a:pt x="162" y="1"/>
                      <a:pt x="152" y="0"/>
                    </a:cubicBezTo>
                    <a:cubicBezTo>
                      <a:pt x="152" y="0"/>
                      <a:pt x="153" y="0"/>
                      <a:pt x="154" y="0"/>
                    </a:cubicBezTo>
                    <a:cubicBezTo>
                      <a:pt x="154" y="2"/>
                      <a:pt x="154" y="2"/>
                      <a:pt x="154" y="2"/>
                    </a:cubicBezTo>
                    <a:cubicBezTo>
                      <a:pt x="145" y="34"/>
                      <a:pt x="151" y="17"/>
                      <a:pt x="142" y="41"/>
                    </a:cubicBezTo>
                    <a:cubicBezTo>
                      <a:pt x="140" y="46"/>
                      <a:pt x="144" y="61"/>
                      <a:pt x="142" y="62"/>
                    </a:cubicBezTo>
                    <a:cubicBezTo>
                      <a:pt x="137" y="69"/>
                      <a:pt x="116" y="79"/>
                      <a:pt x="108" y="73"/>
                    </a:cubicBezTo>
                    <a:cubicBezTo>
                      <a:pt x="95" y="63"/>
                      <a:pt x="126" y="68"/>
                      <a:pt x="93" y="60"/>
                    </a:cubicBezTo>
                    <a:cubicBezTo>
                      <a:pt x="91" y="59"/>
                      <a:pt x="91" y="63"/>
                      <a:pt x="90" y="63"/>
                    </a:cubicBezTo>
                    <a:cubicBezTo>
                      <a:pt x="89" y="63"/>
                      <a:pt x="76" y="59"/>
                      <a:pt x="72" y="57"/>
                    </a:cubicBezTo>
                    <a:cubicBezTo>
                      <a:pt x="61" y="52"/>
                      <a:pt x="61" y="52"/>
                      <a:pt x="61" y="52"/>
                    </a:cubicBezTo>
                    <a:cubicBezTo>
                      <a:pt x="61" y="52"/>
                      <a:pt x="61" y="52"/>
                      <a:pt x="61" y="52"/>
                    </a:cubicBezTo>
                    <a:cubicBezTo>
                      <a:pt x="59" y="53"/>
                      <a:pt x="57" y="55"/>
                      <a:pt x="56" y="55"/>
                    </a:cubicBezTo>
                    <a:cubicBezTo>
                      <a:pt x="55" y="55"/>
                      <a:pt x="52" y="56"/>
                      <a:pt x="50" y="56"/>
                    </a:cubicBezTo>
                    <a:cubicBezTo>
                      <a:pt x="50" y="57"/>
                      <a:pt x="50" y="57"/>
                      <a:pt x="50" y="57"/>
                    </a:cubicBezTo>
                    <a:cubicBezTo>
                      <a:pt x="49" y="62"/>
                      <a:pt x="50" y="66"/>
                      <a:pt x="48" y="71"/>
                    </a:cubicBezTo>
                    <a:cubicBezTo>
                      <a:pt x="48" y="73"/>
                      <a:pt x="44" y="72"/>
                      <a:pt x="43" y="74"/>
                    </a:cubicBezTo>
                    <a:cubicBezTo>
                      <a:pt x="42" y="76"/>
                      <a:pt x="48" y="84"/>
                      <a:pt x="51" y="84"/>
                    </a:cubicBezTo>
                    <a:cubicBezTo>
                      <a:pt x="52" y="84"/>
                      <a:pt x="56" y="81"/>
                      <a:pt x="56" y="82"/>
                    </a:cubicBezTo>
                    <a:cubicBezTo>
                      <a:pt x="56" y="83"/>
                      <a:pt x="54" y="84"/>
                      <a:pt x="54" y="85"/>
                    </a:cubicBezTo>
                    <a:cubicBezTo>
                      <a:pt x="53" y="87"/>
                      <a:pt x="89" y="83"/>
                      <a:pt x="85" y="102"/>
                    </a:cubicBezTo>
                    <a:cubicBezTo>
                      <a:pt x="80" y="124"/>
                      <a:pt x="75" y="105"/>
                      <a:pt x="62" y="110"/>
                    </a:cubicBezTo>
                    <a:cubicBezTo>
                      <a:pt x="51" y="114"/>
                      <a:pt x="58" y="120"/>
                      <a:pt x="47" y="120"/>
                    </a:cubicBezTo>
                    <a:cubicBezTo>
                      <a:pt x="43" y="120"/>
                      <a:pt x="39" y="119"/>
                      <a:pt x="34" y="119"/>
                    </a:cubicBezTo>
                    <a:cubicBezTo>
                      <a:pt x="34" y="119"/>
                      <a:pt x="33" y="119"/>
                      <a:pt x="33" y="118"/>
                    </a:cubicBezTo>
                    <a:cubicBezTo>
                      <a:pt x="33" y="116"/>
                      <a:pt x="37" y="113"/>
                      <a:pt x="35" y="113"/>
                    </a:cubicBezTo>
                    <a:cubicBezTo>
                      <a:pt x="26" y="110"/>
                      <a:pt x="18" y="114"/>
                      <a:pt x="10" y="116"/>
                    </a:cubicBezTo>
                    <a:cubicBezTo>
                      <a:pt x="3" y="119"/>
                      <a:pt x="3" y="130"/>
                      <a:pt x="0" y="137"/>
                    </a:cubicBezTo>
                    <a:close/>
                    <a:moveTo>
                      <a:pt x="134" y="268"/>
                    </a:moveTo>
                    <a:cubicBezTo>
                      <a:pt x="129" y="265"/>
                      <a:pt x="114" y="253"/>
                      <a:pt x="114" y="253"/>
                    </a:cubicBezTo>
                    <a:cubicBezTo>
                      <a:pt x="113" y="251"/>
                      <a:pt x="115" y="249"/>
                      <a:pt x="114" y="247"/>
                    </a:cubicBezTo>
                    <a:cubicBezTo>
                      <a:pt x="114" y="246"/>
                      <a:pt x="112" y="246"/>
                      <a:pt x="112" y="246"/>
                    </a:cubicBezTo>
                    <a:cubicBezTo>
                      <a:pt x="107" y="245"/>
                      <a:pt x="103" y="246"/>
                      <a:pt x="99" y="246"/>
                    </a:cubicBezTo>
                    <a:cubicBezTo>
                      <a:pt x="98" y="246"/>
                      <a:pt x="100" y="227"/>
                      <a:pt x="89" y="233"/>
                    </a:cubicBezTo>
                    <a:cubicBezTo>
                      <a:pt x="78" y="246"/>
                      <a:pt x="78" y="246"/>
                      <a:pt x="78" y="246"/>
                    </a:cubicBezTo>
                    <a:cubicBezTo>
                      <a:pt x="73" y="247"/>
                      <a:pt x="69" y="242"/>
                      <a:pt x="65" y="243"/>
                    </a:cubicBezTo>
                    <a:cubicBezTo>
                      <a:pt x="63" y="244"/>
                      <a:pt x="64" y="247"/>
                      <a:pt x="63" y="248"/>
                    </a:cubicBezTo>
                    <a:cubicBezTo>
                      <a:pt x="57" y="255"/>
                      <a:pt x="63" y="234"/>
                      <a:pt x="48" y="238"/>
                    </a:cubicBezTo>
                    <a:cubicBezTo>
                      <a:pt x="43" y="239"/>
                      <a:pt x="41" y="246"/>
                      <a:pt x="38" y="250"/>
                    </a:cubicBezTo>
                    <a:cubicBezTo>
                      <a:pt x="42" y="252"/>
                      <a:pt x="45" y="254"/>
                      <a:pt x="46" y="254"/>
                    </a:cubicBezTo>
                    <a:cubicBezTo>
                      <a:pt x="50" y="257"/>
                      <a:pt x="51" y="262"/>
                      <a:pt x="55" y="264"/>
                    </a:cubicBezTo>
                    <a:cubicBezTo>
                      <a:pt x="58" y="266"/>
                      <a:pt x="63" y="266"/>
                      <a:pt x="66" y="267"/>
                    </a:cubicBezTo>
                    <a:cubicBezTo>
                      <a:pt x="69" y="268"/>
                      <a:pt x="70" y="272"/>
                      <a:pt x="73" y="272"/>
                    </a:cubicBezTo>
                    <a:cubicBezTo>
                      <a:pt x="76" y="273"/>
                      <a:pt x="80" y="271"/>
                      <a:pt x="82" y="272"/>
                    </a:cubicBezTo>
                    <a:cubicBezTo>
                      <a:pt x="86" y="274"/>
                      <a:pt x="88" y="279"/>
                      <a:pt x="93" y="280"/>
                    </a:cubicBezTo>
                    <a:cubicBezTo>
                      <a:pt x="118" y="276"/>
                      <a:pt x="118" y="276"/>
                      <a:pt x="118" y="276"/>
                    </a:cubicBezTo>
                    <a:cubicBezTo>
                      <a:pt x="132" y="273"/>
                      <a:pt x="133" y="271"/>
                      <a:pt x="134" y="268"/>
                    </a:cubicBezTo>
                    <a:close/>
                    <a:moveTo>
                      <a:pt x="150" y="0"/>
                    </a:moveTo>
                    <a:cubicBezTo>
                      <a:pt x="150" y="0"/>
                      <a:pt x="150" y="0"/>
                      <a:pt x="150" y="0"/>
                    </a:cubicBezTo>
                    <a:moveTo>
                      <a:pt x="151" y="0"/>
                    </a:moveTo>
                    <a:cubicBezTo>
                      <a:pt x="151" y="0"/>
                      <a:pt x="151" y="0"/>
                      <a:pt x="151" y="0"/>
                    </a:cubicBezTo>
                    <a:moveTo>
                      <a:pt x="151" y="0"/>
                    </a:moveTo>
                    <a:cubicBezTo>
                      <a:pt x="151" y="0"/>
                      <a:pt x="151" y="0"/>
                      <a:pt x="151" y="0"/>
                    </a:cubicBezTo>
                    <a:moveTo>
                      <a:pt x="46" y="164"/>
                    </a:moveTo>
                    <a:cubicBezTo>
                      <a:pt x="53" y="165"/>
                      <a:pt x="43" y="172"/>
                      <a:pt x="44" y="167"/>
                    </a:cubicBezTo>
                    <a:cubicBezTo>
                      <a:pt x="44" y="166"/>
                      <a:pt x="45" y="165"/>
                      <a:pt x="46" y="164"/>
                    </a:cubicBezTo>
                    <a:close/>
                    <a:moveTo>
                      <a:pt x="150" y="0"/>
                    </a:moveTo>
                    <a:cubicBezTo>
                      <a:pt x="150" y="0"/>
                      <a:pt x="150" y="0"/>
                      <a:pt x="150" y="0"/>
                    </a:cubicBezTo>
                    <a:cubicBezTo>
                      <a:pt x="150" y="0"/>
                      <a:pt x="150" y="0"/>
                      <a:pt x="150" y="0"/>
                    </a:cubicBezTo>
                    <a:close/>
                    <a:moveTo>
                      <a:pt x="150" y="0"/>
                    </a:moveTo>
                    <a:cubicBezTo>
                      <a:pt x="150" y="0"/>
                      <a:pt x="150" y="0"/>
                      <a:pt x="150" y="0"/>
                    </a:cubicBezTo>
                    <a:moveTo>
                      <a:pt x="150" y="0"/>
                    </a:moveTo>
                    <a:cubicBezTo>
                      <a:pt x="150" y="0"/>
                      <a:pt x="150" y="0"/>
                      <a:pt x="150" y="0"/>
                    </a:cubicBezTo>
                    <a:cubicBezTo>
                      <a:pt x="151" y="0"/>
                      <a:pt x="151" y="0"/>
                      <a:pt x="151" y="0"/>
                    </a:cubicBezTo>
                    <a:lnTo>
                      <a:pt x="150" y="0"/>
                    </a:lnTo>
                    <a:close/>
                    <a:moveTo>
                      <a:pt x="151" y="0"/>
                    </a:moveTo>
                    <a:cubicBezTo>
                      <a:pt x="151" y="0"/>
                      <a:pt x="151" y="0"/>
                      <a:pt x="151" y="0"/>
                    </a:cubicBezTo>
                    <a:cubicBezTo>
                      <a:pt x="151" y="0"/>
                      <a:pt x="151" y="0"/>
                      <a:pt x="151" y="0"/>
                    </a:cubicBezTo>
                    <a:close/>
                    <a:moveTo>
                      <a:pt x="151" y="0"/>
                    </a:moveTo>
                    <a:cubicBezTo>
                      <a:pt x="151" y="0"/>
                      <a:pt x="151" y="0"/>
                      <a:pt x="151" y="0"/>
                    </a:cubicBezTo>
                    <a:moveTo>
                      <a:pt x="152" y="0"/>
                    </a:moveTo>
                    <a:cubicBezTo>
                      <a:pt x="152" y="0"/>
                      <a:pt x="152" y="0"/>
                      <a:pt x="152" y="0"/>
                    </a:cubicBezTo>
                  </a:path>
                </a:pathLst>
              </a:custGeom>
              <a:grpFill/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4" name="Georgia" descr="{&quot;Key&quot;:&quot;georgia&quot;,&quot;Name&quot;:&quot;Georgia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A676D81C-C1BC-8B32-35CD-8052EA33DE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82236" y="8125116"/>
                <a:ext cx="678286" cy="310610"/>
              </a:xfrm>
              <a:custGeom>
                <a:avLst/>
                <a:gdLst>
                  <a:gd name="T0" fmla="*/ 365 w 406"/>
                  <a:gd name="T1" fmla="*/ 35 h 173"/>
                  <a:gd name="T2" fmla="*/ 368 w 406"/>
                  <a:gd name="T3" fmla="*/ 48 h 173"/>
                  <a:gd name="T4" fmla="*/ 371 w 406"/>
                  <a:gd name="T5" fmla="*/ 49 h 173"/>
                  <a:gd name="T6" fmla="*/ 379 w 406"/>
                  <a:gd name="T7" fmla="*/ 74 h 173"/>
                  <a:gd name="T8" fmla="*/ 351 w 406"/>
                  <a:gd name="T9" fmla="*/ 83 h 173"/>
                  <a:gd name="T10" fmla="*/ 352 w 406"/>
                  <a:gd name="T11" fmla="*/ 77 h 173"/>
                  <a:gd name="T12" fmla="*/ 314 w 406"/>
                  <a:gd name="T13" fmla="*/ 104 h 173"/>
                  <a:gd name="T14" fmla="*/ 312 w 406"/>
                  <a:gd name="T15" fmla="*/ 110 h 173"/>
                  <a:gd name="T16" fmla="*/ 246 w 406"/>
                  <a:gd name="T17" fmla="*/ 152 h 173"/>
                  <a:gd name="T18" fmla="*/ 244 w 406"/>
                  <a:gd name="T19" fmla="*/ 150 h 173"/>
                  <a:gd name="T20" fmla="*/ 231 w 406"/>
                  <a:gd name="T21" fmla="*/ 154 h 173"/>
                  <a:gd name="T22" fmla="*/ 224 w 406"/>
                  <a:gd name="T23" fmla="*/ 152 h 173"/>
                  <a:gd name="T24" fmla="*/ 214 w 406"/>
                  <a:gd name="T25" fmla="*/ 144 h 173"/>
                  <a:gd name="T26" fmla="*/ 204 w 406"/>
                  <a:gd name="T27" fmla="*/ 144 h 173"/>
                  <a:gd name="T28" fmla="*/ 195 w 406"/>
                  <a:gd name="T29" fmla="*/ 139 h 173"/>
                  <a:gd name="T30" fmla="*/ 187 w 406"/>
                  <a:gd name="T31" fmla="*/ 154 h 173"/>
                  <a:gd name="T32" fmla="*/ 157 w 406"/>
                  <a:gd name="T33" fmla="*/ 163 h 173"/>
                  <a:gd name="T34" fmla="*/ 145 w 406"/>
                  <a:gd name="T35" fmla="*/ 172 h 173"/>
                  <a:gd name="T36" fmla="*/ 135 w 406"/>
                  <a:gd name="T37" fmla="*/ 172 h 173"/>
                  <a:gd name="T38" fmla="*/ 140 w 406"/>
                  <a:gd name="T39" fmla="*/ 145 h 173"/>
                  <a:gd name="T40" fmla="*/ 99 w 406"/>
                  <a:gd name="T41" fmla="*/ 93 h 173"/>
                  <a:gd name="T42" fmla="*/ 81 w 406"/>
                  <a:gd name="T43" fmla="*/ 94 h 173"/>
                  <a:gd name="T44" fmla="*/ 45 w 406"/>
                  <a:gd name="T45" fmla="*/ 86 h 173"/>
                  <a:gd name="T46" fmla="*/ 32 w 406"/>
                  <a:gd name="T47" fmla="*/ 86 h 173"/>
                  <a:gd name="T48" fmla="*/ 20 w 406"/>
                  <a:gd name="T49" fmla="*/ 79 h 173"/>
                  <a:gd name="T50" fmla="*/ 3 w 406"/>
                  <a:gd name="T51" fmla="*/ 80 h 173"/>
                  <a:gd name="T52" fmla="*/ 7 w 406"/>
                  <a:gd name="T53" fmla="*/ 78 h 173"/>
                  <a:gd name="T54" fmla="*/ 37 w 406"/>
                  <a:gd name="T55" fmla="*/ 52 h 173"/>
                  <a:gd name="T56" fmla="*/ 77 w 406"/>
                  <a:gd name="T57" fmla="*/ 50 h 173"/>
                  <a:gd name="T58" fmla="*/ 115 w 406"/>
                  <a:gd name="T59" fmla="*/ 45 h 173"/>
                  <a:gd name="T60" fmla="*/ 144 w 406"/>
                  <a:gd name="T61" fmla="*/ 34 h 173"/>
                  <a:gd name="T62" fmla="*/ 165 w 406"/>
                  <a:gd name="T63" fmla="*/ 32 h 173"/>
                  <a:gd name="T64" fmla="*/ 213 w 406"/>
                  <a:gd name="T65" fmla="*/ 32 h 173"/>
                  <a:gd name="T66" fmla="*/ 249 w 406"/>
                  <a:gd name="T67" fmla="*/ 12 h 173"/>
                  <a:gd name="T68" fmla="*/ 266 w 406"/>
                  <a:gd name="T69" fmla="*/ 3 h 173"/>
                  <a:gd name="T70" fmla="*/ 302 w 406"/>
                  <a:gd name="T71" fmla="*/ 2 h 173"/>
                  <a:gd name="T72" fmla="*/ 317 w 406"/>
                  <a:gd name="T73" fmla="*/ 22 h 173"/>
                  <a:gd name="T74" fmla="*/ 327 w 406"/>
                  <a:gd name="T75" fmla="*/ 22 h 173"/>
                  <a:gd name="T76" fmla="*/ 339 w 406"/>
                  <a:gd name="T77" fmla="*/ 26 h 173"/>
                  <a:gd name="T78" fmla="*/ 360 w 406"/>
                  <a:gd name="T79" fmla="*/ 22 h 173"/>
                  <a:gd name="T80" fmla="*/ 367 w 406"/>
                  <a:gd name="T81" fmla="*/ 21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06" h="173">
                    <a:moveTo>
                      <a:pt x="367" y="21"/>
                    </a:moveTo>
                    <a:cubicBezTo>
                      <a:pt x="366" y="26"/>
                      <a:pt x="367" y="30"/>
                      <a:pt x="365" y="35"/>
                    </a:cubicBezTo>
                    <a:cubicBezTo>
                      <a:pt x="365" y="37"/>
                      <a:pt x="361" y="36"/>
                      <a:pt x="360" y="38"/>
                    </a:cubicBezTo>
                    <a:cubicBezTo>
                      <a:pt x="359" y="40"/>
                      <a:pt x="365" y="48"/>
                      <a:pt x="368" y="48"/>
                    </a:cubicBezTo>
                    <a:cubicBezTo>
                      <a:pt x="369" y="48"/>
                      <a:pt x="373" y="45"/>
                      <a:pt x="373" y="46"/>
                    </a:cubicBezTo>
                    <a:cubicBezTo>
                      <a:pt x="373" y="47"/>
                      <a:pt x="371" y="48"/>
                      <a:pt x="371" y="49"/>
                    </a:cubicBezTo>
                    <a:cubicBezTo>
                      <a:pt x="370" y="51"/>
                      <a:pt x="406" y="47"/>
                      <a:pt x="402" y="66"/>
                    </a:cubicBezTo>
                    <a:cubicBezTo>
                      <a:pt x="397" y="88"/>
                      <a:pt x="392" y="69"/>
                      <a:pt x="379" y="74"/>
                    </a:cubicBezTo>
                    <a:cubicBezTo>
                      <a:pt x="368" y="78"/>
                      <a:pt x="375" y="84"/>
                      <a:pt x="364" y="84"/>
                    </a:cubicBezTo>
                    <a:cubicBezTo>
                      <a:pt x="360" y="84"/>
                      <a:pt x="356" y="83"/>
                      <a:pt x="351" y="83"/>
                    </a:cubicBezTo>
                    <a:cubicBezTo>
                      <a:pt x="351" y="83"/>
                      <a:pt x="350" y="83"/>
                      <a:pt x="350" y="82"/>
                    </a:cubicBezTo>
                    <a:cubicBezTo>
                      <a:pt x="350" y="80"/>
                      <a:pt x="354" y="77"/>
                      <a:pt x="352" y="77"/>
                    </a:cubicBezTo>
                    <a:cubicBezTo>
                      <a:pt x="343" y="74"/>
                      <a:pt x="335" y="78"/>
                      <a:pt x="327" y="80"/>
                    </a:cubicBezTo>
                    <a:cubicBezTo>
                      <a:pt x="318" y="83"/>
                      <a:pt x="321" y="99"/>
                      <a:pt x="314" y="104"/>
                    </a:cubicBezTo>
                    <a:cubicBezTo>
                      <a:pt x="312" y="105"/>
                      <a:pt x="305" y="106"/>
                      <a:pt x="308" y="107"/>
                    </a:cubicBezTo>
                    <a:cubicBezTo>
                      <a:pt x="309" y="108"/>
                      <a:pt x="313" y="109"/>
                      <a:pt x="312" y="110"/>
                    </a:cubicBezTo>
                    <a:cubicBezTo>
                      <a:pt x="302" y="116"/>
                      <a:pt x="286" y="119"/>
                      <a:pt x="278" y="126"/>
                    </a:cubicBezTo>
                    <a:cubicBezTo>
                      <a:pt x="268" y="135"/>
                      <a:pt x="260" y="145"/>
                      <a:pt x="246" y="152"/>
                    </a:cubicBezTo>
                    <a:cubicBezTo>
                      <a:pt x="245" y="153"/>
                      <a:pt x="245" y="153"/>
                      <a:pt x="245" y="153"/>
                    </a:cubicBezTo>
                    <a:cubicBezTo>
                      <a:pt x="245" y="152"/>
                      <a:pt x="245" y="151"/>
                      <a:pt x="244" y="150"/>
                    </a:cubicBezTo>
                    <a:cubicBezTo>
                      <a:pt x="243" y="149"/>
                      <a:pt x="240" y="148"/>
                      <a:pt x="239" y="149"/>
                    </a:cubicBezTo>
                    <a:cubicBezTo>
                      <a:pt x="236" y="150"/>
                      <a:pt x="234" y="153"/>
                      <a:pt x="231" y="154"/>
                    </a:cubicBezTo>
                    <a:cubicBezTo>
                      <a:pt x="230" y="154"/>
                      <a:pt x="230" y="150"/>
                      <a:pt x="228" y="150"/>
                    </a:cubicBezTo>
                    <a:cubicBezTo>
                      <a:pt x="226" y="150"/>
                      <a:pt x="225" y="154"/>
                      <a:pt x="224" y="152"/>
                    </a:cubicBezTo>
                    <a:cubicBezTo>
                      <a:pt x="223" y="150"/>
                      <a:pt x="226" y="149"/>
                      <a:pt x="226" y="146"/>
                    </a:cubicBezTo>
                    <a:cubicBezTo>
                      <a:pt x="227" y="142"/>
                      <a:pt x="218" y="145"/>
                      <a:pt x="214" y="144"/>
                    </a:cubicBezTo>
                    <a:cubicBezTo>
                      <a:pt x="211" y="143"/>
                      <a:pt x="208" y="141"/>
                      <a:pt x="205" y="141"/>
                    </a:cubicBezTo>
                    <a:cubicBezTo>
                      <a:pt x="204" y="141"/>
                      <a:pt x="205" y="144"/>
                      <a:pt x="204" y="144"/>
                    </a:cubicBezTo>
                    <a:cubicBezTo>
                      <a:pt x="195" y="146"/>
                      <a:pt x="202" y="139"/>
                      <a:pt x="200" y="136"/>
                    </a:cubicBezTo>
                    <a:cubicBezTo>
                      <a:pt x="198" y="135"/>
                      <a:pt x="196" y="138"/>
                      <a:pt x="195" y="139"/>
                    </a:cubicBezTo>
                    <a:cubicBezTo>
                      <a:pt x="192" y="140"/>
                      <a:pt x="188" y="140"/>
                      <a:pt x="187" y="142"/>
                    </a:cubicBezTo>
                    <a:cubicBezTo>
                      <a:pt x="185" y="146"/>
                      <a:pt x="189" y="150"/>
                      <a:pt x="187" y="154"/>
                    </a:cubicBezTo>
                    <a:cubicBezTo>
                      <a:pt x="185" y="156"/>
                      <a:pt x="182" y="155"/>
                      <a:pt x="180" y="156"/>
                    </a:cubicBezTo>
                    <a:cubicBezTo>
                      <a:pt x="172" y="158"/>
                      <a:pt x="163" y="158"/>
                      <a:pt x="157" y="163"/>
                    </a:cubicBezTo>
                    <a:cubicBezTo>
                      <a:pt x="155" y="165"/>
                      <a:pt x="157" y="169"/>
                      <a:pt x="154" y="171"/>
                    </a:cubicBezTo>
                    <a:cubicBezTo>
                      <a:pt x="152" y="173"/>
                      <a:pt x="148" y="172"/>
                      <a:pt x="145" y="172"/>
                    </a:cubicBezTo>
                    <a:cubicBezTo>
                      <a:pt x="142" y="172"/>
                      <a:pt x="140" y="172"/>
                      <a:pt x="136" y="172"/>
                    </a:cubicBezTo>
                    <a:cubicBezTo>
                      <a:pt x="135" y="172"/>
                      <a:pt x="135" y="172"/>
                      <a:pt x="135" y="172"/>
                    </a:cubicBezTo>
                    <a:cubicBezTo>
                      <a:pt x="136" y="169"/>
                      <a:pt x="136" y="166"/>
                      <a:pt x="137" y="163"/>
                    </a:cubicBezTo>
                    <a:cubicBezTo>
                      <a:pt x="140" y="153"/>
                      <a:pt x="144" y="155"/>
                      <a:pt x="140" y="145"/>
                    </a:cubicBezTo>
                    <a:cubicBezTo>
                      <a:pt x="136" y="131"/>
                      <a:pt x="121" y="124"/>
                      <a:pt x="112" y="112"/>
                    </a:cubicBezTo>
                    <a:cubicBezTo>
                      <a:pt x="108" y="107"/>
                      <a:pt x="106" y="96"/>
                      <a:pt x="99" y="93"/>
                    </a:cubicBezTo>
                    <a:cubicBezTo>
                      <a:pt x="95" y="91"/>
                      <a:pt x="90" y="92"/>
                      <a:pt x="86" y="92"/>
                    </a:cubicBezTo>
                    <a:cubicBezTo>
                      <a:pt x="84" y="92"/>
                      <a:pt x="83" y="94"/>
                      <a:pt x="81" y="94"/>
                    </a:cubicBezTo>
                    <a:cubicBezTo>
                      <a:pt x="76" y="94"/>
                      <a:pt x="75" y="86"/>
                      <a:pt x="70" y="84"/>
                    </a:cubicBezTo>
                    <a:cubicBezTo>
                      <a:pt x="56" y="78"/>
                      <a:pt x="56" y="83"/>
                      <a:pt x="45" y="86"/>
                    </a:cubicBezTo>
                    <a:cubicBezTo>
                      <a:pt x="43" y="87"/>
                      <a:pt x="42" y="86"/>
                      <a:pt x="40" y="86"/>
                    </a:cubicBezTo>
                    <a:cubicBezTo>
                      <a:pt x="37" y="86"/>
                      <a:pt x="34" y="85"/>
                      <a:pt x="32" y="86"/>
                    </a:cubicBezTo>
                    <a:cubicBezTo>
                      <a:pt x="30" y="86"/>
                      <a:pt x="32" y="88"/>
                      <a:pt x="31" y="89"/>
                    </a:cubicBezTo>
                    <a:cubicBezTo>
                      <a:pt x="26" y="91"/>
                      <a:pt x="25" y="80"/>
                      <a:pt x="20" y="79"/>
                    </a:cubicBezTo>
                    <a:cubicBezTo>
                      <a:pt x="16" y="77"/>
                      <a:pt x="12" y="79"/>
                      <a:pt x="7" y="79"/>
                    </a:cubicBezTo>
                    <a:cubicBezTo>
                      <a:pt x="6" y="79"/>
                      <a:pt x="4" y="80"/>
                      <a:pt x="3" y="80"/>
                    </a:cubicBezTo>
                    <a:cubicBezTo>
                      <a:pt x="2" y="79"/>
                      <a:pt x="1" y="79"/>
                      <a:pt x="0" y="77"/>
                    </a:cubicBezTo>
                    <a:cubicBezTo>
                      <a:pt x="7" y="78"/>
                      <a:pt x="7" y="78"/>
                      <a:pt x="7" y="78"/>
                    </a:cubicBezTo>
                    <a:cubicBezTo>
                      <a:pt x="7" y="51"/>
                      <a:pt x="13" y="66"/>
                      <a:pt x="30" y="58"/>
                    </a:cubicBezTo>
                    <a:cubicBezTo>
                      <a:pt x="33" y="56"/>
                      <a:pt x="34" y="53"/>
                      <a:pt x="37" y="52"/>
                    </a:cubicBezTo>
                    <a:cubicBezTo>
                      <a:pt x="45" y="50"/>
                      <a:pt x="52" y="58"/>
                      <a:pt x="59" y="56"/>
                    </a:cubicBezTo>
                    <a:cubicBezTo>
                      <a:pt x="60" y="56"/>
                      <a:pt x="75" y="50"/>
                      <a:pt x="77" y="50"/>
                    </a:cubicBezTo>
                    <a:cubicBezTo>
                      <a:pt x="81" y="50"/>
                      <a:pt x="85" y="55"/>
                      <a:pt x="90" y="55"/>
                    </a:cubicBezTo>
                    <a:cubicBezTo>
                      <a:pt x="90" y="55"/>
                      <a:pt x="115" y="45"/>
                      <a:pt x="115" y="45"/>
                    </a:cubicBezTo>
                    <a:cubicBezTo>
                      <a:pt x="130" y="36"/>
                      <a:pt x="98" y="41"/>
                      <a:pt x="131" y="33"/>
                    </a:cubicBezTo>
                    <a:cubicBezTo>
                      <a:pt x="135" y="33"/>
                      <a:pt x="140" y="35"/>
                      <a:pt x="144" y="34"/>
                    </a:cubicBezTo>
                    <a:cubicBezTo>
                      <a:pt x="144" y="34"/>
                      <a:pt x="154" y="26"/>
                      <a:pt x="163" y="28"/>
                    </a:cubicBezTo>
                    <a:cubicBezTo>
                      <a:pt x="164" y="29"/>
                      <a:pt x="163" y="31"/>
                      <a:pt x="165" y="32"/>
                    </a:cubicBezTo>
                    <a:cubicBezTo>
                      <a:pt x="167" y="33"/>
                      <a:pt x="170" y="34"/>
                      <a:pt x="172" y="35"/>
                    </a:cubicBezTo>
                    <a:cubicBezTo>
                      <a:pt x="185" y="36"/>
                      <a:pt x="200" y="32"/>
                      <a:pt x="213" y="32"/>
                    </a:cubicBezTo>
                    <a:cubicBezTo>
                      <a:pt x="217" y="32"/>
                      <a:pt x="207" y="43"/>
                      <a:pt x="215" y="43"/>
                    </a:cubicBezTo>
                    <a:cubicBezTo>
                      <a:pt x="238" y="43"/>
                      <a:pt x="232" y="20"/>
                      <a:pt x="249" y="12"/>
                    </a:cubicBezTo>
                    <a:cubicBezTo>
                      <a:pt x="254" y="10"/>
                      <a:pt x="260" y="20"/>
                      <a:pt x="264" y="17"/>
                    </a:cubicBezTo>
                    <a:cubicBezTo>
                      <a:pt x="268" y="14"/>
                      <a:pt x="261" y="4"/>
                      <a:pt x="266" y="3"/>
                    </a:cubicBezTo>
                    <a:cubicBezTo>
                      <a:pt x="283" y="0"/>
                      <a:pt x="282" y="8"/>
                      <a:pt x="294" y="8"/>
                    </a:cubicBezTo>
                    <a:cubicBezTo>
                      <a:pt x="297" y="8"/>
                      <a:pt x="299" y="3"/>
                      <a:pt x="302" y="2"/>
                    </a:cubicBezTo>
                    <a:cubicBezTo>
                      <a:pt x="305" y="0"/>
                      <a:pt x="309" y="0"/>
                      <a:pt x="313" y="0"/>
                    </a:cubicBezTo>
                    <a:cubicBezTo>
                      <a:pt x="319" y="0"/>
                      <a:pt x="316" y="19"/>
                      <a:pt x="317" y="22"/>
                    </a:cubicBezTo>
                    <a:cubicBezTo>
                      <a:pt x="317" y="23"/>
                      <a:pt x="318" y="22"/>
                      <a:pt x="319" y="22"/>
                    </a:cubicBezTo>
                    <a:cubicBezTo>
                      <a:pt x="322" y="22"/>
                      <a:pt x="324" y="22"/>
                      <a:pt x="327" y="22"/>
                    </a:cubicBezTo>
                    <a:cubicBezTo>
                      <a:pt x="329" y="22"/>
                      <a:pt x="332" y="21"/>
                      <a:pt x="334" y="22"/>
                    </a:cubicBezTo>
                    <a:cubicBezTo>
                      <a:pt x="337" y="23"/>
                      <a:pt x="338" y="26"/>
                      <a:pt x="339" y="26"/>
                    </a:cubicBezTo>
                    <a:cubicBezTo>
                      <a:pt x="340" y="26"/>
                      <a:pt x="354" y="20"/>
                      <a:pt x="354" y="20"/>
                    </a:cubicBezTo>
                    <a:cubicBezTo>
                      <a:pt x="356" y="20"/>
                      <a:pt x="358" y="22"/>
                      <a:pt x="360" y="22"/>
                    </a:cubicBezTo>
                    <a:cubicBezTo>
                      <a:pt x="361" y="22"/>
                      <a:pt x="364" y="21"/>
                      <a:pt x="367" y="20"/>
                    </a:cubicBezTo>
                    <a:lnTo>
                      <a:pt x="367" y="21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5" name="Turkey" descr="{&quot;Key&quot;:&quot;turkey&quot;,&quot;Name&quot;:&quot;Turkey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626F65BB-D446-E2FD-8B55-F9C48CD06DB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58176" y="8367234"/>
                <a:ext cx="1849738" cy="1181914"/>
              </a:xfrm>
              <a:custGeom>
                <a:avLst/>
                <a:gdLst>
                  <a:gd name="T0" fmla="*/ 1002 w 1106"/>
                  <a:gd name="T1" fmla="*/ 290 h 656"/>
                  <a:gd name="T2" fmla="*/ 1095 w 1106"/>
                  <a:gd name="T3" fmla="*/ 254 h 656"/>
                  <a:gd name="T4" fmla="*/ 1052 w 1106"/>
                  <a:gd name="T5" fmla="*/ 217 h 656"/>
                  <a:gd name="T6" fmla="*/ 1016 w 1106"/>
                  <a:gd name="T7" fmla="*/ 143 h 656"/>
                  <a:gd name="T8" fmla="*/ 1030 w 1106"/>
                  <a:gd name="T9" fmla="*/ 81 h 656"/>
                  <a:gd name="T10" fmla="*/ 945 w 1106"/>
                  <a:gd name="T11" fmla="*/ 40 h 656"/>
                  <a:gd name="T12" fmla="*/ 900 w 1106"/>
                  <a:gd name="T13" fmla="*/ 15 h 656"/>
                  <a:gd name="T14" fmla="*/ 876 w 1106"/>
                  <a:gd name="T15" fmla="*/ 9 h 656"/>
                  <a:gd name="T16" fmla="*/ 852 w 1106"/>
                  <a:gd name="T17" fmla="*/ 21 h 656"/>
                  <a:gd name="T18" fmla="*/ 807 w 1106"/>
                  <a:gd name="T19" fmla="*/ 37 h 656"/>
                  <a:gd name="T20" fmla="*/ 740 w 1106"/>
                  <a:gd name="T21" fmla="*/ 115 h 656"/>
                  <a:gd name="T22" fmla="*/ 700 w 1106"/>
                  <a:gd name="T23" fmla="*/ 122 h 656"/>
                  <a:gd name="T24" fmla="*/ 627 w 1106"/>
                  <a:gd name="T25" fmla="*/ 149 h 656"/>
                  <a:gd name="T26" fmla="*/ 585 w 1106"/>
                  <a:gd name="T27" fmla="*/ 156 h 656"/>
                  <a:gd name="T28" fmla="*/ 517 w 1106"/>
                  <a:gd name="T29" fmla="*/ 144 h 656"/>
                  <a:gd name="T30" fmla="*/ 453 w 1106"/>
                  <a:gd name="T31" fmla="*/ 147 h 656"/>
                  <a:gd name="T32" fmla="*/ 289 w 1106"/>
                  <a:gd name="T33" fmla="*/ 254 h 656"/>
                  <a:gd name="T34" fmla="*/ 227 w 1106"/>
                  <a:gd name="T35" fmla="*/ 280 h 656"/>
                  <a:gd name="T36" fmla="*/ 176 w 1106"/>
                  <a:gd name="T37" fmla="*/ 320 h 656"/>
                  <a:gd name="T38" fmla="*/ 216 w 1106"/>
                  <a:gd name="T39" fmla="*/ 318 h 656"/>
                  <a:gd name="T40" fmla="*/ 143 w 1106"/>
                  <a:gd name="T41" fmla="*/ 366 h 656"/>
                  <a:gd name="T42" fmla="*/ 101 w 1106"/>
                  <a:gd name="T43" fmla="*/ 367 h 656"/>
                  <a:gd name="T44" fmla="*/ 45 w 1106"/>
                  <a:gd name="T45" fmla="*/ 392 h 656"/>
                  <a:gd name="T46" fmla="*/ 21 w 1106"/>
                  <a:gd name="T47" fmla="*/ 430 h 656"/>
                  <a:gd name="T48" fmla="*/ 60 w 1106"/>
                  <a:gd name="T49" fmla="*/ 471 h 656"/>
                  <a:gd name="T50" fmla="*/ 72 w 1106"/>
                  <a:gd name="T51" fmla="*/ 517 h 656"/>
                  <a:gd name="T52" fmla="*/ 74 w 1106"/>
                  <a:gd name="T53" fmla="*/ 533 h 656"/>
                  <a:gd name="T54" fmla="*/ 56 w 1106"/>
                  <a:gd name="T55" fmla="*/ 535 h 656"/>
                  <a:gd name="T56" fmla="*/ 50 w 1106"/>
                  <a:gd name="T57" fmla="*/ 551 h 656"/>
                  <a:gd name="T58" fmla="*/ 96 w 1106"/>
                  <a:gd name="T59" fmla="*/ 555 h 656"/>
                  <a:gd name="T60" fmla="*/ 119 w 1106"/>
                  <a:gd name="T61" fmla="*/ 604 h 656"/>
                  <a:gd name="T62" fmla="*/ 137 w 1106"/>
                  <a:gd name="T63" fmla="*/ 624 h 656"/>
                  <a:gd name="T64" fmla="*/ 190 w 1106"/>
                  <a:gd name="T65" fmla="*/ 611 h 656"/>
                  <a:gd name="T66" fmla="*/ 150 w 1106"/>
                  <a:gd name="T67" fmla="*/ 647 h 656"/>
                  <a:gd name="T68" fmla="*/ 176 w 1106"/>
                  <a:gd name="T69" fmla="*/ 647 h 656"/>
                  <a:gd name="T70" fmla="*/ 225 w 1106"/>
                  <a:gd name="T71" fmla="*/ 633 h 656"/>
                  <a:gd name="T72" fmla="*/ 284 w 1106"/>
                  <a:gd name="T73" fmla="*/ 655 h 656"/>
                  <a:gd name="T74" fmla="*/ 325 w 1106"/>
                  <a:gd name="T75" fmla="*/ 623 h 656"/>
                  <a:gd name="T76" fmla="*/ 459 w 1106"/>
                  <a:gd name="T77" fmla="*/ 610 h 656"/>
                  <a:gd name="T78" fmla="*/ 513 w 1106"/>
                  <a:gd name="T79" fmla="*/ 581 h 656"/>
                  <a:gd name="T80" fmla="*/ 553 w 1106"/>
                  <a:gd name="T81" fmla="*/ 522 h 656"/>
                  <a:gd name="T82" fmla="*/ 619 w 1106"/>
                  <a:gd name="T83" fmla="*/ 502 h 656"/>
                  <a:gd name="T84" fmla="*/ 649 w 1106"/>
                  <a:gd name="T85" fmla="*/ 496 h 656"/>
                  <a:gd name="T86" fmla="*/ 665 w 1106"/>
                  <a:gd name="T87" fmla="*/ 544 h 656"/>
                  <a:gd name="T88" fmla="*/ 670 w 1106"/>
                  <a:gd name="T89" fmla="*/ 474 h 656"/>
                  <a:gd name="T90" fmla="*/ 765 w 1106"/>
                  <a:gd name="T91" fmla="*/ 431 h 656"/>
                  <a:gd name="T92" fmla="*/ 958 w 1106"/>
                  <a:gd name="T93" fmla="*/ 321 h 656"/>
                  <a:gd name="T94" fmla="*/ 81 w 1106"/>
                  <a:gd name="T95" fmla="*/ 259 h 656"/>
                  <a:gd name="T96" fmla="*/ 17 w 1106"/>
                  <a:gd name="T97" fmla="*/ 276 h 656"/>
                  <a:gd name="T98" fmla="*/ 16 w 1106"/>
                  <a:gd name="T99" fmla="*/ 355 h 656"/>
                  <a:gd name="T100" fmla="*/ 19 w 1106"/>
                  <a:gd name="T101" fmla="*/ 402 h 656"/>
                  <a:gd name="T102" fmla="*/ 73 w 1106"/>
                  <a:gd name="T103" fmla="*/ 361 h 656"/>
                  <a:gd name="T104" fmla="*/ 119 w 1106"/>
                  <a:gd name="T105" fmla="*/ 320 h 656"/>
                  <a:gd name="T106" fmla="*/ 163 w 1106"/>
                  <a:gd name="T107" fmla="*/ 297 h 6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106" h="656">
                    <a:moveTo>
                      <a:pt x="977" y="319"/>
                    </a:moveTo>
                    <a:cubicBezTo>
                      <a:pt x="979" y="318"/>
                      <a:pt x="980" y="316"/>
                      <a:pt x="981" y="315"/>
                    </a:cubicBezTo>
                    <a:cubicBezTo>
                      <a:pt x="984" y="312"/>
                      <a:pt x="986" y="311"/>
                      <a:pt x="987" y="308"/>
                    </a:cubicBezTo>
                    <a:cubicBezTo>
                      <a:pt x="988" y="306"/>
                      <a:pt x="988" y="291"/>
                      <a:pt x="991" y="290"/>
                    </a:cubicBezTo>
                    <a:cubicBezTo>
                      <a:pt x="995" y="289"/>
                      <a:pt x="999" y="292"/>
                      <a:pt x="1002" y="290"/>
                    </a:cubicBezTo>
                    <a:cubicBezTo>
                      <a:pt x="1006" y="289"/>
                      <a:pt x="1007" y="282"/>
                      <a:pt x="1011" y="281"/>
                    </a:cubicBezTo>
                    <a:cubicBezTo>
                      <a:pt x="1019" y="276"/>
                      <a:pt x="1048" y="282"/>
                      <a:pt x="1055" y="272"/>
                    </a:cubicBezTo>
                    <a:cubicBezTo>
                      <a:pt x="1064" y="261"/>
                      <a:pt x="1051" y="263"/>
                      <a:pt x="1064" y="259"/>
                    </a:cubicBezTo>
                    <a:cubicBezTo>
                      <a:pt x="1081" y="254"/>
                      <a:pt x="1071" y="272"/>
                      <a:pt x="1081" y="278"/>
                    </a:cubicBezTo>
                    <a:cubicBezTo>
                      <a:pt x="1085" y="281"/>
                      <a:pt x="1089" y="259"/>
                      <a:pt x="1095" y="254"/>
                    </a:cubicBezTo>
                    <a:cubicBezTo>
                      <a:pt x="1098" y="252"/>
                      <a:pt x="1106" y="254"/>
                      <a:pt x="1105" y="251"/>
                    </a:cubicBezTo>
                    <a:cubicBezTo>
                      <a:pt x="1092" y="232"/>
                      <a:pt x="1102" y="249"/>
                      <a:pt x="1086" y="238"/>
                    </a:cubicBezTo>
                    <a:cubicBezTo>
                      <a:pt x="1078" y="233"/>
                      <a:pt x="1079" y="220"/>
                      <a:pt x="1079" y="219"/>
                    </a:cubicBezTo>
                    <a:cubicBezTo>
                      <a:pt x="1078" y="217"/>
                      <a:pt x="1061" y="215"/>
                      <a:pt x="1059" y="215"/>
                    </a:cubicBezTo>
                    <a:cubicBezTo>
                      <a:pt x="1057" y="215"/>
                      <a:pt x="1053" y="220"/>
                      <a:pt x="1052" y="217"/>
                    </a:cubicBezTo>
                    <a:cubicBezTo>
                      <a:pt x="1050" y="209"/>
                      <a:pt x="1053" y="198"/>
                      <a:pt x="1053" y="190"/>
                    </a:cubicBezTo>
                    <a:cubicBezTo>
                      <a:pt x="1053" y="187"/>
                      <a:pt x="1054" y="184"/>
                      <a:pt x="1054" y="181"/>
                    </a:cubicBezTo>
                    <a:cubicBezTo>
                      <a:pt x="1049" y="168"/>
                      <a:pt x="1045" y="187"/>
                      <a:pt x="1040" y="178"/>
                    </a:cubicBezTo>
                    <a:cubicBezTo>
                      <a:pt x="1040" y="177"/>
                      <a:pt x="1027" y="149"/>
                      <a:pt x="1027" y="149"/>
                    </a:cubicBezTo>
                    <a:cubicBezTo>
                      <a:pt x="1020" y="147"/>
                      <a:pt x="1024" y="159"/>
                      <a:pt x="1016" y="143"/>
                    </a:cubicBezTo>
                    <a:cubicBezTo>
                      <a:pt x="1015" y="140"/>
                      <a:pt x="1016" y="136"/>
                      <a:pt x="1015" y="133"/>
                    </a:cubicBezTo>
                    <a:cubicBezTo>
                      <a:pt x="1012" y="127"/>
                      <a:pt x="1002" y="127"/>
                      <a:pt x="998" y="121"/>
                    </a:cubicBezTo>
                    <a:cubicBezTo>
                      <a:pt x="995" y="115"/>
                      <a:pt x="1015" y="117"/>
                      <a:pt x="1016" y="107"/>
                    </a:cubicBezTo>
                    <a:cubicBezTo>
                      <a:pt x="1018" y="92"/>
                      <a:pt x="995" y="74"/>
                      <a:pt x="1029" y="82"/>
                    </a:cubicBezTo>
                    <a:cubicBezTo>
                      <a:pt x="1030" y="81"/>
                      <a:pt x="1030" y="81"/>
                      <a:pt x="1030" y="81"/>
                    </a:cubicBezTo>
                    <a:cubicBezTo>
                      <a:pt x="1023" y="78"/>
                      <a:pt x="1012" y="73"/>
                      <a:pt x="1007" y="71"/>
                    </a:cubicBezTo>
                    <a:cubicBezTo>
                      <a:pt x="987" y="65"/>
                      <a:pt x="980" y="80"/>
                      <a:pt x="956" y="81"/>
                    </a:cubicBezTo>
                    <a:cubicBezTo>
                      <a:pt x="955" y="81"/>
                      <a:pt x="959" y="77"/>
                      <a:pt x="958" y="76"/>
                    </a:cubicBezTo>
                    <a:cubicBezTo>
                      <a:pt x="956" y="72"/>
                      <a:pt x="951" y="71"/>
                      <a:pt x="947" y="67"/>
                    </a:cubicBezTo>
                    <a:cubicBezTo>
                      <a:pt x="941" y="61"/>
                      <a:pt x="946" y="48"/>
                      <a:pt x="945" y="40"/>
                    </a:cubicBezTo>
                    <a:cubicBezTo>
                      <a:pt x="941" y="25"/>
                      <a:pt x="924" y="26"/>
                      <a:pt x="919" y="22"/>
                    </a:cubicBezTo>
                    <a:cubicBezTo>
                      <a:pt x="917" y="20"/>
                      <a:pt x="918" y="17"/>
                      <a:pt x="916" y="15"/>
                    </a:cubicBezTo>
                    <a:cubicBezTo>
                      <a:pt x="915" y="14"/>
                      <a:pt x="912" y="13"/>
                      <a:pt x="911" y="14"/>
                    </a:cubicBezTo>
                    <a:cubicBezTo>
                      <a:pt x="908" y="15"/>
                      <a:pt x="906" y="18"/>
                      <a:pt x="903" y="19"/>
                    </a:cubicBezTo>
                    <a:cubicBezTo>
                      <a:pt x="902" y="19"/>
                      <a:pt x="902" y="15"/>
                      <a:pt x="900" y="15"/>
                    </a:cubicBezTo>
                    <a:cubicBezTo>
                      <a:pt x="898" y="15"/>
                      <a:pt x="897" y="19"/>
                      <a:pt x="896" y="17"/>
                    </a:cubicBezTo>
                    <a:cubicBezTo>
                      <a:pt x="895" y="15"/>
                      <a:pt x="898" y="14"/>
                      <a:pt x="898" y="11"/>
                    </a:cubicBezTo>
                    <a:cubicBezTo>
                      <a:pt x="899" y="7"/>
                      <a:pt x="890" y="10"/>
                      <a:pt x="886" y="9"/>
                    </a:cubicBezTo>
                    <a:cubicBezTo>
                      <a:pt x="883" y="8"/>
                      <a:pt x="880" y="6"/>
                      <a:pt x="877" y="6"/>
                    </a:cubicBezTo>
                    <a:cubicBezTo>
                      <a:pt x="876" y="6"/>
                      <a:pt x="877" y="9"/>
                      <a:pt x="876" y="9"/>
                    </a:cubicBezTo>
                    <a:cubicBezTo>
                      <a:pt x="867" y="11"/>
                      <a:pt x="874" y="4"/>
                      <a:pt x="872" y="1"/>
                    </a:cubicBezTo>
                    <a:cubicBezTo>
                      <a:pt x="870" y="0"/>
                      <a:pt x="868" y="3"/>
                      <a:pt x="867" y="4"/>
                    </a:cubicBezTo>
                    <a:cubicBezTo>
                      <a:pt x="864" y="5"/>
                      <a:pt x="860" y="5"/>
                      <a:pt x="859" y="7"/>
                    </a:cubicBezTo>
                    <a:cubicBezTo>
                      <a:pt x="857" y="11"/>
                      <a:pt x="861" y="15"/>
                      <a:pt x="859" y="19"/>
                    </a:cubicBezTo>
                    <a:cubicBezTo>
                      <a:pt x="857" y="21"/>
                      <a:pt x="854" y="20"/>
                      <a:pt x="852" y="21"/>
                    </a:cubicBezTo>
                    <a:cubicBezTo>
                      <a:pt x="844" y="23"/>
                      <a:pt x="835" y="23"/>
                      <a:pt x="829" y="28"/>
                    </a:cubicBezTo>
                    <a:cubicBezTo>
                      <a:pt x="827" y="30"/>
                      <a:pt x="829" y="34"/>
                      <a:pt x="826" y="36"/>
                    </a:cubicBezTo>
                    <a:cubicBezTo>
                      <a:pt x="824" y="38"/>
                      <a:pt x="820" y="37"/>
                      <a:pt x="817" y="37"/>
                    </a:cubicBezTo>
                    <a:cubicBezTo>
                      <a:pt x="814" y="37"/>
                      <a:pt x="812" y="37"/>
                      <a:pt x="808" y="37"/>
                    </a:cubicBezTo>
                    <a:cubicBezTo>
                      <a:pt x="807" y="37"/>
                      <a:pt x="807" y="37"/>
                      <a:pt x="807" y="37"/>
                    </a:cubicBezTo>
                    <a:cubicBezTo>
                      <a:pt x="804" y="51"/>
                      <a:pt x="800" y="62"/>
                      <a:pt x="788" y="73"/>
                    </a:cubicBezTo>
                    <a:cubicBezTo>
                      <a:pt x="786" y="75"/>
                      <a:pt x="783" y="74"/>
                      <a:pt x="782" y="76"/>
                    </a:cubicBezTo>
                    <a:cubicBezTo>
                      <a:pt x="775" y="84"/>
                      <a:pt x="766" y="106"/>
                      <a:pt x="755" y="112"/>
                    </a:cubicBezTo>
                    <a:cubicBezTo>
                      <a:pt x="752" y="113"/>
                      <a:pt x="748" y="109"/>
                      <a:pt x="745" y="110"/>
                    </a:cubicBezTo>
                    <a:cubicBezTo>
                      <a:pt x="743" y="110"/>
                      <a:pt x="743" y="114"/>
                      <a:pt x="740" y="115"/>
                    </a:cubicBezTo>
                    <a:cubicBezTo>
                      <a:pt x="738" y="116"/>
                      <a:pt x="736" y="114"/>
                      <a:pt x="734" y="114"/>
                    </a:cubicBezTo>
                    <a:cubicBezTo>
                      <a:pt x="731" y="114"/>
                      <a:pt x="730" y="117"/>
                      <a:pt x="727" y="117"/>
                    </a:cubicBezTo>
                    <a:cubicBezTo>
                      <a:pt x="726" y="117"/>
                      <a:pt x="715" y="111"/>
                      <a:pt x="712" y="114"/>
                    </a:cubicBezTo>
                    <a:cubicBezTo>
                      <a:pt x="709" y="116"/>
                      <a:pt x="709" y="120"/>
                      <a:pt x="707" y="122"/>
                    </a:cubicBezTo>
                    <a:cubicBezTo>
                      <a:pt x="705" y="123"/>
                      <a:pt x="702" y="121"/>
                      <a:pt x="700" y="122"/>
                    </a:cubicBezTo>
                    <a:cubicBezTo>
                      <a:pt x="697" y="123"/>
                      <a:pt x="697" y="126"/>
                      <a:pt x="695" y="128"/>
                    </a:cubicBezTo>
                    <a:cubicBezTo>
                      <a:pt x="692" y="131"/>
                      <a:pt x="687" y="131"/>
                      <a:pt x="683" y="134"/>
                    </a:cubicBezTo>
                    <a:cubicBezTo>
                      <a:pt x="678" y="139"/>
                      <a:pt x="677" y="143"/>
                      <a:pt x="671" y="148"/>
                    </a:cubicBezTo>
                    <a:cubicBezTo>
                      <a:pt x="663" y="153"/>
                      <a:pt x="645" y="156"/>
                      <a:pt x="637" y="156"/>
                    </a:cubicBezTo>
                    <a:cubicBezTo>
                      <a:pt x="616" y="156"/>
                      <a:pt x="639" y="154"/>
                      <a:pt x="627" y="149"/>
                    </a:cubicBezTo>
                    <a:cubicBezTo>
                      <a:pt x="620" y="147"/>
                      <a:pt x="619" y="160"/>
                      <a:pt x="616" y="161"/>
                    </a:cubicBezTo>
                    <a:cubicBezTo>
                      <a:pt x="612" y="163"/>
                      <a:pt x="607" y="160"/>
                      <a:pt x="603" y="160"/>
                    </a:cubicBezTo>
                    <a:cubicBezTo>
                      <a:pt x="602" y="159"/>
                      <a:pt x="602" y="157"/>
                      <a:pt x="601" y="157"/>
                    </a:cubicBezTo>
                    <a:cubicBezTo>
                      <a:pt x="597" y="158"/>
                      <a:pt x="593" y="162"/>
                      <a:pt x="588" y="161"/>
                    </a:cubicBezTo>
                    <a:cubicBezTo>
                      <a:pt x="586" y="161"/>
                      <a:pt x="586" y="157"/>
                      <a:pt x="585" y="156"/>
                    </a:cubicBezTo>
                    <a:cubicBezTo>
                      <a:pt x="582" y="154"/>
                      <a:pt x="578" y="152"/>
                      <a:pt x="574" y="152"/>
                    </a:cubicBezTo>
                    <a:cubicBezTo>
                      <a:pt x="552" y="153"/>
                      <a:pt x="563" y="175"/>
                      <a:pt x="541" y="165"/>
                    </a:cubicBezTo>
                    <a:cubicBezTo>
                      <a:pt x="534" y="162"/>
                      <a:pt x="530" y="144"/>
                      <a:pt x="523" y="146"/>
                    </a:cubicBezTo>
                    <a:cubicBezTo>
                      <a:pt x="520" y="146"/>
                      <a:pt x="520" y="152"/>
                      <a:pt x="517" y="151"/>
                    </a:cubicBezTo>
                    <a:cubicBezTo>
                      <a:pt x="515" y="151"/>
                      <a:pt x="520" y="144"/>
                      <a:pt x="517" y="144"/>
                    </a:cubicBezTo>
                    <a:cubicBezTo>
                      <a:pt x="511" y="144"/>
                      <a:pt x="502" y="165"/>
                      <a:pt x="482" y="158"/>
                    </a:cubicBezTo>
                    <a:cubicBezTo>
                      <a:pt x="461" y="150"/>
                      <a:pt x="473" y="139"/>
                      <a:pt x="472" y="138"/>
                    </a:cubicBezTo>
                    <a:cubicBezTo>
                      <a:pt x="469" y="135"/>
                      <a:pt x="464" y="137"/>
                      <a:pt x="460" y="137"/>
                    </a:cubicBezTo>
                    <a:cubicBezTo>
                      <a:pt x="459" y="137"/>
                      <a:pt x="457" y="136"/>
                      <a:pt x="456" y="137"/>
                    </a:cubicBezTo>
                    <a:cubicBezTo>
                      <a:pt x="455" y="140"/>
                      <a:pt x="456" y="144"/>
                      <a:pt x="453" y="147"/>
                    </a:cubicBezTo>
                    <a:cubicBezTo>
                      <a:pt x="447" y="159"/>
                      <a:pt x="388" y="166"/>
                      <a:pt x="374" y="173"/>
                    </a:cubicBezTo>
                    <a:cubicBezTo>
                      <a:pt x="367" y="175"/>
                      <a:pt x="361" y="184"/>
                      <a:pt x="356" y="189"/>
                    </a:cubicBezTo>
                    <a:cubicBezTo>
                      <a:pt x="352" y="193"/>
                      <a:pt x="344" y="195"/>
                      <a:pt x="339" y="198"/>
                    </a:cubicBezTo>
                    <a:cubicBezTo>
                      <a:pt x="324" y="209"/>
                      <a:pt x="315" y="227"/>
                      <a:pt x="302" y="241"/>
                    </a:cubicBezTo>
                    <a:cubicBezTo>
                      <a:pt x="298" y="245"/>
                      <a:pt x="293" y="251"/>
                      <a:pt x="289" y="254"/>
                    </a:cubicBezTo>
                    <a:cubicBezTo>
                      <a:pt x="288" y="255"/>
                      <a:pt x="285" y="254"/>
                      <a:pt x="285" y="255"/>
                    </a:cubicBezTo>
                    <a:cubicBezTo>
                      <a:pt x="283" y="267"/>
                      <a:pt x="292" y="267"/>
                      <a:pt x="281" y="275"/>
                    </a:cubicBezTo>
                    <a:cubicBezTo>
                      <a:pt x="280" y="276"/>
                      <a:pt x="277" y="275"/>
                      <a:pt x="275" y="275"/>
                    </a:cubicBezTo>
                    <a:cubicBezTo>
                      <a:pt x="262" y="280"/>
                      <a:pt x="272" y="282"/>
                      <a:pt x="255" y="282"/>
                    </a:cubicBezTo>
                    <a:cubicBezTo>
                      <a:pt x="249" y="282"/>
                      <a:pt x="233" y="278"/>
                      <a:pt x="227" y="280"/>
                    </a:cubicBezTo>
                    <a:cubicBezTo>
                      <a:pt x="225" y="281"/>
                      <a:pt x="226" y="284"/>
                      <a:pt x="224" y="285"/>
                    </a:cubicBezTo>
                    <a:cubicBezTo>
                      <a:pt x="218" y="290"/>
                      <a:pt x="207" y="293"/>
                      <a:pt x="199" y="293"/>
                    </a:cubicBezTo>
                    <a:cubicBezTo>
                      <a:pt x="189" y="294"/>
                      <a:pt x="167" y="295"/>
                      <a:pt x="167" y="296"/>
                    </a:cubicBezTo>
                    <a:cubicBezTo>
                      <a:pt x="164" y="301"/>
                      <a:pt x="163" y="307"/>
                      <a:pt x="162" y="312"/>
                    </a:cubicBezTo>
                    <a:cubicBezTo>
                      <a:pt x="160" y="320"/>
                      <a:pt x="175" y="320"/>
                      <a:pt x="176" y="320"/>
                    </a:cubicBezTo>
                    <a:cubicBezTo>
                      <a:pt x="177" y="320"/>
                      <a:pt x="179" y="320"/>
                      <a:pt x="180" y="321"/>
                    </a:cubicBezTo>
                    <a:cubicBezTo>
                      <a:pt x="180" y="323"/>
                      <a:pt x="177" y="325"/>
                      <a:pt x="178" y="326"/>
                    </a:cubicBezTo>
                    <a:cubicBezTo>
                      <a:pt x="180" y="327"/>
                      <a:pt x="181" y="323"/>
                      <a:pt x="183" y="323"/>
                    </a:cubicBezTo>
                    <a:cubicBezTo>
                      <a:pt x="184" y="324"/>
                      <a:pt x="184" y="327"/>
                      <a:pt x="185" y="327"/>
                    </a:cubicBezTo>
                    <a:cubicBezTo>
                      <a:pt x="195" y="328"/>
                      <a:pt x="205" y="317"/>
                      <a:pt x="216" y="318"/>
                    </a:cubicBezTo>
                    <a:cubicBezTo>
                      <a:pt x="226" y="319"/>
                      <a:pt x="199" y="329"/>
                      <a:pt x="197" y="330"/>
                    </a:cubicBezTo>
                    <a:cubicBezTo>
                      <a:pt x="195" y="330"/>
                      <a:pt x="195" y="326"/>
                      <a:pt x="194" y="327"/>
                    </a:cubicBezTo>
                    <a:cubicBezTo>
                      <a:pt x="193" y="327"/>
                      <a:pt x="160" y="348"/>
                      <a:pt x="158" y="350"/>
                    </a:cubicBezTo>
                    <a:cubicBezTo>
                      <a:pt x="150" y="361"/>
                      <a:pt x="187" y="344"/>
                      <a:pt x="176" y="360"/>
                    </a:cubicBezTo>
                    <a:cubicBezTo>
                      <a:pt x="174" y="363"/>
                      <a:pt x="151" y="364"/>
                      <a:pt x="143" y="366"/>
                    </a:cubicBezTo>
                    <a:cubicBezTo>
                      <a:pt x="128" y="368"/>
                      <a:pt x="115" y="378"/>
                      <a:pt x="115" y="377"/>
                    </a:cubicBezTo>
                    <a:cubicBezTo>
                      <a:pt x="112" y="374"/>
                      <a:pt x="120" y="368"/>
                      <a:pt x="117" y="366"/>
                    </a:cubicBezTo>
                    <a:cubicBezTo>
                      <a:pt x="114" y="363"/>
                      <a:pt x="108" y="366"/>
                      <a:pt x="104" y="367"/>
                    </a:cubicBezTo>
                    <a:cubicBezTo>
                      <a:pt x="103" y="367"/>
                      <a:pt x="104" y="368"/>
                      <a:pt x="103" y="368"/>
                    </a:cubicBezTo>
                    <a:cubicBezTo>
                      <a:pt x="102" y="368"/>
                      <a:pt x="100" y="366"/>
                      <a:pt x="101" y="367"/>
                    </a:cubicBezTo>
                    <a:cubicBezTo>
                      <a:pt x="103" y="370"/>
                      <a:pt x="108" y="371"/>
                      <a:pt x="108" y="375"/>
                    </a:cubicBezTo>
                    <a:cubicBezTo>
                      <a:pt x="106" y="381"/>
                      <a:pt x="99" y="384"/>
                      <a:pt x="94" y="386"/>
                    </a:cubicBezTo>
                    <a:cubicBezTo>
                      <a:pt x="82" y="391"/>
                      <a:pt x="79" y="378"/>
                      <a:pt x="76" y="378"/>
                    </a:cubicBezTo>
                    <a:cubicBezTo>
                      <a:pt x="69" y="376"/>
                      <a:pt x="65" y="387"/>
                      <a:pt x="60" y="388"/>
                    </a:cubicBezTo>
                    <a:cubicBezTo>
                      <a:pt x="57" y="388"/>
                      <a:pt x="48" y="388"/>
                      <a:pt x="45" y="392"/>
                    </a:cubicBezTo>
                    <a:cubicBezTo>
                      <a:pt x="42" y="396"/>
                      <a:pt x="41" y="402"/>
                      <a:pt x="38" y="406"/>
                    </a:cubicBezTo>
                    <a:cubicBezTo>
                      <a:pt x="36" y="407"/>
                      <a:pt x="33" y="406"/>
                      <a:pt x="32" y="408"/>
                    </a:cubicBezTo>
                    <a:cubicBezTo>
                      <a:pt x="31" y="410"/>
                      <a:pt x="33" y="413"/>
                      <a:pt x="33" y="414"/>
                    </a:cubicBezTo>
                    <a:cubicBezTo>
                      <a:pt x="32" y="417"/>
                      <a:pt x="32" y="421"/>
                      <a:pt x="30" y="423"/>
                    </a:cubicBezTo>
                    <a:cubicBezTo>
                      <a:pt x="27" y="426"/>
                      <a:pt x="21" y="423"/>
                      <a:pt x="21" y="430"/>
                    </a:cubicBezTo>
                    <a:cubicBezTo>
                      <a:pt x="21" y="439"/>
                      <a:pt x="26" y="443"/>
                      <a:pt x="26" y="450"/>
                    </a:cubicBezTo>
                    <a:cubicBezTo>
                      <a:pt x="26" y="452"/>
                      <a:pt x="19" y="465"/>
                      <a:pt x="27" y="466"/>
                    </a:cubicBezTo>
                    <a:cubicBezTo>
                      <a:pt x="29" y="466"/>
                      <a:pt x="64" y="449"/>
                      <a:pt x="68" y="448"/>
                    </a:cubicBezTo>
                    <a:cubicBezTo>
                      <a:pt x="69" y="448"/>
                      <a:pt x="71" y="447"/>
                      <a:pt x="70" y="448"/>
                    </a:cubicBezTo>
                    <a:cubicBezTo>
                      <a:pt x="69" y="454"/>
                      <a:pt x="64" y="466"/>
                      <a:pt x="60" y="471"/>
                    </a:cubicBezTo>
                    <a:cubicBezTo>
                      <a:pt x="59" y="473"/>
                      <a:pt x="54" y="471"/>
                      <a:pt x="57" y="473"/>
                    </a:cubicBezTo>
                    <a:cubicBezTo>
                      <a:pt x="61" y="476"/>
                      <a:pt x="74" y="476"/>
                      <a:pt x="76" y="484"/>
                    </a:cubicBezTo>
                    <a:cubicBezTo>
                      <a:pt x="76" y="487"/>
                      <a:pt x="70" y="491"/>
                      <a:pt x="72" y="494"/>
                    </a:cubicBezTo>
                    <a:cubicBezTo>
                      <a:pt x="74" y="495"/>
                      <a:pt x="91" y="489"/>
                      <a:pt x="89" y="496"/>
                    </a:cubicBezTo>
                    <a:cubicBezTo>
                      <a:pt x="86" y="505"/>
                      <a:pt x="69" y="512"/>
                      <a:pt x="72" y="517"/>
                    </a:cubicBezTo>
                    <a:cubicBezTo>
                      <a:pt x="76" y="522"/>
                      <a:pt x="85" y="530"/>
                      <a:pt x="86" y="529"/>
                    </a:cubicBezTo>
                    <a:cubicBezTo>
                      <a:pt x="89" y="527"/>
                      <a:pt x="91" y="526"/>
                      <a:pt x="94" y="525"/>
                    </a:cubicBezTo>
                    <a:cubicBezTo>
                      <a:pt x="96" y="525"/>
                      <a:pt x="101" y="523"/>
                      <a:pt x="101" y="525"/>
                    </a:cubicBezTo>
                    <a:cubicBezTo>
                      <a:pt x="100" y="526"/>
                      <a:pt x="83" y="537"/>
                      <a:pt x="81" y="537"/>
                    </a:cubicBezTo>
                    <a:cubicBezTo>
                      <a:pt x="78" y="538"/>
                      <a:pt x="77" y="531"/>
                      <a:pt x="74" y="533"/>
                    </a:cubicBezTo>
                    <a:cubicBezTo>
                      <a:pt x="72" y="535"/>
                      <a:pt x="78" y="543"/>
                      <a:pt x="76" y="542"/>
                    </a:cubicBezTo>
                    <a:cubicBezTo>
                      <a:pt x="74" y="542"/>
                      <a:pt x="65" y="521"/>
                      <a:pt x="61" y="519"/>
                    </a:cubicBezTo>
                    <a:cubicBezTo>
                      <a:pt x="60" y="518"/>
                      <a:pt x="56" y="517"/>
                      <a:pt x="55" y="520"/>
                    </a:cubicBezTo>
                    <a:cubicBezTo>
                      <a:pt x="53" y="523"/>
                      <a:pt x="56" y="527"/>
                      <a:pt x="56" y="531"/>
                    </a:cubicBezTo>
                    <a:cubicBezTo>
                      <a:pt x="56" y="533"/>
                      <a:pt x="55" y="535"/>
                      <a:pt x="56" y="535"/>
                    </a:cubicBezTo>
                    <a:cubicBezTo>
                      <a:pt x="59" y="537"/>
                      <a:pt x="65" y="534"/>
                      <a:pt x="64" y="536"/>
                    </a:cubicBezTo>
                    <a:cubicBezTo>
                      <a:pt x="63" y="540"/>
                      <a:pt x="58" y="543"/>
                      <a:pt x="54" y="545"/>
                    </a:cubicBezTo>
                    <a:cubicBezTo>
                      <a:pt x="53" y="545"/>
                      <a:pt x="52" y="542"/>
                      <a:pt x="51" y="543"/>
                    </a:cubicBezTo>
                    <a:cubicBezTo>
                      <a:pt x="51" y="544"/>
                      <a:pt x="53" y="545"/>
                      <a:pt x="53" y="546"/>
                    </a:cubicBezTo>
                    <a:cubicBezTo>
                      <a:pt x="53" y="548"/>
                      <a:pt x="48" y="550"/>
                      <a:pt x="50" y="551"/>
                    </a:cubicBezTo>
                    <a:cubicBezTo>
                      <a:pt x="53" y="553"/>
                      <a:pt x="58" y="551"/>
                      <a:pt x="62" y="552"/>
                    </a:cubicBezTo>
                    <a:cubicBezTo>
                      <a:pt x="63" y="552"/>
                      <a:pt x="72" y="559"/>
                      <a:pt x="73" y="558"/>
                    </a:cubicBezTo>
                    <a:cubicBezTo>
                      <a:pt x="77" y="555"/>
                      <a:pt x="77" y="550"/>
                      <a:pt x="81" y="547"/>
                    </a:cubicBezTo>
                    <a:cubicBezTo>
                      <a:pt x="86" y="545"/>
                      <a:pt x="85" y="557"/>
                      <a:pt x="90" y="559"/>
                    </a:cubicBezTo>
                    <a:cubicBezTo>
                      <a:pt x="92" y="560"/>
                      <a:pt x="94" y="555"/>
                      <a:pt x="96" y="555"/>
                    </a:cubicBezTo>
                    <a:cubicBezTo>
                      <a:pt x="99" y="555"/>
                      <a:pt x="114" y="560"/>
                      <a:pt x="114" y="560"/>
                    </a:cubicBezTo>
                    <a:cubicBezTo>
                      <a:pt x="115" y="561"/>
                      <a:pt x="118" y="574"/>
                      <a:pt x="116" y="577"/>
                    </a:cubicBezTo>
                    <a:cubicBezTo>
                      <a:pt x="112" y="581"/>
                      <a:pt x="99" y="583"/>
                      <a:pt x="103" y="585"/>
                    </a:cubicBezTo>
                    <a:cubicBezTo>
                      <a:pt x="108" y="586"/>
                      <a:pt x="113" y="585"/>
                      <a:pt x="117" y="587"/>
                    </a:cubicBezTo>
                    <a:cubicBezTo>
                      <a:pt x="121" y="590"/>
                      <a:pt x="113" y="603"/>
                      <a:pt x="119" y="604"/>
                    </a:cubicBezTo>
                    <a:cubicBezTo>
                      <a:pt x="124" y="604"/>
                      <a:pt x="126" y="596"/>
                      <a:pt x="131" y="596"/>
                    </a:cubicBezTo>
                    <a:cubicBezTo>
                      <a:pt x="135" y="596"/>
                      <a:pt x="137" y="603"/>
                      <a:pt x="141" y="605"/>
                    </a:cubicBezTo>
                    <a:cubicBezTo>
                      <a:pt x="142" y="606"/>
                      <a:pt x="145" y="603"/>
                      <a:pt x="145" y="604"/>
                    </a:cubicBezTo>
                    <a:cubicBezTo>
                      <a:pt x="153" y="632"/>
                      <a:pt x="104" y="603"/>
                      <a:pt x="126" y="626"/>
                    </a:cubicBezTo>
                    <a:cubicBezTo>
                      <a:pt x="129" y="629"/>
                      <a:pt x="133" y="624"/>
                      <a:pt x="137" y="624"/>
                    </a:cubicBezTo>
                    <a:cubicBezTo>
                      <a:pt x="142" y="624"/>
                      <a:pt x="140" y="630"/>
                      <a:pt x="146" y="626"/>
                    </a:cubicBezTo>
                    <a:cubicBezTo>
                      <a:pt x="147" y="626"/>
                      <a:pt x="145" y="624"/>
                      <a:pt x="146" y="624"/>
                    </a:cubicBezTo>
                    <a:cubicBezTo>
                      <a:pt x="150" y="622"/>
                      <a:pt x="154" y="624"/>
                      <a:pt x="158" y="623"/>
                    </a:cubicBezTo>
                    <a:cubicBezTo>
                      <a:pt x="163" y="620"/>
                      <a:pt x="173" y="615"/>
                      <a:pt x="176" y="614"/>
                    </a:cubicBezTo>
                    <a:cubicBezTo>
                      <a:pt x="181" y="612"/>
                      <a:pt x="187" y="607"/>
                      <a:pt x="190" y="611"/>
                    </a:cubicBezTo>
                    <a:cubicBezTo>
                      <a:pt x="201" y="624"/>
                      <a:pt x="173" y="619"/>
                      <a:pt x="173" y="624"/>
                    </a:cubicBezTo>
                    <a:cubicBezTo>
                      <a:pt x="173" y="627"/>
                      <a:pt x="179" y="630"/>
                      <a:pt x="177" y="633"/>
                    </a:cubicBezTo>
                    <a:cubicBezTo>
                      <a:pt x="173" y="636"/>
                      <a:pt x="168" y="633"/>
                      <a:pt x="163" y="634"/>
                    </a:cubicBezTo>
                    <a:cubicBezTo>
                      <a:pt x="154" y="636"/>
                      <a:pt x="146" y="643"/>
                      <a:pt x="139" y="649"/>
                    </a:cubicBezTo>
                    <a:cubicBezTo>
                      <a:pt x="136" y="651"/>
                      <a:pt x="146" y="647"/>
                      <a:pt x="150" y="647"/>
                    </a:cubicBezTo>
                    <a:cubicBezTo>
                      <a:pt x="152" y="647"/>
                      <a:pt x="155" y="649"/>
                      <a:pt x="157" y="648"/>
                    </a:cubicBezTo>
                    <a:cubicBezTo>
                      <a:pt x="159" y="646"/>
                      <a:pt x="156" y="642"/>
                      <a:pt x="159" y="640"/>
                    </a:cubicBezTo>
                    <a:cubicBezTo>
                      <a:pt x="162" y="638"/>
                      <a:pt x="167" y="639"/>
                      <a:pt x="171" y="638"/>
                    </a:cubicBezTo>
                    <a:cubicBezTo>
                      <a:pt x="182" y="635"/>
                      <a:pt x="181" y="629"/>
                      <a:pt x="181" y="630"/>
                    </a:cubicBezTo>
                    <a:cubicBezTo>
                      <a:pt x="189" y="647"/>
                      <a:pt x="181" y="642"/>
                      <a:pt x="176" y="647"/>
                    </a:cubicBezTo>
                    <a:cubicBezTo>
                      <a:pt x="175" y="648"/>
                      <a:pt x="179" y="650"/>
                      <a:pt x="180" y="649"/>
                    </a:cubicBezTo>
                    <a:cubicBezTo>
                      <a:pt x="181" y="647"/>
                      <a:pt x="198" y="628"/>
                      <a:pt x="198" y="628"/>
                    </a:cubicBezTo>
                    <a:cubicBezTo>
                      <a:pt x="199" y="625"/>
                      <a:pt x="198" y="620"/>
                      <a:pt x="200" y="619"/>
                    </a:cubicBezTo>
                    <a:cubicBezTo>
                      <a:pt x="215" y="612"/>
                      <a:pt x="208" y="627"/>
                      <a:pt x="212" y="630"/>
                    </a:cubicBezTo>
                    <a:cubicBezTo>
                      <a:pt x="215" y="633"/>
                      <a:pt x="221" y="632"/>
                      <a:pt x="225" y="633"/>
                    </a:cubicBezTo>
                    <a:cubicBezTo>
                      <a:pt x="226" y="633"/>
                      <a:pt x="226" y="636"/>
                      <a:pt x="227" y="636"/>
                    </a:cubicBezTo>
                    <a:cubicBezTo>
                      <a:pt x="232" y="630"/>
                      <a:pt x="221" y="623"/>
                      <a:pt x="229" y="622"/>
                    </a:cubicBezTo>
                    <a:cubicBezTo>
                      <a:pt x="245" y="619"/>
                      <a:pt x="244" y="645"/>
                      <a:pt x="245" y="646"/>
                    </a:cubicBezTo>
                    <a:cubicBezTo>
                      <a:pt x="257" y="654"/>
                      <a:pt x="266" y="650"/>
                      <a:pt x="279" y="651"/>
                    </a:cubicBezTo>
                    <a:cubicBezTo>
                      <a:pt x="280" y="651"/>
                      <a:pt x="281" y="656"/>
                      <a:pt x="284" y="655"/>
                    </a:cubicBezTo>
                    <a:cubicBezTo>
                      <a:pt x="289" y="655"/>
                      <a:pt x="307" y="637"/>
                      <a:pt x="309" y="636"/>
                    </a:cubicBezTo>
                    <a:cubicBezTo>
                      <a:pt x="311" y="633"/>
                      <a:pt x="320" y="632"/>
                      <a:pt x="323" y="633"/>
                    </a:cubicBezTo>
                    <a:cubicBezTo>
                      <a:pt x="324" y="634"/>
                      <a:pt x="323" y="639"/>
                      <a:pt x="324" y="638"/>
                    </a:cubicBezTo>
                    <a:cubicBezTo>
                      <a:pt x="327" y="635"/>
                      <a:pt x="329" y="630"/>
                      <a:pt x="329" y="626"/>
                    </a:cubicBezTo>
                    <a:cubicBezTo>
                      <a:pt x="329" y="624"/>
                      <a:pt x="325" y="624"/>
                      <a:pt x="325" y="623"/>
                    </a:cubicBezTo>
                    <a:cubicBezTo>
                      <a:pt x="324" y="619"/>
                      <a:pt x="327" y="616"/>
                      <a:pt x="328" y="612"/>
                    </a:cubicBezTo>
                    <a:cubicBezTo>
                      <a:pt x="331" y="606"/>
                      <a:pt x="319" y="596"/>
                      <a:pt x="326" y="588"/>
                    </a:cubicBezTo>
                    <a:cubicBezTo>
                      <a:pt x="328" y="585"/>
                      <a:pt x="355" y="580"/>
                      <a:pt x="360" y="580"/>
                    </a:cubicBezTo>
                    <a:cubicBezTo>
                      <a:pt x="361" y="580"/>
                      <a:pt x="410" y="585"/>
                      <a:pt x="412" y="585"/>
                    </a:cubicBezTo>
                    <a:cubicBezTo>
                      <a:pt x="434" y="591"/>
                      <a:pt x="430" y="608"/>
                      <a:pt x="459" y="610"/>
                    </a:cubicBezTo>
                    <a:cubicBezTo>
                      <a:pt x="474" y="611"/>
                      <a:pt x="461" y="607"/>
                      <a:pt x="473" y="600"/>
                    </a:cubicBezTo>
                    <a:cubicBezTo>
                      <a:pt x="476" y="599"/>
                      <a:pt x="480" y="602"/>
                      <a:pt x="483" y="600"/>
                    </a:cubicBezTo>
                    <a:cubicBezTo>
                      <a:pt x="485" y="599"/>
                      <a:pt x="483" y="595"/>
                      <a:pt x="484" y="594"/>
                    </a:cubicBezTo>
                    <a:cubicBezTo>
                      <a:pt x="488" y="591"/>
                      <a:pt x="506" y="589"/>
                      <a:pt x="508" y="588"/>
                    </a:cubicBezTo>
                    <a:cubicBezTo>
                      <a:pt x="510" y="586"/>
                      <a:pt x="511" y="582"/>
                      <a:pt x="513" y="581"/>
                    </a:cubicBezTo>
                    <a:cubicBezTo>
                      <a:pt x="515" y="580"/>
                      <a:pt x="515" y="584"/>
                      <a:pt x="516" y="583"/>
                    </a:cubicBezTo>
                    <a:cubicBezTo>
                      <a:pt x="517" y="583"/>
                      <a:pt x="523" y="566"/>
                      <a:pt x="524" y="567"/>
                    </a:cubicBezTo>
                    <a:cubicBezTo>
                      <a:pt x="526" y="567"/>
                      <a:pt x="528" y="573"/>
                      <a:pt x="530" y="572"/>
                    </a:cubicBezTo>
                    <a:cubicBezTo>
                      <a:pt x="542" y="569"/>
                      <a:pt x="533" y="562"/>
                      <a:pt x="533" y="557"/>
                    </a:cubicBezTo>
                    <a:cubicBezTo>
                      <a:pt x="535" y="546"/>
                      <a:pt x="547" y="530"/>
                      <a:pt x="553" y="522"/>
                    </a:cubicBezTo>
                    <a:cubicBezTo>
                      <a:pt x="564" y="507"/>
                      <a:pt x="598" y="526"/>
                      <a:pt x="602" y="523"/>
                    </a:cubicBezTo>
                    <a:cubicBezTo>
                      <a:pt x="605" y="520"/>
                      <a:pt x="606" y="516"/>
                      <a:pt x="610" y="513"/>
                    </a:cubicBezTo>
                    <a:cubicBezTo>
                      <a:pt x="611" y="512"/>
                      <a:pt x="627" y="516"/>
                      <a:pt x="619" y="503"/>
                    </a:cubicBezTo>
                    <a:cubicBezTo>
                      <a:pt x="618" y="501"/>
                      <a:pt x="614" y="511"/>
                      <a:pt x="614" y="509"/>
                    </a:cubicBezTo>
                    <a:cubicBezTo>
                      <a:pt x="615" y="506"/>
                      <a:pt x="621" y="504"/>
                      <a:pt x="619" y="502"/>
                    </a:cubicBezTo>
                    <a:cubicBezTo>
                      <a:pt x="618" y="500"/>
                      <a:pt x="615" y="505"/>
                      <a:pt x="612" y="505"/>
                    </a:cubicBezTo>
                    <a:cubicBezTo>
                      <a:pt x="610" y="504"/>
                      <a:pt x="614" y="502"/>
                      <a:pt x="615" y="501"/>
                    </a:cubicBezTo>
                    <a:cubicBezTo>
                      <a:pt x="618" y="499"/>
                      <a:pt x="622" y="497"/>
                      <a:pt x="624" y="495"/>
                    </a:cubicBezTo>
                    <a:cubicBezTo>
                      <a:pt x="627" y="491"/>
                      <a:pt x="626" y="482"/>
                      <a:pt x="632" y="480"/>
                    </a:cubicBezTo>
                    <a:cubicBezTo>
                      <a:pt x="640" y="478"/>
                      <a:pt x="648" y="490"/>
                      <a:pt x="649" y="496"/>
                    </a:cubicBezTo>
                    <a:cubicBezTo>
                      <a:pt x="650" y="499"/>
                      <a:pt x="631" y="525"/>
                      <a:pt x="632" y="529"/>
                    </a:cubicBezTo>
                    <a:cubicBezTo>
                      <a:pt x="636" y="536"/>
                      <a:pt x="649" y="538"/>
                      <a:pt x="650" y="547"/>
                    </a:cubicBezTo>
                    <a:cubicBezTo>
                      <a:pt x="651" y="548"/>
                      <a:pt x="650" y="551"/>
                      <a:pt x="648" y="553"/>
                    </a:cubicBezTo>
                    <a:cubicBezTo>
                      <a:pt x="652" y="551"/>
                      <a:pt x="663" y="559"/>
                      <a:pt x="665" y="556"/>
                    </a:cubicBezTo>
                    <a:cubicBezTo>
                      <a:pt x="668" y="553"/>
                      <a:pt x="663" y="548"/>
                      <a:pt x="665" y="544"/>
                    </a:cubicBezTo>
                    <a:cubicBezTo>
                      <a:pt x="666" y="541"/>
                      <a:pt x="671" y="540"/>
                      <a:pt x="672" y="538"/>
                    </a:cubicBezTo>
                    <a:cubicBezTo>
                      <a:pt x="668" y="523"/>
                      <a:pt x="668" y="523"/>
                      <a:pt x="668" y="523"/>
                    </a:cubicBezTo>
                    <a:cubicBezTo>
                      <a:pt x="668" y="522"/>
                      <a:pt x="685" y="516"/>
                      <a:pt x="686" y="515"/>
                    </a:cubicBezTo>
                    <a:cubicBezTo>
                      <a:pt x="687" y="513"/>
                      <a:pt x="677" y="507"/>
                      <a:pt x="676" y="506"/>
                    </a:cubicBezTo>
                    <a:cubicBezTo>
                      <a:pt x="671" y="500"/>
                      <a:pt x="667" y="480"/>
                      <a:pt x="670" y="474"/>
                    </a:cubicBezTo>
                    <a:cubicBezTo>
                      <a:pt x="671" y="472"/>
                      <a:pt x="692" y="471"/>
                      <a:pt x="695" y="474"/>
                    </a:cubicBezTo>
                    <a:cubicBezTo>
                      <a:pt x="695" y="474"/>
                      <a:pt x="692" y="484"/>
                      <a:pt x="698" y="480"/>
                    </a:cubicBezTo>
                    <a:cubicBezTo>
                      <a:pt x="700" y="479"/>
                      <a:pt x="699" y="476"/>
                      <a:pt x="700" y="475"/>
                    </a:cubicBezTo>
                    <a:cubicBezTo>
                      <a:pt x="706" y="472"/>
                      <a:pt x="713" y="474"/>
                      <a:pt x="719" y="470"/>
                    </a:cubicBezTo>
                    <a:cubicBezTo>
                      <a:pt x="735" y="462"/>
                      <a:pt x="744" y="432"/>
                      <a:pt x="765" y="431"/>
                    </a:cubicBezTo>
                    <a:cubicBezTo>
                      <a:pt x="773" y="430"/>
                      <a:pt x="781" y="437"/>
                      <a:pt x="789" y="437"/>
                    </a:cubicBezTo>
                    <a:cubicBezTo>
                      <a:pt x="805" y="437"/>
                      <a:pt x="824" y="423"/>
                      <a:pt x="838" y="414"/>
                    </a:cubicBezTo>
                    <a:cubicBezTo>
                      <a:pt x="860" y="400"/>
                      <a:pt x="870" y="374"/>
                      <a:pt x="891" y="359"/>
                    </a:cubicBezTo>
                    <a:cubicBezTo>
                      <a:pt x="904" y="350"/>
                      <a:pt x="923" y="348"/>
                      <a:pt x="936" y="339"/>
                    </a:cubicBezTo>
                    <a:cubicBezTo>
                      <a:pt x="942" y="335"/>
                      <a:pt x="954" y="328"/>
                      <a:pt x="958" y="321"/>
                    </a:cubicBezTo>
                    <a:cubicBezTo>
                      <a:pt x="960" y="317"/>
                      <a:pt x="962" y="302"/>
                      <a:pt x="972" y="312"/>
                    </a:cubicBezTo>
                    <a:cubicBezTo>
                      <a:pt x="975" y="314"/>
                      <a:pt x="976" y="316"/>
                      <a:pt x="977" y="319"/>
                    </a:cubicBezTo>
                    <a:close/>
                    <a:moveTo>
                      <a:pt x="92" y="258"/>
                    </a:moveTo>
                    <a:cubicBezTo>
                      <a:pt x="91" y="258"/>
                      <a:pt x="91" y="258"/>
                      <a:pt x="91" y="258"/>
                    </a:cubicBezTo>
                    <a:cubicBezTo>
                      <a:pt x="88" y="259"/>
                      <a:pt x="85" y="258"/>
                      <a:pt x="81" y="259"/>
                    </a:cubicBezTo>
                    <a:cubicBezTo>
                      <a:pt x="77" y="261"/>
                      <a:pt x="73" y="265"/>
                      <a:pt x="69" y="268"/>
                    </a:cubicBezTo>
                    <a:cubicBezTo>
                      <a:pt x="68" y="268"/>
                      <a:pt x="69" y="271"/>
                      <a:pt x="69" y="270"/>
                    </a:cubicBezTo>
                    <a:cubicBezTo>
                      <a:pt x="56" y="267"/>
                      <a:pt x="52" y="257"/>
                      <a:pt x="39" y="264"/>
                    </a:cubicBezTo>
                    <a:cubicBezTo>
                      <a:pt x="29" y="275"/>
                      <a:pt x="29" y="275"/>
                      <a:pt x="29" y="275"/>
                    </a:cubicBezTo>
                    <a:cubicBezTo>
                      <a:pt x="25" y="276"/>
                      <a:pt x="20" y="273"/>
                      <a:pt x="17" y="276"/>
                    </a:cubicBezTo>
                    <a:cubicBezTo>
                      <a:pt x="14" y="279"/>
                      <a:pt x="17" y="285"/>
                      <a:pt x="15" y="288"/>
                    </a:cubicBezTo>
                    <a:cubicBezTo>
                      <a:pt x="12" y="292"/>
                      <a:pt x="0" y="290"/>
                      <a:pt x="5" y="299"/>
                    </a:cubicBezTo>
                    <a:cubicBezTo>
                      <a:pt x="18" y="302"/>
                      <a:pt x="35" y="314"/>
                      <a:pt x="26" y="324"/>
                    </a:cubicBezTo>
                    <a:cubicBezTo>
                      <a:pt x="20" y="331"/>
                      <a:pt x="14" y="327"/>
                      <a:pt x="12" y="338"/>
                    </a:cubicBezTo>
                    <a:cubicBezTo>
                      <a:pt x="16" y="355"/>
                      <a:pt x="16" y="355"/>
                      <a:pt x="16" y="355"/>
                    </a:cubicBezTo>
                    <a:cubicBezTo>
                      <a:pt x="16" y="359"/>
                      <a:pt x="8" y="372"/>
                      <a:pt x="4" y="374"/>
                    </a:cubicBezTo>
                    <a:cubicBezTo>
                      <a:pt x="3" y="380"/>
                      <a:pt x="3" y="380"/>
                      <a:pt x="3" y="380"/>
                    </a:cubicBezTo>
                    <a:cubicBezTo>
                      <a:pt x="4" y="381"/>
                      <a:pt x="6" y="382"/>
                      <a:pt x="9" y="383"/>
                    </a:cubicBezTo>
                    <a:cubicBezTo>
                      <a:pt x="18" y="386"/>
                      <a:pt x="51" y="363"/>
                      <a:pt x="49" y="374"/>
                    </a:cubicBezTo>
                    <a:cubicBezTo>
                      <a:pt x="48" y="382"/>
                      <a:pt x="20" y="393"/>
                      <a:pt x="19" y="402"/>
                    </a:cubicBezTo>
                    <a:cubicBezTo>
                      <a:pt x="19" y="404"/>
                      <a:pt x="22" y="405"/>
                      <a:pt x="23" y="406"/>
                    </a:cubicBezTo>
                    <a:cubicBezTo>
                      <a:pt x="23" y="408"/>
                      <a:pt x="23" y="410"/>
                      <a:pt x="23" y="411"/>
                    </a:cubicBezTo>
                    <a:cubicBezTo>
                      <a:pt x="22" y="415"/>
                      <a:pt x="18" y="424"/>
                      <a:pt x="21" y="422"/>
                    </a:cubicBezTo>
                    <a:cubicBezTo>
                      <a:pt x="32" y="413"/>
                      <a:pt x="34" y="398"/>
                      <a:pt x="43" y="387"/>
                    </a:cubicBezTo>
                    <a:cubicBezTo>
                      <a:pt x="51" y="375"/>
                      <a:pt x="66" y="373"/>
                      <a:pt x="73" y="361"/>
                    </a:cubicBezTo>
                    <a:cubicBezTo>
                      <a:pt x="76" y="357"/>
                      <a:pt x="78" y="352"/>
                      <a:pt x="79" y="348"/>
                    </a:cubicBezTo>
                    <a:cubicBezTo>
                      <a:pt x="80" y="344"/>
                      <a:pt x="78" y="340"/>
                      <a:pt x="80" y="337"/>
                    </a:cubicBezTo>
                    <a:cubicBezTo>
                      <a:pt x="90" y="325"/>
                      <a:pt x="94" y="336"/>
                      <a:pt x="105" y="332"/>
                    </a:cubicBezTo>
                    <a:cubicBezTo>
                      <a:pt x="107" y="332"/>
                      <a:pt x="106" y="328"/>
                      <a:pt x="107" y="327"/>
                    </a:cubicBezTo>
                    <a:cubicBezTo>
                      <a:pt x="111" y="324"/>
                      <a:pt x="114" y="321"/>
                      <a:pt x="119" y="320"/>
                    </a:cubicBezTo>
                    <a:cubicBezTo>
                      <a:pt x="132" y="316"/>
                      <a:pt x="138" y="330"/>
                      <a:pt x="135" y="316"/>
                    </a:cubicBezTo>
                    <a:cubicBezTo>
                      <a:pt x="134" y="313"/>
                      <a:pt x="137" y="324"/>
                      <a:pt x="140" y="323"/>
                    </a:cubicBezTo>
                    <a:cubicBezTo>
                      <a:pt x="145" y="323"/>
                      <a:pt x="159" y="320"/>
                      <a:pt x="160" y="315"/>
                    </a:cubicBezTo>
                    <a:cubicBezTo>
                      <a:pt x="162" y="312"/>
                      <a:pt x="160" y="308"/>
                      <a:pt x="161" y="304"/>
                    </a:cubicBezTo>
                    <a:cubicBezTo>
                      <a:pt x="161" y="302"/>
                      <a:pt x="165" y="298"/>
                      <a:pt x="163" y="297"/>
                    </a:cubicBezTo>
                    <a:cubicBezTo>
                      <a:pt x="151" y="293"/>
                      <a:pt x="124" y="297"/>
                      <a:pt x="109" y="288"/>
                    </a:cubicBezTo>
                    <a:cubicBezTo>
                      <a:pt x="87" y="275"/>
                      <a:pt x="96" y="267"/>
                      <a:pt x="92" y="258"/>
                    </a:cubicBez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6" name="Armenia" descr="{&quot;Key&quot;:&quot;armenia&quot;,&quot;Name&quot;:&quot;Armenia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D0CB2FFE-E2DE-CCEA-FE77-CD98D517A4A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592468" y="8306703"/>
                <a:ext cx="377648" cy="235745"/>
              </a:xfrm>
              <a:custGeom>
                <a:avLst/>
                <a:gdLst>
                  <a:gd name="T0" fmla="*/ 116 w 226"/>
                  <a:gd name="T1" fmla="*/ 30 h 131"/>
                  <a:gd name="T2" fmla="*/ 80 w 226"/>
                  <a:gd name="T3" fmla="*/ 104 h 131"/>
                  <a:gd name="T4" fmla="*/ 81 w 226"/>
                  <a:gd name="T5" fmla="*/ 104 h 131"/>
                  <a:gd name="T6" fmla="*/ 82 w 226"/>
                  <a:gd name="T7" fmla="*/ 104 h 131"/>
                  <a:gd name="T8" fmla="*/ 86 w 226"/>
                  <a:gd name="T9" fmla="*/ 104 h 131"/>
                  <a:gd name="T10" fmla="*/ 88 w 226"/>
                  <a:gd name="T11" fmla="*/ 105 h 131"/>
                  <a:gd name="T12" fmla="*/ 89 w 226"/>
                  <a:gd name="T13" fmla="*/ 105 h 131"/>
                  <a:gd name="T14" fmla="*/ 90 w 226"/>
                  <a:gd name="T15" fmla="*/ 105 h 131"/>
                  <a:gd name="T16" fmla="*/ 91 w 226"/>
                  <a:gd name="T17" fmla="*/ 105 h 131"/>
                  <a:gd name="T18" fmla="*/ 92 w 226"/>
                  <a:gd name="T19" fmla="*/ 106 h 131"/>
                  <a:gd name="T20" fmla="*/ 93 w 226"/>
                  <a:gd name="T21" fmla="*/ 107 h 131"/>
                  <a:gd name="T22" fmla="*/ 94 w 226"/>
                  <a:gd name="T23" fmla="*/ 107 h 131"/>
                  <a:gd name="T24" fmla="*/ 95 w 226"/>
                  <a:gd name="T25" fmla="*/ 107 h 131"/>
                  <a:gd name="T26" fmla="*/ 96 w 226"/>
                  <a:gd name="T27" fmla="*/ 108 h 131"/>
                  <a:gd name="T28" fmla="*/ 97 w 226"/>
                  <a:gd name="T29" fmla="*/ 108 h 131"/>
                  <a:gd name="T30" fmla="*/ 98 w 226"/>
                  <a:gd name="T31" fmla="*/ 108 h 131"/>
                  <a:gd name="T32" fmla="*/ 99 w 226"/>
                  <a:gd name="T33" fmla="*/ 109 h 131"/>
                  <a:gd name="T34" fmla="*/ 106 w 226"/>
                  <a:gd name="T35" fmla="*/ 112 h 131"/>
                  <a:gd name="T36" fmla="*/ 107 w 226"/>
                  <a:gd name="T37" fmla="*/ 112 h 131"/>
                  <a:gd name="T38" fmla="*/ 120 w 226"/>
                  <a:gd name="T39" fmla="*/ 101 h 131"/>
                  <a:gd name="T40" fmla="*/ 137 w 226"/>
                  <a:gd name="T41" fmla="*/ 106 h 131"/>
                  <a:gd name="T42" fmla="*/ 161 w 226"/>
                  <a:gd name="T43" fmla="*/ 96 h 131"/>
                  <a:gd name="T44" fmla="*/ 184 w 226"/>
                  <a:gd name="T45" fmla="*/ 109 h 131"/>
                  <a:gd name="T46" fmla="*/ 186 w 226"/>
                  <a:gd name="T47" fmla="*/ 116 h 131"/>
                  <a:gd name="T48" fmla="*/ 214 w 226"/>
                  <a:gd name="T49" fmla="*/ 124 h 131"/>
                  <a:gd name="T50" fmla="*/ 226 w 226"/>
                  <a:gd name="T51" fmla="*/ 116 h 131"/>
                  <a:gd name="T52" fmla="*/ 224 w 226"/>
                  <a:gd name="T53" fmla="*/ 120 h 131"/>
                  <a:gd name="T54" fmla="*/ 208 w 226"/>
                  <a:gd name="T55" fmla="*/ 103 h 131"/>
                  <a:gd name="T56" fmla="*/ 218 w 226"/>
                  <a:gd name="T57" fmla="*/ 96 h 131"/>
                  <a:gd name="T58" fmla="*/ 204 w 226"/>
                  <a:gd name="T59" fmla="*/ 75 h 131"/>
                  <a:gd name="T60" fmla="*/ 153 w 226"/>
                  <a:gd name="T61" fmla="*/ 70 h 131"/>
                  <a:gd name="T62" fmla="*/ 142 w 226"/>
                  <a:gd name="T63" fmla="*/ 69 h 131"/>
                  <a:gd name="T64" fmla="*/ 154 w 226"/>
                  <a:gd name="T65" fmla="*/ 45 h 131"/>
                  <a:gd name="T66" fmla="*/ 115 w 226"/>
                  <a:gd name="T67" fmla="*/ 13 h 131"/>
                  <a:gd name="T68" fmla="*/ 102 w 226"/>
                  <a:gd name="T69" fmla="*/ 6 h 131"/>
                  <a:gd name="T70" fmla="*/ 81 w 226"/>
                  <a:gd name="T71" fmla="*/ 2 h 131"/>
                  <a:gd name="T72" fmla="*/ 72 w 226"/>
                  <a:gd name="T73" fmla="*/ 0 h 131"/>
                  <a:gd name="T74" fmla="*/ 63 w 226"/>
                  <a:gd name="T75" fmla="*/ 6 h 131"/>
                  <a:gd name="T76" fmla="*/ 33 w 226"/>
                  <a:gd name="T77" fmla="*/ 25 h 131"/>
                  <a:gd name="T78" fmla="*/ 0 w 226"/>
                  <a:gd name="T79" fmla="*/ 52 h 131"/>
                  <a:gd name="T80" fmla="*/ 2 w 226"/>
                  <a:gd name="T81" fmla="*/ 56 h 131"/>
                  <a:gd name="T82" fmla="*/ 30 w 226"/>
                  <a:gd name="T83" fmla="*/ 101 h 131"/>
                  <a:gd name="T84" fmla="*/ 39 w 226"/>
                  <a:gd name="T85" fmla="*/ 115 h 131"/>
                  <a:gd name="T86" fmla="*/ 79 w 226"/>
                  <a:gd name="T87" fmla="*/ 13 h 131"/>
                  <a:gd name="T88" fmla="*/ 79 w 226"/>
                  <a:gd name="T89" fmla="*/ 13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26" h="131">
                    <a:moveTo>
                      <a:pt x="118" y="27"/>
                    </a:moveTo>
                    <a:cubicBezTo>
                      <a:pt x="125" y="28"/>
                      <a:pt x="115" y="35"/>
                      <a:pt x="116" y="30"/>
                    </a:cubicBezTo>
                    <a:cubicBezTo>
                      <a:pt x="116" y="29"/>
                      <a:pt x="117" y="28"/>
                      <a:pt x="118" y="27"/>
                    </a:cubicBezTo>
                    <a:moveTo>
                      <a:pt x="80" y="104"/>
                    </a:moveTo>
                    <a:cubicBezTo>
                      <a:pt x="80" y="104"/>
                      <a:pt x="80" y="104"/>
                      <a:pt x="80" y="104"/>
                    </a:cubicBezTo>
                    <a:cubicBezTo>
                      <a:pt x="81" y="104"/>
                      <a:pt x="81" y="104"/>
                      <a:pt x="81" y="104"/>
                    </a:cubicBezTo>
                    <a:cubicBezTo>
                      <a:pt x="81" y="104"/>
                      <a:pt x="81" y="104"/>
                      <a:pt x="81" y="104"/>
                    </a:cubicBezTo>
                    <a:cubicBezTo>
                      <a:pt x="81" y="104"/>
                      <a:pt x="81" y="104"/>
                      <a:pt x="82" y="104"/>
                    </a:cubicBezTo>
                    <a:cubicBezTo>
                      <a:pt x="82" y="104"/>
                      <a:pt x="82" y="104"/>
                      <a:pt x="82" y="104"/>
                    </a:cubicBezTo>
                    <a:cubicBezTo>
                      <a:pt x="84" y="104"/>
                      <a:pt x="85" y="104"/>
                      <a:pt x="86" y="104"/>
                    </a:cubicBezTo>
                    <a:cubicBezTo>
                      <a:pt x="86" y="104"/>
                      <a:pt x="86" y="104"/>
                      <a:pt x="87" y="104"/>
                    </a:cubicBezTo>
                    <a:cubicBezTo>
                      <a:pt x="87" y="104"/>
                      <a:pt x="88" y="104"/>
                      <a:pt x="88" y="105"/>
                    </a:cubicBezTo>
                    <a:cubicBezTo>
                      <a:pt x="88" y="105"/>
                      <a:pt x="88" y="105"/>
                      <a:pt x="88" y="105"/>
                    </a:cubicBezTo>
                    <a:cubicBezTo>
                      <a:pt x="89" y="105"/>
                      <a:pt x="89" y="105"/>
                      <a:pt x="89" y="105"/>
                    </a:cubicBezTo>
                    <a:cubicBezTo>
                      <a:pt x="89" y="105"/>
                      <a:pt x="89" y="105"/>
                      <a:pt x="89" y="105"/>
                    </a:cubicBezTo>
                    <a:cubicBezTo>
                      <a:pt x="89" y="105"/>
                      <a:pt x="90" y="105"/>
                      <a:pt x="90" y="105"/>
                    </a:cubicBezTo>
                    <a:cubicBezTo>
                      <a:pt x="90" y="105"/>
                      <a:pt x="90" y="105"/>
                      <a:pt x="90" y="105"/>
                    </a:cubicBezTo>
                    <a:cubicBezTo>
                      <a:pt x="91" y="105"/>
                      <a:pt x="91" y="105"/>
                      <a:pt x="91" y="105"/>
                    </a:cubicBezTo>
                    <a:cubicBezTo>
                      <a:pt x="92" y="106"/>
                      <a:pt x="92" y="106"/>
                      <a:pt x="92" y="106"/>
                    </a:cubicBezTo>
                    <a:cubicBezTo>
                      <a:pt x="92" y="106"/>
                      <a:pt x="92" y="106"/>
                      <a:pt x="92" y="106"/>
                    </a:cubicBezTo>
                    <a:cubicBezTo>
                      <a:pt x="92" y="106"/>
                      <a:pt x="92" y="106"/>
                      <a:pt x="93" y="106"/>
                    </a:cubicBezTo>
                    <a:cubicBezTo>
                      <a:pt x="93" y="106"/>
                      <a:pt x="93" y="106"/>
                      <a:pt x="93" y="107"/>
                    </a:cubicBezTo>
                    <a:cubicBezTo>
                      <a:pt x="93" y="107"/>
                      <a:pt x="93" y="107"/>
                      <a:pt x="94" y="107"/>
                    </a:cubicBezTo>
                    <a:cubicBezTo>
                      <a:pt x="94" y="107"/>
                      <a:pt x="94" y="107"/>
                      <a:pt x="94" y="107"/>
                    </a:cubicBezTo>
                    <a:cubicBezTo>
                      <a:pt x="94" y="107"/>
                      <a:pt x="94" y="107"/>
                      <a:pt x="94" y="107"/>
                    </a:cubicBezTo>
                    <a:cubicBezTo>
                      <a:pt x="95" y="107"/>
                      <a:pt x="95" y="107"/>
                      <a:pt x="95" y="107"/>
                    </a:cubicBezTo>
                    <a:cubicBezTo>
                      <a:pt x="95" y="107"/>
                      <a:pt x="95" y="107"/>
                      <a:pt x="95" y="107"/>
                    </a:cubicBezTo>
                    <a:cubicBezTo>
                      <a:pt x="95" y="107"/>
                      <a:pt x="96" y="107"/>
                      <a:pt x="96" y="108"/>
                    </a:cubicBezTo>
                    <a:cubicBezTo>
                      <a:pt x="96" y="108"/>
                      <a:pt x="96" y="108"/>
                      <a:pt x="97" y="108"/>
                    </a:cubicBezTo>
                    <a:cubicBezTo>
                      <a:pt x="97" y="108"/>
                      <a:pt x="97" y="108"/>
                      <a:pt x="97" y="108"/>
                    </a:cubicBezTo>
                    <a:cubicBezTo>
                      <a:pt x="97" y="108"/>
                      <a:pt x="98" y="108"/>
                      <a:pt x="98" y="108"/>
                    </a:cubicBezTo>
                    <a:cubicBezTo>
                      <a:pt x="98" y="108"/>
                      <a:pt x="98" y="108"/>
                      <a:pt x="98" y="108"/>
                    </a:cubicBezTo>
                    <a:cubicBezTo>
                      <a:pt x="99" y="109"/>
                      <a:pt x="99" y="109"/>
                      <a:pt x="99" y="109"/>
                    </a:cubicBezTo>
                    <a:cubicBezTo>
                      <a:pt x="99" y="109"/>
                      <a:pt x="99" y="109"/>
                      <a:pt x="99" y="109"/>
                    </a:cubicBezTo>
                    <a:cubicBezTo>
                      <a:pt x="102" y="110"/>
                      <a:pt x="103" y="111"/>
                      <a:pt x="105" y="111"/>
                    </a:cubicBezTo>
                    <a:cubicBezTo>
                      <a:pt x="106" y="112"/>
                      <a:pt x="106" y="112"/>
                      <a:pt x="106" y="112"/>
                    </a:cubicBezTo>
                    <a:cubicBezTo>
                      <a:pt x="106" y="112"/>
                      <a:pt x="107" y="112"/>
                      <a:pt x="107" y="112"/>
                    </a:cubicBezTo>
                    <a:cubicBezTo>
                      <a:pt x="107" y="112"/>
                      <a:pt x="107" y="112"/>
                      <a:pt x="107" y="112"/>
                    </a:cubicBezTo>
                    <a:cubicBezTo>
                      <a:pt x="108" y="113"/>
                      <a:pt x="109" y="113"/>
                      <a:pt x="110" y="113"/>
                    </a:cubicBezTo>
                    <a:cubicBezTo>
                      <a:pt x="113" y="109"/>
                      <a:pt x="115" y="102"/>
                      <a:pt x="120" y="101"/>
                    </a:cubicBezTo>
                    <a:cubicBezTo>
                      <a:pt x="135" y="97"/>
                      <a:pt x="129" y="118"/>
                      <a:pt x="135" y="111"/>
                    </a:cubicBezTo>
                    <a:cubicBezTo>
                      <a:pt x="136" y="110"/>
                      <a:pt x="135" y="107"/>
                      <a:pt x="137" y="106"/>
                    </a:cubicBezTo>
                    <a:cubicBezTo>
                      <a:pt x="141" y="105"/>
                      <a:pt x="145" y="110"/>
                      <a:pt x="150" y="109"/>
                    </a:cubicBezTo>
                    <a:cubicBezTo>
                      <a:pt x="161" y="96"/>
                      <a:pt x="161" y="96"/>
                      <a:pt x="161" y="96"/>
                    </a:cubicBezTo>
                    <a:cubicBezTo>
                      <a:pt x="172" y="90"/>
                      <a:pt x="170" y="109"/>
                      <a:pt x="171" y="109"/>
                    </a:cubicBezTo>
                    <a:cubicBezTo>
                      <a:pt x="175" y="109"/>
                      <a:pt x="179" y="108"/>
                      <a:pt x="184" y="109"/>
                    </a:cubicBezTo>
                    <a:cubicBezTo>
                      <a:pt x="184" y="109"/>
                      <a:pt x="186" y="109"/>
                      <a:pt x="186" y="110"/>
                    </a:cubicBezTo>
                    <a:cubicBezTo>
                      <a:pt x="187" y="112"/>
                      <a:pt x="185" y="114"/>
                      <a:pt x="186" y="116"/>
                    </a:cubicBezTo>
                    <a:cubicBezTo>
                      <a:pt x="186" y="116"/>
                      <a:pt x="201" y="128"/>
                      <a:pt x="206" y="131"/>
                    </a:cubicBezTo>
                    <a:cubicBezTo>
                      <a:pt x="207" y="130"/>
                      <a:pt x="209" y="127"/>
                      <a:pt x="214" y="124"/>
                    </a:cubicBezTo>
                    <a:cubicBezTo>
                      <a:pt x="217" y="121"/>
                      <a:pt x="222" y="124"/>
                      <a:pt x="224" y="121"/>
                    </a:cubicBezTo>
                    <a:cubicBezTo>
                      <a:pt x="224" y="121"/>
                      <a:pt x="225" y="119"/>
                      <a:pt x="226" y="116"/>
                    </a:cubicBezTo>
                    <a:cubicBezTo>
                      <a:pt x="225" y="118"/>
                      <a:pt x="225" y="120"/>
                      <a:pt x="224" y="121"/>
                    </a:cubicBezTo>
                    <a:cubicBezTo>
                      <a:pt x="224" y="120"/>
                      <a:pt x="224" y="120"/>
                      <a:pt x="224" y="120"/>
                    </a:cubicBezTo>
                    <a:cubicBezTo>
                      <a:pt x="219" y="116"/>
                      <a:pt x="220" y="108"/>
                      <a:pt x="215" y="105"/>
                    </a:cubicBezTo>
                    <a:cubicBezTo>
                      <a:pt x="213" y="104"/>
                      <a:pt x="208" y="107"/>
                      <a:pt x="208" y="103"/>
                    </a:cubicBezTo>
                    <a:cubicBezTo>
                      <a:pt x="208" y="101"/>
                      <a:pt x="209" y="101"/>
                      <a:pt x="209" y="100"/>
                    </a:cubicBezTo>
                    <a:cubicBezTo>
                      <a:pt x="211" y="99"/>
                      <a:pt x="218" y="99"/>
                      <a:pt x="218" y="96"/>
                    </a:cubicBezTo>
                    <a:cubicBezTo>
                      <a:pt x="217" y="84"/>
                      <a:pt x="199" y="96"/>
                      <a:pt x="199" y="87"/>
                    </a:cubicBezTo>
                    <a:cubicBezTo>
                      <a:pt x="198" y="81"/>
                      <a:pt x="207" y="83"/>
                      <a:pt x="204" y="75"/>
                    </a:cubicBezTo>
                    <a:cubicBezTo>
                      <a:pt x="201" y="70"/>
                      <a:pt x="188" y="81"/>
                      <a:pt x="185" y="81"/>
                    </a:cubicBezTo>
                    <a:cubicBezTo>
                      <a:pt x="175" y="82"/>
                      <a:pt x="163" y="71"/>
                      <a:pt x="153" y="70"/>
                    </a:cubicBezTo>
                    <a:cubicBezTo>
                      <a:pt x="149" y="70"/>
                      <a:pt x="146" y="73"/>
                      <a:pt x="142" y="72"/>
                    </a:cubicBezTo>
                    <a:cubicBezTo>
                      <a:pt x="141" y="72"/>
                      <a:pt x="142" y="70"/>
                      <a:pt x="142" y="69"/>
                    </a:cubicBezTo>
                    <a:cubicBezTo>
                      <a:pt x="146" y="66"/>
                      <a:pt x="152" y="65"/>
                      <a:pt x="155" y="62"/>
                    </a:cubicBezTo>
                    <a:cubicBezTo>
                      <a:pt x="157" y="61"/>
                      <a:pt x="155" y="47"/>
                      <a:pt x="154" y="45"/>
                    </a:cubicBezTo>
                    <a:cubicBezTo>
                      <a:pt x="153" y="43"/>
                      <a:pt x="119" y="45"/>
                      <a:pt x="110" y="33"/>
                    </a:cubicBezTo>
                    <a:cubicBezTo>
                      <a:pt x="105" y="26"/>
                      <a:pt x="123" y="17"/>
                      <a:pt x="115" y="13"/>
                    </a:cubicBezTo>
                    <a:cubicBezTo>
                      <a:pt x="111" y="11"/>
                      <a:pt x="107" y="13"/>
                      <a:pt x="103" y="11"/>
                    </a:cubicBezTo>
                    <a:cubicBezTo>
                      <a:pt x="102" y="11"/>
                      <a:pt x="103" y="6"/>
                      <a:pt x="102" y="6"/>
                    </a:cubicBezTo>
                    <a:cubicBezTo>
                      <a:pt x="98" y="7"/>
                      <a:pt x="84" y="14"/>
                      <a:pt x="81" y="12"/>
                    </a:cubicBezTo>
                    <a:cubicBezTo>
                      <a:pt x="79" y="9"/>
                      <a:pt x="95" y="2"/>
                      <a:pt x="81" y="2"/>
                    </a:cubicBezTo>
                    <a:cubicBezTo>
                      <a:pt x="79" y="2"/>
                      <a:pt x="78" y="5"/>
                      <a:pt x="76" y="5"/>
                    </a:cubicBezTo>
                    <a:cubicBezTo>
                      <a:pt x="74" y="4"/>
                      <a:pt x="73" y="1"/>
                      <a:pt x="72" y="0"/>
                    </a:cubicBezTo>
                    <a:cubicBezTo>
                      <a:pt x="71" y="1"/>
                      <a:pt x="71" y="2"/>
                      <a:pt x="69" y="3"/>
                    </a:cubicBezTo>
                    <a:cubicBezTo>
                      <a:pt x="67" y="4"/>
                      <a:pt x="60" y="5"/>
                      <a:pt x="63" y="6"/>
                    </a:cubicBezTo>
                    <a:cubicBezTo>
                      <a:pt x="64" y="7"/>
                      <a:pt x="68" y="8"/>
                      <a:pt x="67" y="9"/>
                    </a:cubicBezTo>
                    <a:cubicBezTo>
                      <a:pt x="57" y="15"/>
                      <a:pt x="41" y="18"/>
                      <a:pt x="33" y="25"/>
                    </a:cubicBezTo>
                    <a:cubicBezTo>
                      <a:pt x="23" y="34"/>
                      <a:pt x="15" y="44"/>
                      <a:pt x="1" y="51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51"/>
                      <a:pt x="0" y="51"/>
                      <a:pt x="0" y="50"/>
                    </a:cubicBezTo>
                    <a:cubicBezTo>
                      <a:pt x="1" y="52"/>
                      <a:pt x="0" y="54"/>
                      <a:pt x="2" y="56"/>
                    </a:cubicBezTo>
                    <a:cubicBezTo>
                      <a:pt x="7" y="60"/>
                      <a:pt x="24" y="59"/>
                      <a:pt x="28" y="74"/>
                    </a:cubicBezTo>
                    <a:cubicBezTo>
                      <a:pt x="29" y="82"/>
                      <a:pt x="24" y="95"/>
                      <a:pt x="30" y="101"/>
                    </a:cubicBezTo>
                    <a:cubicBezTo>
                      <a:pt x="34" y="105"/>
                      <a:pt x="39" y="106"/>
                      <a:pt x="41" y="110"/>
                    </a:cubicBezTo>
                    <a:cubicBezTo>
                      <a:pt x="42" y="111"/>
                      <a:pt x="38" y="115"/>
                      <a:pt x="39" y="115"/>
                    </a:cubicBezTo>
                    <a:cubicBezTo>
                      <a:pt x="58" y="114"/>
                      <a:pt x="67" y="104"/>
                      <a:pt x="80" y="104"/>
                    </a:cubicBezTo>
                    <a:close/>
                    <a:moveTo>
                      <a:pt x="79" y="13"/>
                    </a:moveTo>
                    <a:cubicBezTo>
                      <a:pt x="80" y="14"/>
                      <a:pt x="81" y="14"/>
                      <a:pt x="82" y="14"/>
                    </a:cubicBezTo>
                    <a:cubicBezTo>
                      <a:pt x="83" y="17"/>
                      <a:pt x="72" y="17"/>
                      <a:pt x="79" y="13"/>
                    </a:cubicBez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7" name="Cyprus" descr="{&quot;Key&quot;:&quot;cyprus&quot;,&quot;Name&quot;:&quot;Cyprus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0BC14205-C59C-6B44-EFB9-3CF76D4DF2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10513" y="9445609"/>
                <a:ext cx="213261" cy="210260"/>
              </a:xfrm>
              <a:custGeom>
                <a:avLst/>
                <a:gdLst>
                  <a:gd name="T0" fmla="*/ 127 w 127"/>
                  <a:gd name="T1" fmla="*/ 0 h 117"/>
                  <a:gd name="T2" fmla="*/ 97 w 127"/>
                  <a:gd name="T3" fmla="*/ 42 h 117"/>
                  <a:gd name="T4" fmla="*/ 114 w 127"/>
                  <a:gd name="T5" fmla="*/ 60 h 117"/>
                  <a:gd name="T6" fmla="*/ 106 w 127"/>
                  <a:gd name="T7" fmla="*/ 61 h 117"/>
                  <a:gd name="T8" fmla="*/ 101 w 127"/>
                  <a:gd name="T9" fmla="*/ 66 h 117"/>
                  <a:gd name="T10" fmla="*/ 89 w 127"/>
                  <a:gd name="T11" fmla="*/ 69 h 117"/>
                  <a:gd name="T12" fmla="*/ 88 w 127"/>
                  <a:gd name="T13" fmla="*/ 80 h 117"/>
                  <a:gd name="T14" fmla="*/ 59 w 127"/>
                  <a:gd name="T15" fmla="*/ 99 h 117"/>
                  <a:gd name="T16" fmla="*/ 59 w 127"/>
                  <a:gd name="T17" fmla="*/ 108 h 117"/>
                  <a:gd name="T18" fmla="*/ 48 w 127"/>
                  <a:gd name="T19" fmla="*/ 104 h 117"/>
                  <a:gd name="T20" fmla="*/ 39 w 127"/>
                  <a:gd name="T21" fmla="*/ 110 h 117"/>
                  <a:gd name="T22" fmla="*/ 18 w 127"/>
                  <a:gd name="T23" fmla="*/ 107 h 117"/>
                  <a:gd name="T24" fmla="*/ 16 w 127"/>
                  <a:gd name="T25" fmla="*/ 102 h 117"/>
                  <a:gd name="T26" fmla="*/ 5 w 127"/>
                  <a:gd name="T27" fmla="*/ 85 h 117"/>
                  <a:gd name="T28" fmla="*/ 12 w 127"/>
                  <a:gd name="T29" fmla="*/ 87 h 117"/>
                  <a:gd name="T30" fmla="*/ 19 w 127"/>
                  <a:gd name="T31" fmla="*/ 75 h 117"/>
                  <a:gd name="T32" fmla="*/ 38 w 127"/>
                  <a:gd name="T33" fmla="*/ 70 h 117"/>
                  <a:gd name="T34" fmla="*/ 40 w 127"/>
                  <a:gd name="T35" fmla="*/ 60 h 117"/>
                  <a:gd name="T36" fmla="*/ 36 w 127"/>
                  <a:gd name="T37" fmla="*/ 51 h 117"/>
                  <a:gd name="T38" fmla="*/ 46 w 127"/>
                  <a:gd name="T39" fmla="*/ 52 h 117"/>
                  <a:gd name="T40" fmla="*/ 75 w 127"/>
                  <a:gd name="T41" fmla="*/ 44 h 117"/>
                  <a:gd name="T42" fmla="*/ 127 w 127"/>
                  <a:gd name="T43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27" h="117">
                    <a:moveTo>
                      <a:pt x="127" y="0"/>
                    </a:moveTo>
                    <a:cubicBezTo>
                      <a:pt x="127" y="9"/>
                      <a:pt x="101" y="31"/>
                      <a:pt x="97" y="42"/>
                    </a:cubicBezTo>
                    <a:cubicBezTo>
                      <a:pt x="92" y="54"/>
                      <a:pt x="117" y="56"/>
                      <a:pt x="114" y="60"/>
                    </a:cubicBezTo>
                    <a:cubicBezTo>
                      <a:pt x="113" y="63"/>
                      <a:pt x="108" y="60"/>
                      <a:pt x="106" y="61"/>
                    </a:cubicBezTo>
                    <a:cubicBezTo>
                      <a:pt x="104" y="61"/>
                      <a:pt x="103" y="65"/>
                      <a:pt x="101" y="66"/>
                    </a:cubicBezTo>
                    <a:cubicBezTo>
                      <a:pt x="97" y="68"/>
                      <a:pt x="92" y="66"/>
                      <a:pt x="89" y="69"/>
                    </a:cubicBezTo>
                    <a:cubicBezTo>
                      <a:pt x="87" y="72"/>
                      <a:pt x="89" y="77"/>
                      <a:pt x="88" y="80"/>
                    </a:cubicBezTo>
                    <a:cubicBezTo>
                      <a:pt x="83" y="87"/>
                      <a:pt x="63" y="93"/>
                      <a:pt x="59" y="99"/>
                    </a:cubicBezTo>
                    <a:cubicBezTo>
                      <a:pt x="57" y="102"/>
                      <a:pt x="61" y="106"/>
                      <a:pt x="59" y="108"/>
                    </a:cubicBezTo>
                    <a:cubicBezTo>
                      <a:pt x="54" y="117"/>
                      <a:pt x="50" y="104"/>
                      <a:pt x="48" y="104"/>
                    </a:cubicBezTo>
                    <a:cubicBezTo>
                      <a:pt x="45" y="104"/>
                      <a:pt x="43" y="108"/>
                      <a:pt x="39" y="110"/>
                    </a:cubicBezTo>
                    <a:cubicBezTo>
                      <a:pt x="37" y="110"/>
                      <a:pt x="19" y="107"/>
                      <a:pt x="18" y="107"/>
                    </a:cubicBezTo>
                    <a:cubicBezTo>
                      <a:pt x="16" y="106"/>
                      <a:pt x="17" y="103"/>
                      <a:pt x="16" y="102"/>
                    </a:cubicBezTo>
                    <a:cubicBezTo>
                      <a:pt x="14" y="100"/>
                      <a:pt x="0" y="84"/>
                      <a:pt x="5" y="85"/>
                    </a:cubicBezTo>
                    <a:cubicBezTo>
                      <a:pt x="7" y="85"/>
                      <a:pt x="9" y="87"/>
                      <a:pt x="12" y="87"/>
                    </a:cubicBezTo>
                    <a:cubicBezTo>
                      <a:pt x="17" y="87"/>
                      <a:pt x="18" y="77"/>
                      <a:pt x="19" y="75"/>
                    </a:cubicBezTo>
                    <a:cubicBezTo>
                      <a:pt x="23" y="69"/>
                      <a:pt x="34" y="73"/>
                      <a:pt x="38" y="70"/>
                    </a:cubicBezTo>
                    <a:cubicBezTo>
                      <a:pt x="41" y="68"/>
                      <a:pt x="40" y="64"/>
                      <a:pt x="40" y="60"/>
                    </a:cubicBezTo>
                    <a:cubicBezTo>
                      <a:pt x="39" y="57"/>
                      <a:pt x="34" y="54"/>
                      <a:pt x="36" y="51"/>
                    </a:cubicBezTo>
                    <a:cubicBezTo>
                      <a:pt x="38" y="49"/>
                      <a:pt x="43" y="52"/>
                      <a:pt x="46" y="52"/>
                    </a:cubicBezTo>
                    <a:cubicBezTo>
                      <a:pt x="53" y="51"/>
                      <a:pt x="69" y="47"/>
                      <a:pt x="75" y="44"/>
                    </a:cubicBezTo>
                    <a:cubicBezTo>
                      <a:pt x="83" y="39"/>
                      <a:pt x="127" y="0"/>
                      <a:pt x="127" y="0"/>
                    </a:cubicBezTo>
                    <a:close/>
                  </a:path>
                </a:pathLst>
              </a:custGeom>
              <a:solidFill>
                <a:srgbClr val="35528C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8" name="Ireland" descr="{&quot;Key&quot;:&quot;ireland&quot;,&quot;Name&quot;:&quot;Ireland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1F856916-9066-4AFD-F804-43D509C22F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0332" y="7110454"/>
                <a:ext cx="380609" cy="461934"/>
              </a:xfrm>
              <a:custGeom>
                <a:avLst/>
                <a:gdLst>
                  <a:gd name="T0" fmla="*/ 212 w 227"/>
                  <a:gd name="T1" fmla="*/ 110 h 256"/>
                  <a:gd name="T2" fmla="*/ 219 w 227"/>
                  <a:gd name="T3" fmla="*/ 139 h 256"/>
                  <a:gd name="T4" fmla="*/ 210 w 227"/>
                  <a:gd name="T5" fmla="*/ 153 h 256"/>
                  <a:gd name="T6" fmla="*/ 213 w 227"/>
                  <a:gd name="T7" fmla="*/ 183 h 256"/>
                  <a:gd name="T8" fmla="*/ 184 w 227"/>
                  <a:gd name="T9" fmla="*/ 236 h 256"/>
                  <a:gd name="T10" fmla="*/ 169 w 227"/>
                  <a:gd name="T11" fmla="*/ 231 h 256"/>
                  <a:gd name="T12" fmla="*/ 147 w 227"/>
                  <a:gd name="T13" fmla="*/ 231 h 256"/>
                  <a:gd name="T14" fmla="*/ 119 w 227"/>
                  <a:gd name="T15" fmla="*/ 239 h 256"/>
                  <a:gd name="T16" fmla="*/ 89 w 227"/>
                  <a:gd name="T17" fmla="*/ 236 h 256"/>
                  <a:gd name="T18" fmla="*/ 77 w 227"/>
                  <a:gd name="T19" fmla="*/ 255 h 256"/>
                  <a:gd name="T20" fmla="*/ 69 w 227"/>
                  <a:gd name="T21" fmla="*/ 255 h 256"/>
                  <a:gd name="T22" fmla="*/ 35 w 227"/>
                  <a:gd name="T23" fmla="*/ 248 h 256"/>
                  <a:gd name="T24" fmla="*/ 36 w 227"/>
                  <a:gd name="T25" fmla="*/ 233 h 256"/>
                  <a:gd name="T26" fmla="*/ 17 w 227"/>
                  <a:gd name="T27" fmla="*/ 229 h 256"/>
                  <a:gd name="T28" fmla="*/ 36 w 227"/>
                  <a:gd name="T29" fmla="*/ 222 h 256"/>
                  <a:gd name="T30" fmla="*/ 7 w 227"/>
                  <a:gd name="T31" fmla="*/ 212 h 256"/>
                  <a:gd name="T32" fmla="*/ 33 w 227"/>
                  <a:gd name="T33" fmla="*/ 201 h 256"/>
                  <a:gd name="T34" fmla="*/ 4 w 227"/>
                  <a:gd name="T35" fmla="*/ 188 h 256"/>
                  <a:gd name="T36" fmla="*/ 24 w 227"/>
                  <a:gd name="T37" fmla="*/ 186 h 256"/>
                  <a:gd name="T38" fmla="*/ 43 w 227"/>
                  <a:gd name="T39" fmla="*/ 176 h 256"/>
                  <a:gd name="T40" fmla="*/ 79 w 227"/>
                  <a:gd name="T41" fmla="*/ 171 h 256"/>
                  <a:gd name="T42" fmla="*/ 65 w 227"/>
                  <a:gd name="T43" fmla="*/ 171 h 256"/>
                  <a:gd name="T44" fmla="*/ 53 w 227"/>
                  <a:gd name="T45" fmla="*/ 165 h 256"/>
                  <a:gd name="T46" fmla="*/ 53 w 227"/>
                  <a:gd name="T47" fmla="*/ 160 h 256"/>
                  <a:gd name="T48" fmla="*/ 68 w 227"/>
                  <a:gd name="T49" fmla="*/ 149 h 256"/>
                  <a:gd name="T50" fmla="*/ 75 w 227"/>
                  <a:gd name="T51" fmla="*/ 134 h 256"/>
                  <a:gd name="T52" fmla="*/ 88 w 227"/>
                  <a:gd name="T53" fmla="*/ 132 h 256"/>
                  <a:gd name="T54" fmla="*/ 65 w 227"/>
                  <a:gd name="T55" fmla="*/ 114 h 256"/>
                  <a:gd name="T56" fmla="*/ 51 w 227"/>
                  <a:gd name="T57" fmla="*/ 92 h 256"/>
                  <a:gd name="T58" fmla="*/ 77 w 227"/>
                  <a:gd name="T59" fmla="*/ 84 h 256"/>
                  <a:gd name="T60" fmla="*/ 66 w 227"/>
                  <a:gd name="T61" fmla="*/ 64 h 256"/>
                  <a:gd name="T62" fmla="*/ 64 w 227"/>
                  <a:gd name="T63" fmla="*/ 47 h 256"/>
                  <a:gd name="T64" fmla="*/ 101 w 227"/>
                  <a:gd name="T65" fmla="*/ 62 h 256"/>
                  <a:gd name="T66" fmla="*/ 124 w 227"/>
                  <a:gd name="T67" fmla="*/ 54 h 256"/>
                  <a:gd name="T68" fmla="*/ 145 w 227"/>
                  <a:gd name="T69" fmla="*/ 41 h 256"/>
                  <a:gd name="T70" fmla="*/ 137 w 227"/>
                  <a:gd name="T71" fmla="*/ 37 h 256"/>
                  <a:gd name="T72" fmla="*/ 138 w 227"/>
                  <a:gd name="T73" fmla="*/ 22 h 256"/>
                  <a:gd name="T74" fmla="*/ 148 w 227"/>
                  <a:gd name="T75" fmla="*/ 15 h 256"/>
                  <a:gd name="T76" fmla="*/ 186 w 227"/>
                  <a:gd name="T77" fmla="*/ 9 h 256"/>
                  <a:gd name="T78" fmla="*/ 188 w 227"/>
                  <a:gd name="T79" fmla="*/ 11 h 256"/>
                  <a:gd name="T80" fmla="*/ 163 w 227"/>
                  <a:gd name="T81" fmla="*/ 39 h 256"/>
                  <a:gd name="T82" fmla="*/ 175 w 227"/>
                  <a:gd name="T83" fmla="*/ 85 h 256"/>
                  <a:gd name="T84" fmla="*/ 207 w 227"/>
                  <a:gd name="T85" fmla="*/ 91 h 256"/>
                  <a:gd name="T86" fmla="*/ 223 w 227"/>
                  <a:gd name="T87" fmla="*/ 101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27" h="256">
                    <a:moveTo>
                      <a:pt x="221" y="100"/>
                    </a:moveTo>
                    <a:cubicBezTo>
                      <a:pt x="222" y="102"/>
                      <a:pt x="227" y="105"/>
                      <a:pt x="225" y="107"/>
                    </a:cubicBezTo>
                    <a:cubicBezTo>
                      <a:pt x="223" y="111"/>
                      <a:pt x="216" y="108"/>
                      <a:pt x="212" y="110"/>
                    </a:cubicBezTo>
                    <a:cubicBezTo>
                      <a:pt x="211" y="112"/>
                      <a:pt x="217" y="113"/>
                      <a:pt x="217" y="115"/>
                    </a:cubicBezTo>
                    <a:cubicBezTo>
                      <a:pt x="218" y="120"/>
                      <a:pt x="215" y="124"/>
                      <a:pt x="215" y="129"/>
                    </a:cubicBezTo>
                    <a:cubicBezTo>
                      <a:pt x="215" y="133"/>
                      <a:pt x="219" y="135"/>
                      <a:pt x="219" y="139"/>
                    </a:cubicBezTo>
                    <a:cubicBezTo>
                      <a:pt x="219" y="142"/>
                      <a:pt x="215" y="144"/>
                      <a:pt x="215" y="147"/>
                    </a:cubicBezTo>
                    <a:cubicBezTo>
                      <a:pt x="214" y="149"/>
                      <a:pt x="219" y="152"/>
                      <a:pt x="218" y="154"/>
                    </a:cubicBezTo>
                    <a:cubicBezTo>
                      <a:pt x="216" y="156"/>
                      <a:pt x="211" y="151"/>
                      <a:pt x="210" y="153"/>
                    </a:cubicBezTo>
                    <a:cubicBezTo>
                      <a:pt x="208" y="156"/>
                      <a:pt x="213" y="158"/>
                      <a:pt x="214" y="161"/>
                    </a:cubicBezTo>
                    <a:cubicBezTo>
                      <a:pt x="214" y="162"/>
                      <a:pt x="212" y="163"/>
                      <a:pt x="212" y="164"/>
                    </a:cubicBezTo>
                    <a:cubicBezTo>
                      <a:pt x="213" y="171"/>
                      <a:pt x="215" y="176"/>
                      <a:pt x="213" y="183"/>
                    </a:cubicBezTo>
                    <a:cubicBezTo>
                      <a:pt x="211" y="188"/>
                      <a:pt x="191" y="217"/>
                      <a:pt x="188" y="220"/>
                    </a:cubicBezTo>
                    <a:cubicBezTo>
                      <a:pt x="187" y="221"/>
                      <a:pt x="184" y="222"/>
                      <a:pt x="184" y="224"/>
                    </a:cubicBezTo>
                    <a:cubicBezTo>
                      <a:pt x="182" y="228"/>
                      <a:pt x="184" y="232"/>
                      <a:pt x="184" y="236"/>
                    </a:cubicBezTo>
                    <a:cubicBezTo>
                      <a:pt x="184" y="237"/>
                      <a:pt x="182" y="237"/>
                      <a:pt x="182" y="236"/>
                    </a:cubicBezTo>
                    <a:cubicBezTo>
                      <a:pt x="181" y="232"/>
                      <a:pt x="180" y="238"/>
                      <a:pt x="174" y="235"/>
                    </a:cubicBezTo>
                    <a:cubicBezTo>
                      <a:pt x="172" y="235"/>
                      <a:pt x="172" y="231"/>
                      <a:pt x="169" y="231"/>
                    </a:cubicBezTo>
                    <a:cubicBezTo>
                      <a:pt x="165" y="230"/>
                      <a:pt x="153" y="236"/>
                      <a:pt x="150" y="232"/>
                    </a:cubicBezTo>
                    <a:cubicBezTo>
                      <a:pt x="150" y="231"/>
                      <a:pt x="152" y="231"/>
                      <a:pt x="152" y="230"/>
                    </a:cubicBezTo>
                    <a:cubicBezTo>
                      <a:pt x="153" y="229"/>
                      <a:pt x="148" y="232"/>
                      <a:pt x="147" y="231"/>
                    </a:cubicBezTo>
                    <a:cubicBezTo>
                      <a:pt x="138" y="231"/>
                      <a:pt x="135" y="226"/>
                      <a:pt x="128" y="229"/>
                    </a:cubicBezTo>
                    <a:cubicBezTo>
                      <a:pt x="126" y="230"/>
                      <a:pt x="130" y="232"/>
                      <a:pt x="130" y="234"/>
                    </a:cubicBezTo>
                    <a:cubicBezTo>
                      <a:pt x="129" y="236"/>
                      <a:pt x="119" y="239"/>
                      <a:pt x="119" y="239"/>
                    </a:cubicBezTo>
                    <a:cubicBezTo>
                      <a:pt x="117" y="239"/>
                      <a:pt x="116" y="235"/>
                      <a:pt x="113" y="236"/>
                    </a:cubicBezTo>
                    <a:cubicBezTo>
                      <a:pt x="109" y="238"/>
                      <a:pt x="108" y="243"/>
                      <a:pt x="104" y="245"/>
                    </a:cubicBezTo>
                    <a:cubicBezTo>
                      <a:pt x="92" y="251"/>
                      <a:pt x="100" y="234"/>
                      <a:pt x="89" y="236"/>
                    </a:cubicBezTo>
                    <a:cubicBezTo>
                      <a:pt x="86" y="236"/>
                      <a:pt x="92" y="243"/>
                      <a:pt x="91" y="245"/>
                    </a:cubicBezTo>
                    <a:cubicBezTo>
                      <a:pt x="89" y="248"/>
                      <a:pt x="85" y="248"/>
                      <a:pt x="82" y="249"/>
                    </a:cubicBezTo>
                    <a:cubicBezTo>
                      <a:pt x="81" y="251"/>
                      <a:pt x="79" y="254"/>
                      <a:pt x="77" y="255"/>
                    </a:cubicBezTo>
                    <a:cubicBezTo>
                      <a:pt x="76" y="255"/>
                      <a:pt x="77" y="252"/>
                      <a:pt x="75" y="252"/>
                    </a:cubicBezTo>
                    <a:cubicBezTo>
                      <a:pt x="74" y="251"/>
                      <a:pt x="73" y="249"/>
                      <a:pt x="71" y="250"/>
                    </a:cubicBezTo>
                    <a:cubicBezTo>
                      <a:pt x="70" y="251"/>
                      <a:pt x="71" y="255"/>
                      <a:pt x="69" y="255"/>
                    </a:cubicBezTo>
                    <a:cubicBezTo>
                      <a:pt x="64" y="256"/>
                      <a:pt x="53" y="249"/>
                      <a:pt x="50" y="249"/>
                    </a:cubicBezTo>
                    <a:cubicBezTo>
                      <a:pt x="46" y="250"/>
                      <a:pt x="42" y="253"/>
                      <a:pt x="38" y="254"/>
                    </a:cubicBezTo>
                    <a:cubicBezTo>
                      <a:pt x="27" y="255"/>
                      <a:pt x="44" y="246"/>
                      <a:pt x="35" y="248"/>
                    </a:cubicBezTo>
                    <a:cubicBezTo>
                      <a:pt x="32" y="249"/>
                      <a:pt x="18" y="251"/>
                      <a:pt x="17" y="249"/>
                    </a:cubicBezTo>
                    <a:cubicBezTo>
                      <a:pt x="15" y="246"/>
                      <a:pt x="36" y="240"/>
                      <a:pt x="39" y="235"/>
                    </a:cubicBezTo>
                    <a:cubicBezTo>
                      <a:pt x="39" y="234"/>
                      <a:pt x="37" y="234"/>
                      <a:pt x="36" y="233"/>
                    </a:cubicBezTo>
                    <a:cubicBezTo>
                      <a:pt x="35" y="232"/>
                      <a:pt x="22" y="235"/>
                      <a:pt x="6" y="233"/>
                    </a:cubicBezTo>
                    <a:cubicBezTo>
                      <a:pt x="5" y="233"/>
                      <a:pt x="7" y="232"/>
                      <a:pt x="14" y="230"/>
                    </a:cubicBezTo>
                    <a:cubicBezTo>
                      <a:pt x="16" y="230"/>
                      <a:pt x="17" y="230"/>
                      <a:pt x="17" y="229"/>
                    </a:cubicBezTo>
                    <a:cubicBezTo>
                      <a:pt x="17" y="228"/>
                      <a:pt x="15" y="227"/>
                      <a:pt x="16" y="227"/>
                    </a:cubicBezTo>
                    <a:cubicBezTo>
                      <a:pt x="21" y="222"/>
                      <a:pt x="18" y="230"/>
                      <a:pt x="25" y="227"/>
                    </a:cubicBezTo>
                    <a:cubicBezTo>
                      <a:pt x="29" y="226"/>
                      <a:pt x="38" y="225"/>
                      <a:pt x="36" y="222"/>
                    </a:cubicBezTo>
                    <a:cubicBezTo>
                      <a:pt x="35" y="222"/>
                      <a:pt x="10" y="225"/>
                      <a:pt x="9" y="225"/>
                    </a:cubicBezTo>
                    <a:cubicBezTo>
                      <a:pt x="4" y="224"/>
                      <a:pt x="0" y="216"/>
                      <a:pt x="0" y="210"/>
                    </a:cubicBezTo>
                    <a:cubicBezTo>
                      <a:pt x="1" y="208"/>
                      <a:pt x="5" y="213"/>
                      <a:pt x="7" y="212"/>
                    </a:cubicBezTo>
                    <a:cubicBezTo>
                      <a:pt x="9" y="210"/>
                      <a:pt x="6" y="209"/>
                      <a:pt x="6" y="207"/>
                    </a:cubicBezTo>
                    <a:cubicBezTo>
                      <a:pt x="7" y="202"/>
                      <a:pt x="16" y="205"/>
                      <a:pt x="21" y="204"/>
                    </a:cubicBezTo>
                    <a:cubicBezTo>
                      <a:pt x="25" y="203"/>
                      <a:pt x="30" y="204"/>
                      <a:pt x="33" y="201"/>
                    </a:cubicBezTo>
                    <a:cubicBezTo>
                      <a:pt x="35" y="199"/>
                      <a:pt x="27" y="195"/>
                      <a:pt x="25" y="197"/>
                    </a:cubicBezTo>
                    <a:cubicBezTo>
                      <a:pt x="24" y="198"/>
                      <a:pt x="26" y="200"/>
                      <a:pt x="25" y="201"/>
                    </a:cubicBezTo>
                    <a:cubicBezTo>
                      <a:pt x="24" y="201"/>
                      <a:pt x="7" y="193"/>
                      <a:pt x="4" y="188"/>
                    </a:cubicBezTo>
                    <a:cubicBezTo>
                      <a:pt x="3" y="187"/>
                      <a:pt x="7" y="190"/>
                      <a:pt x="8" y="189"/>
                    </a:cubicBezTo>
                    <a:cubicBezTo>
                      <a:pt x="9" y="189"/>
                      <a:pt x="8" y="187"/>
                      <a:pt x="9" y="186"/>
                    </a:cubicBezTo>
                    <a:cubicBezTo>
                      <a:pt x="12" y="184"/>
                      <a:pt x="20" y="185"/>
                      <a:pt x="24" y="186"/>
                    </a:cubicBezTo>
                    <a:cubicBezTo>
                      <a:pt x="29" y="186"/>
                      <a:pt x="32" y="191"/>
                      <a:pt x="37" y="193"/>
                    </a:cubicBezTo>
                    <a:cubicBezTo>
                      <a:pt x="42" y="195"/>
                      <a:pt x="29" y="184"/>
                      <a:pt x="31" y="179"/>
                    </a:cubicBezTo>
                    <a:cubicBezTo>
                      <a:pt x="32" y="175"/>
                      <a:pt x="39" y="178"/>
                      <a:pt x="43" y="176"/>
                    </a:cubicBezTo>
                    <a:cubicBezTo>
                      <a:pt x="46" y="175"/>
                      <a:pt x="46" y="172"/>
                      <a:pt x="48" y="171"/>
                    </a:cubicBezTo>
                    <a:cubicBezTo>
                      <a:pt x="48" y="171"/>
                      <a:pt x="85" y="178"/>
                      <a:pt x="89" y="175"/>
                    </a:cubicBezTo>
                    <a:cubicBezTo>
                      <a:pt x="91" y="174"/>
                      <a:pt x="81" y="174"/>
                      <a:pt x="79" y="171"/>
                    </a:cubicBezTo>
                    <a:cubicBezTo>
                      <a:pt x="79" y="170"/>
                      <a:pt x="81" y="167"/>
                      <a:pt x="81" y="165"/>
                    </a:cubicBezTo>
                    <a:cubicBezTo>
                      <a:pt x="80" y="164"/>
                      <a:pt x="69" y="175"/>
                      <a:pt x="63" y="175"/>
                    </a:cubicBezTo>
                    <a:cubicBezTo>
                      <a:pt x="62" y="174"/>
                      <a:pt x="66" y="171"/>
                      <a:pt x="65" y="171"/>
                    </a:cubicBezTo>
                    <a:cubicBezTo>
                      <a:pt x="63" y="170"/>
                      <a:pt x="61" y="172"/>
                      <a:pt x="59" y="172"/>
                    </a:cubicBezTo>
                    <a:cubicBezTo>
                      <a:pt x="56" y="171"/>
                      <a:pt x="55" y="170"/>
                      <a:pt x="53" y="168"/>
                    </a:cubicBezTo>
                    <a:cubicBezTo>
                      <a:pt x="53" y="167"/>
                      <a:pt x="54" y="166"/>
                      <a:pt x="53" y="165"/>
                    </a:cubicBezTo>
                    <a:cubicBezTo>
                      <a:pt x="53" y="165"/>
                      <a:pt x="37" y="169"/>
                      <a:pt x="35" y="167"/>
                    </a:cubicBezTo>
                    <a:cubicBezTo>
                      <a:pt x="33" y="167"/>
                      <a:pt x="39" y="167"/>
                      <a:pt x="40" y="167"/>
                    </a:cubicBezTo>
                    <a:cubicBezTo>
                      <a:pt x="45" y="165"/>
                      <a:pt x="48" y="162"/>
                      <a:pt x="53" y="160"/>
                    </a:cubicBezTo>
                    <a:cubicBezTo>
                      <a:pt x="54" y="159"/>
                      <a:pt x="56" y="161"/>
                      <a:pt x="57" y="160"/>
                    </a:cubicBezTo>
                    <a:cubicBezTo>
                      <a:pt x="60" y="158"/>
                      <a:pt x="60" y="154"/>
                      <a:pt x="63" y="151"/>
                    </a:cubicBezTo>
                    <a:cubicBezTo>
                      <a:pt x="64" y="150"/>
                      <a:pt x="66" y="149"/>
                      <a:pt x="68" y="149"/>
                    </a:cubicBezTo>
                    <a:cubicBezTo>
                      <a:pt x="69" y="148"/>
                      <a:pt x="64" y="149"/>
                      <a:pt x="62" y="147"/>
                    </a:cubicBezTo>
                    <a:cubicBezTo>
                      <a:pt x="60" y="144"/>
                      <a:pt x="68" y="142"/>
                      <a:pt x="70" y="140"/>
                    </a:cubicBezTo>
                    <a:cubicBezTo>
                      <a:pt x="72" y="137"/>
                      <a:pt x="73" y="135"/>
                      <a:pt x="75" y="134"/>
                    </a:cubicBezTo>
                    <a:cubicBezTo>
                      <a:pt x="77" y="133"/>
                      <a:pt x="78" y="138"/>
                      <a:pt x="79" y="137"/>
                    </a:cubicBezTo>
                    <a:cubicBezTo>
                      <a:pt x="84" y="137"/>
                      <a:pt x="89" y="136"/>
                      <a:pt x="92" y="133"/>
                    </a:cubicBezTo>
                    <a:cubicBezTo>
                      <a:pt x="94" y="133"/>
                      <a:pt x="88" y="134"/>
                      <a:pt x="88" y="132"/>
                    </a:cubicBezTo>
                    <a:cubicBezTo>
                      <a:pt x="88" y="131"/>
                      <a:pt x="92" y="131"/>
                      <a:pt x="92" y="129"/>
                    </a:cubicBezTo>
                    <a:cubicBezTo>
                      <a:pt x="91" y="128"/>
                      <a:pt x="80" y="130"/>
                      <a:pt x="68" y="127"/>
                    </a:cubicBezTo>
                    <a:cubicBezTo>
                      <a:pt x="56" y="123"/>
                      <a:pt x="68" y="124"/>
                      <a:pt x="65" y="114"/>
                    </a:cubicBezTo>
                    <a:cubicBezTo>
                      <a:pt x="62" y="104"/>
                      <a:pt x="46" y="111"/>
                      <a:pt x="42" y="105"/>
                    </a:cubicBezTo>
                    <a:cubicBezTo>
                      <a:pt x="29" y="88"/>
                      <a:pt x="52" y="95"/>
                      <a:pt x="53" y="95"/>
                    </a:cubicBezTo>
                    <a:cubicBezTo>
                      <a:pt x="53" y="94"/>
                      <a:pt x="51" y="93"/>
                      <a:pt x="51" y="92"/>
                    </a:cubicBezTo>
                    <a:cubicBezTo>
                      <a:pt x="53" y="88"/>
                      <a:pt x="56" y="84"/>
                      <a:pt x="61" y="83"/>
                    </a:cubicBezTo>
                    <a:cubicBezTo>
                      <a:pt x="65" y="82"/>
                      <a:pt x="69" y="85"/>
                      <a:pt x="74" y="85"/>
                    </a:cubicBezTo>
                    <a:cubicBezTo>
                      <a:pt x="75" y="85"/>
                      <a:pt x="76" y="85"/>
                      <a:pt x="77" y="84"/>
                    </a:cubicBezTo>
                    <a:cubicBezTo>
                      <a:pt x="84" y="66"/>
                      <a:pt x="63" y="79"/>
                      <a:pt x="62" y="74"/>
                    </a:cubicBezTo>
                    <a:cubicBezTo>
                      <a:pt x="61" y="72"/>
                      <a:pt x="67" y="74"/>
                      <a:pt x="69" y="72"/>
                    </a:cubicBezTo>
                    <a:cubicBezTo>
                      <a:pt x="72" y="70"/>
                      <a:pt x="66" y="64"/>
                      <a:pt x="66" y="64"/>
                    </a:cubicBezTo>
                    <a:cubicBezTo>
                      <a:pt x="66" y="60"/>
                      <a:pt x="71" y="55"/>
                      <a:pt x="68" y="51"/>
                    </a:cubicBezTo>
                    <a:cubicBezTo>
                      <a:pt x="66" y="49"/>
                      <a:pt x="61" y="58"/>
                      <a:pt x="59" y="55"/>
                    </a:cubicBezTo>
                    <a:cubicBezTo>
                      <a:pt x="57" y="53"/>
                      <a:pt x="62" y="50"/>
                      <a:pt x="64" y="47"/>
                    </a:cubicBezTo>
                    <a:cubicBezTo>
                      <a:pt x="64" y="45"/>
                      <a:pt x="59" y="46"/>
                      <a:pt x="64" y="45"/>
                    </a:cubicBezTo>
                    <a:cubicBezTo>
                      <a:pt x="69" y="43"/>
                      <a:pt x="95" y="43"/>
                      <a:pt x="98" y="51"/>
                    </a:cubicBezTo>
                    <a:cubicBezTo>
                      <a:pt x="100" y="55"/>
                      <a:pt x="98" y="61"/>
                      <a:pt x="101" y="62"/>
                    </a:cubicBezTo>
                    <a:cubicBezTo>
                      <a:pt x="104" y="63"/>
                      <a:pt x="104" y="56"/>
                      <a:pt x="107" y="55"/>
                    </a:cubicBezTo>
                    <a:cubicBezTo>
                      <a:pt x="112" y="52"/>
                      <a:pt x="127" y="69"/>
                      <a:pt x="128" y="67"/>
                    </a:cubicBezTo>
                    <a:cubicBezTo>
                      <a:pt x="129" y="63"/>
                      <a:pt x="124" y="59"/>
                      <a:pt x="124" y="54"/>
                    </a:cubicBezTo>
                    <a:cubicBezTo>
                      <a:pt x="125" y="49"/>
                      <a:pt x="142" y="51"/>
                      <a:pt x="142" y="50"/>
                    </a:cubicBezTo>
                    <a:cubicBezTo>
                      <a:pt x="147" y="49"/>
                      <a:pt x="150" y="45"/>
                      <a:pt x="153" y="42"/>
                    </a:cubicBezTo>
                    <a:cubicBezTo>
                      <a:pt x="155" y="40"/>
                      <a:pt x="145" y="42"/>
                      <a:pt x="145" y="41"/>
                    </a:cubicBezTo>
                    <a:cubicBezTo>
                      <a:pt x="143" y="34"/>
                      <a:pt x="145" y="43"/>
                      <a:pt x="137" y="42"/>
                    </a:cubicBezTo>
                    <a:cubicBezTo>
                      <a:pt x="136" y="42"/>
                      <a:pt x="138" y="40"/>
                      <a:pt x="138" y="39"/>
                    </a:cubicBezTo>
                    <a:cubicBezTo>
                      <a:pt x="138" y="38"/>
                      <a:pt x="138" y="37"/>
                      <a:pt x="137" y="37"/>
                    </a:cubicBezTo>
                    <a:cubicBezTo>
                      <a:pt x="135" y="36"/>
                      <a:pt x="124" y="36"/>
                      <a:pt x="125" y="29"/>
                    </a:cubicBezTo>
                    <a:cubicBezTo>
                      <a:pt x="129" y="17"/>
                      <a:pt x="140" y="30"/>
                      <a:pt x="143" y="29"/>
                    </a:cubicBezTo>
                    <a:cubicBezTo>
                      <a:pt x="146" y="28"/>
                      <a:pt x="137" y="24"/>
                      <a:pt x="138" y="22"/>
                    </a:cubicBezTo>
                    <a:cubicBezTo>
                      <a:pt x="141" y="20"/>
                      <a:pt x="145" y="24"/>
                      <a:pt x="148" y="24"/>
                    </a:cubicBezTo>
                    <a:cubicBezTo>
                      <a:pt x="151" y="23"/>
                      <a:pt x="146" y="19"/>
                      <a:pt x="144" y="17"/>
                    </a:cubicBezTo>
                    <a:cubicBezTo>
                      <a:pt x="143" y="16"/>
                      <a:pt x="148" y="16"/>
                      <a:pt x="148" y="15"/>
                    </a:cubicBezTo>
                    <a:cubicBezTo>
                      <a:pt x="151" y="5"/>
                      <a:pt x="126" y="15"/>
                      <a:pt x="156" y="1"/>
                    </a:cubicBezTo>
                    <a:cubicBezTo>
                      <a:pt x="158" y="0"/>
                      <a:pt x="160" y="2"/>
                      <a:pt x="162" y="3"/>
                    </a:cubicBezTo>
                    <a:cubicBezTo>
                      <a:pt x="170" y="5"/>
                      <a:pt x="179" y="4"/>
                      <a:pt x="186" y="9"/>
                    </a:cubicBezTo>
                    <a:cubicBezTo>
                      <a:pt x="190" y="12"/>
                      <a:pt x="176" y="17"/>
                      <a:pt x="178" y="21"/>
                    </a:cubicBezTo>
                    <a:cubicBezTo>
                      <a:pt x="180" y="24"/>
                      <a:pt x="185" y="20"/>
                      <a:pt x="188" y="17"/>
                    </a:cubicBezTo>
                    <a:cubicBezTo>
                      <a:pt x="189" y="16"/>
                      <a:pt x="186" y="11"/>
                      <a:pt x="188" y="11"/>
                    </a:cubicBezTo>
                    <a:cubicBezTo>
                      <a:pt x="191" y="12"/>
                      <a:pt x="194" y="16"/>
                      <a:pt x="196" y="19"/>
                    </a:cubicBezTo>
                    <a:cubicBezTo>
                      <a:pt x="184" y="19"/>
                      <a:pt x="187" y="33"/>
                      <a:pt x="178" y="39"/>
                    </a:cubicBezTo>
                    <a:cubicBezTo>
                      <a:pt x="176" y="40"/>
                      <a:pt x="162" y="36"/>
                      <a:pt x="163" y="39"/>
                    </a:cubicBezTo>
                    <a:cubicBezTo>
                      <a:pt x="163" y="42"/>
                      <a:pt x="171" y="44"/>
                      <a:pt x="169" y="47"/>
                    </a:cubicBezTo>
                    <a:cubicBezTo>
                      <a:pt x="169" y="47"/>
                      <a:pt x="147" y="53"/>
                      <a:pt x="147" y="53"/>
                    </a:cubicBezTo>
                    <a:cubicBezTo>
                      <a:pt x="145" y="56"/>
                      <a:pt x="167" y="85"/>
                      <a:pt x="175" y="85"/>
                    </a:cubicBezTo>
                    <a:cubicBezTo>
                      <a:pt x="201" y="83"/>
                      <a:pt x="170" y="71"/>
                      <a:pt x="194" y="68"/>
                    </a:cubicBezTo>
                    <a:cubicBezTo>
                      <a:pt x="201" y="67"/>
                      <a:pt x="198" y="80"/>
                      <a:pt x="201" y="86"/>
                    </a:cubicBezTo>
                    <a:cubicBezTo>
                      <a:pt x="202" y="88"/>
                      <a:pt x="207" y="87"/>
                      <a:pt x="207" y="91"/>
                    </a:cubicBezTo>
                    <a:cubicBezTo>
                      <a:pt x="206" y="94"/>
                      <a:pt x="202" y="99"/>
                      <a:pt x="205" y="100"/>
                    </a:cubicBezTo>
                    <a:cubicBezTo>
                      <a:pt x="224" y="106"/>
                      <a:pt x="212" y="93"/>
                      <a:pt x="220" y="98"/>
                    </a:cubicBezTo>
                    <a:cubicBezTo>
                      <a:pt x="223" y="101"/>
                      <a:pt x="223" y="101"/>
                      <a:pt x="223" y="101"/>
                    </a:cubicBezTo>
                    <a:cubicBezTo>
                      <a:pt x="222" y="101"/>
                      <a:pt x="221" y="100"/>
                      <a:pt x="221" y="100"/>
                    </a:cubicBez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9" name="Great Britain" descr="{&quot;Key&quot;:&quot;great britain&quot;,&quot;Name&quot;:&quot;Great Britain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D24E3F68-13B3-A020-4B88-572D3163CA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50250" y="6516312"/>
                <a:ext cx="697540" cy="1328460"/>
              </a:xfrm>
              <a:custGeom>
                <a:avLst/>
                <a:gdLst>
                  <a:gd name="T0" fmla="*/ 149 w 417"/>
                  <a:gd name="T1" fmla="*/ 491 h 738"/>
                  <a:gd name="T2" fmla="*/ 229 w 417"/>
                  <a:gd name="T3" fmla="*/ 120 h 738"/>
                  <a:gd name="T4" fmla="*/ 242 w 417"/>
                  <a:gd name="T5" fmla="*/ 175 h 738"/>
                  <a:gd name="T6" fmla="*/ 227 w 417"/>
                  <a:gd name="T7" fmla="*/ 194 h 738"/>
                  <a:gd name="T8" fmla="*/ 315 w 417"/>
                  <a:gd name="T9" fmla="*/ 217 h 738"/>
                  <a:gd name="T10" fmla="*/ 243 w 417"/>
                  <a:gd name="T11" fmla="*/ 287 h 738"/>
                  <a:gd name="T12" fmla="*/ 227 w 417"/>
                  <a:gd name="T13" fmla="*/ 315 h 738"/>
                  <a:gd name="T14" fmla="*/ 297 w 417"/>
                  <a:gd name="T15" fmla="*/ 356 h 738"/>
                  <a:gd name="T16" fmla="*/ 330 w 417"/>
                  <a:gd name="T17" fmla="*/ 447 h 738"/>
                  <a:gd name="T18" fmla="*/ 353 w 417"/>
                  <a:gd name="T19" fmla="*/ 553 h 738"/>
                  <a:gd name="T20" fmla="*/ 411 w 417"/>
                  <a:gd name="T21" fmla="*/ 606 h 738"/>
                  <a:gd name="T22" fmla="*/ 357 w 417"/>
                  <a:gd name="T23" fmla="*/ 655 h 738"/>
                  <a:gd name="T24" fmla="*/ 346 w 417"/>
                  <a:gd name="T25" fmla="*/ 678 h 738"/>
                  <a:gd name="T26" fmla="*/ 383 w 417"/>
                  <a:gd name="T27" fmla="*/ 690 h 738"/>
                  <a:gd name="T28" fmla="*/ 324 w 417"/>
                  <a:gd name="T29" fmla="*/ 726 h 738"/>
                  <a:gd name="T30" fmla="*/ 269 w 417"/>
                  <a:gd name="T31" fmla="*/ 710 h 738"/>
                  <a:gd name="T32" fmla="*/ 218 w 417"/>
                  <a:gd name="T33" fmla="*/ 711 h 738"/>
                  <a:gd name="T34" fmla="*/ 198 w 417"/>
                  <a:gd name="T35" fmla="*/ 718 h 738"/>
                  <a:gd name="T36" fmla="*/ 88 w 417"/>
                  <a:gd name="T37" fmla="*/ 715 h 738"/>
                  <a:gd name="T38" fmla="*/ 40 w 417"/>
                  <a:gd name="T39" fmla="*/ 719 h 738"/>
                  <a:gd name="T40" fmla="*/ 90 w 417"/>
                  <a:gd name="T41" fmla="*/ 695 h 738"/>
                  <a:gd name="T42" fmla="*/ 181 w 417"/>
                  <a:gd name="T43" fmla="*/ 666 h 738"/>
                  <a:gd name="T44" fmla="*/ 158 w 417"/>
                  <a:gd name="T45" fmla="*/ 648 h 738"/>
                  <a:gd name="T46" fmla="*/ 110 w 417"/>
                  <a:gd name="T47" fmla="*/ 619 h 738"/>
                  <a:gd name="T48" fmla="*/ 109 w 417"/>
                  <a:gd name="T49" fmla="*/ 591 h 738"/>
                  <a:gd name="T50" fmla="*/ 146 w 417"/>
                  <a:gd name="T51" fmla="*/ 521 h 738"/>
                  <a:gd name="T52" fmla="*/ 182 w 417"/>
                  <a:gd name="T53" fmla="*/ 510 h 738"/>
                  <a:gd name="T54" fmla="*/ 208 w 417"/>
                  <a:gd name="T55" fmla="*/ 494 h 738"/>
                  <a:gd name="T56" fmla="*/ 229 w 417"/>
                  <a:gd name="T57" fmla="*/ 449 h 738"/>
                  <a:gd name="T58" fmla="*/ 217 w 417"/>
                  <a:gd name="T59" fmla="*/ 394 h 738"/>
                  <a:gd name="T60" fmla="*/ 196 w 417"/>
                  <a:gd name="T61" fmla="*/ 393 h 738"/>
                  <a:gd name="T62" fmla="*/ 172 w 417"/>
                  <a:gd name="T63" fmla="*/ 383 h 738"/>
                  <a:gd name="T64" fmla="*/ 165 w 417"/>
                  <a:gd name="T65" fmla="*/ 344 h 738"/>
                  <a:gd name="T66" fmla="*/ 170 w 417"/>
                  <a:gd name="T67" fmla="*/ 301 h 738"/>
                  <a:gd name="T68" fmla="*/ 139 w 417"/>
                  <a:gd name="T69" fmla="*/ 320 h 738"/>
                  <a:gd name="T70" fmla="*/ 131 w 417"/>
                  <a:gd name="T71" fmla="*/ 317 h 738"/>
                  <a:gd name="T72" fmla="*/ 147 w 417"/>
                  <a:gd name="T73" fmla="*/ 270 h 738"/>
                  <a:gd name="T74" fmla="*/ 173 w 417"/>
                  <a:gd name="T75" fmla="*/ 238 h 738"/>
                  <a:gd name="T76" fmla="*/ 114 w 417"/>
                  <a:gd name="T77" fmla="*/ 265 h 738"/>
                  <a:gd name="T78" fmla="*/ 134 w 417"/>
                  <a:gd name="T79" fmla="*/ 244 h 738"/>
                  <a:gd name="T80" fmla="*/ 160 w 417"/>
                  <a:gd name="T81" fmla="*/ 222 h 738"/>
                  <a:gd name="T82" fmla="*/ 169 w 417"/>
                  <a:gd name="T83" fmla="*/ 165 h 738"/>
                  <a:gd name="T84" fmla="*/ 190 w 417"/>
                  <a:gd name="T85" fmla="*/ 135 h 738"/>
                  <a:gd name="T86" fmla="*/ 201 w 417"/>
                  <a:gd name="T87" fmla="*/ 117 h 738"/>
                  <a:gd name="T88" fmla="*/ 376 w 417"/>
                  <a:gd name="T89" fmla="*/ 7 h 738"/>
                  <a:gd name="T90" fmla="*/ 362 w 417"/>
                  <a:gd name="T91" fmla="*/ 39 h 738"/>
                  <a:gd name="T92" fmla="*/ 375 w 417"/>
                  <a:gd name="T93" fmla="*/ 0 h 738"/>
                  <a:gd name="T94" fmla="*/ 299 w 417"/>
                  <a:gd name="T95" fmla="*/ 102 h 738"/>
                  <a:gd name="T96" fmla="*/ 96 w 417"/>
                  <a:gd name="T97" fmla="*/ 348 h 738"/>
                  <a:gd name="T98" fmla="*/ 118 w 417"/>
                  <a:gd name="T99" fmla="*/ 408 h 738"/>
                  <a:gd name="T100" fmla="*/ 62 w 417"/>
                  <a:gd name="T101" fmla="*/ 420 h 738"/>
                  <a:gd name="T102" fmla="*/ 18 w 417"/>
                  <a:gd name="T103" fmla="*/ 368 h 738"/>
                  <a:gd name="T104" fmla="*/ 133 w 417"/>
                  <a:gd name="T105" fmla="*/ 136 h 738"/>
                  <a:gd name="T106" fmla="*/ 115 w 417"/>
                  <a:gd name="T107" fmla="*/ 135 h 738"/>
                  <a:gd name="T108" fmla="*/ 144 w 417"/>
                  <a:gd name="T109" fmla="*/ 115 h 738"/>
                  <a:gd name="T110" fmla="*/ 153 w 417"/>
                  <a:gd name="T111" fmla="*/ 430 h 7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17" h="738">
                    <a:moveTo>
                      <a:pt x="149" y="491"/>
                    </a:moveTo>
                    <a:cubicBezTo>
                      <a:pt x="159" y="499"/>
                      <a:pt x="168" y="504"/>
                      <a:pt x="157" y="509"/>
                    </a:cubicBezTo>
                    <a:moveTo>
                      <a:pt x="151" y="512"/>
                    </a:moveTo>
                    <a:cubicBezTo>
                      <a:pt x="149" y="513"/>
                      <a:pt x="147" y="513"/>
                      <a:pt x="146" y="513"/>
                    </a:cubicBezTo>
                    <a:cubicBezTo>
                      <a:pt x="144" y="513"/>
                      <a:pt x="147" y="511"/>
                      <a:pt x="147" y="510"/>
                    </a:cubicBezTo>
                    <a:cubicBezTo>
                      <a:pt x="143" y="498"/>
                      <a:pt x="135" y="496"/>
                      <a:pt x="149" y="491"/>
                    </a:cubicBezTo>
                    <a:moveTo>
                      <a:pt x="207" y="107"/>
                    </a:moveTo>
                    <a:cubicBezTo>
                      <a:pt x="211" y="109"/>
                      <a:pt x="218" y="112"/>
                      <a:pt x="219" y="116"/>
                    </a:cubicBezTo>
                    <a:cubicBezTo>
                      <a:pt x="219" y="119"/>
                      <a:pt x="211" y="124"/>
                      <a:pt x="213" y="123"/>
                    </a:cubicBezTo>
                    <a:cubicBezTo>
                      <a:pt x="216" y="120"/>
                      <a:pt x="217" y="113"/>
                      <a:pt x="221" y="114"/>
                    </a:cubicBezTo>
                    <a:cubicBezTo>
                      <a:pt x="225" y="115"/>
                      <a:pt x="221" y="123"/>
                      <a:pt x="224" y="125"/>
                    </a:cubicBezTo>
                    <a:cubicBezTo>
                      <a:pt x="226" y="126"/>
                      <a:pt x="227" y="120"/>
                      <a:pt x="229" y="120"/>
                    </a:cubicBezTo>
                    <a:cubicBezTo>
                      <a:pt x="238" y="117"/>
                      <a:pt x="257" y="121"/>
                      <a:pt x="268" y="123"/>
                    </a:cubicBezTo>
                    <a:cubicBezTo>
                      <a:pt x="273" y="123"/>
                      <a:pt x="279" y="119"/>
                      <a:pt x="282" y="123"/>
                    </a:cubicBezTo>
                    <a:cubicBezTo>
                      <a:pt x="285" y="125"/>
                      <a:pt x="277" y="128"/>
                      <a:pt x="276" y="132"/>
                    </a:cubicBezTo>
                    <a:cubicBezTo>
                      <a:pt x="275" y="135"/>
                      <a:pt x="276" y="138"/>
                      <a:pt x="275" y="142"/>
                    </a:cubicBezTo>
                    <a:cubicBezTo>
                      <a:pt x="273" y="145"/>
                      <a:pt x="238" y="166"/>
                      <a:pt x="231" y="171"/>
                    </a:cubicBezTo>
                    <a:cubicBezTo>
                      <a:pt x="220" y="180"/>
                      <a:pt x="236" y="170"/>
                      <a:pt x="242" y="175"/>
                    </a:cubicBezTo>
                    <a:cubicBezTo>
                      <a:pt x="244" y="176"/>
                      <a:pt x="239" y="178"/>
                      <a:pt x="237" y="180"/>
                    </a:cubicBezTo>
                    <a:cubicBezTo>
                      <a:pt x="235" y="181"/>
                      <a:pt x="234" y="184"/>
                      <a:pt x="231" y="185"/>
                    </a:cubicBezTo>
                    <a:cubicBezTo>
                      <a:pt x="230" y="185"/>
                      <a:pt x="231" y="181"/>
                      <a:pt x="230" y="181"/>
                    </a:cubicBezTo>
                    <a:cubicBezTo>
                      <a:pt x="228" y="180"/>
                      <a:pt x="226" y="182"/>
                      <a:pt x="224" y="183"/>
                    </a:cubicBezTo>
                    <a:cubicBezTo>
                      <a:pt x="220" y="185"/>
                      <a:pt x="220" y="180"/>
                      <a:pt x="218" y="184"/>
                    </a:cubicBezTo>
                    <a:cubicBezTo>
                      <a:pt x="213" y="194"/>
                      <a:pt x="224" y="198"/>
                      <a:pt x="227" y="194"/>
                    </a:cubicBezTo>
                    <a:cubicBezTo>
                      <a:pt x="228" y="193"/>
                      <a:pt x="225" y="192"/>
                      <a:pt x="226" y="192"/>
                    </a:cubicBezTo>
                    <a:cubicBezTo>
                      <a:pt x="229" y="191"/>
                      <a:pt x="232" y="193"/>
                      <a:pt x="235" y="193"/>
                    </a:cubicBezTo>
                    <a:cubicBezTo>
                      <a:pt x="241" y="193"/>
                      <a:pt x="249" y="186"/>
                      <a:pt x="257" y="188"/>
                    </a:cubicBezTo>
                    <a:cubicBezTo>
                      <a:pt x="261" y="188"/>
                      <a:pt x="264" y="192"/>
                      <a:pt x="268" y="193"/>
                    </a:cubicBezTo>
                    <a:cubicBezTo>
                      <a:pt x="278" y="196"/>
                      <a:pt x="310" y="195"/>
                      <a:pt x="315" y="207"/>
                    </a:cubicBezTo>
                    <a:cubicBezTo>
                      <a:pt x="316" y="210"/>
                      <a:pt x="316" y="214"/>
                      <a:pt x="315" y="217"/>
                    </a:cubicBezTo>
                    <a:cubicBezTo>
                      <a:pt x="302" y="230"/>
                      <a:pt x="302" y="230"/>
                      <a:pt x="302" y="230"/>
                    </a:cubicBezTo>
                    <a:cubicBezTo>
                      <a:pt x="301" y="232"/>
                      <a:pt x="299" y="235"/>
                      <a:pt x="299" y="238"/>
                    </a:cubicBezTo>
                    <a:cubicBezTo>
                      <a:pt x="298" y="239"/>
                      <a:pt x="299" y="240"/>
                      <a:pt x="299" y="241"/>
                    </a:cubicBezTo>
                    <a:cubicBezTo>
                      <a:pt x="294" y="249"/>
                      <a:pt x="271" y="283"/>
                      <a:pt x="263" y="283"/>
                    </a:cubicBezTo>
                    <a:cubicBezTo>
                      <a:pt x="252" y="284"/>
                      <a:pt x="248" y="279"/>
                      <a:pt x="238" y="286"/>
                    </a:cubicBezTo>
                    <a:cubicBezTo>
                      <a:pt x="237" y="287"/>
                      <a:pt x="242" y="288"/>
                      <a:pt x="243" y="287"/>
                    </a:cubicBezTo>
                    <a:cubicBezTo>
                      <a:pt x="248" y="287"/>
                      <a:pt x="252" y="284"/>
                      <a:pt x="256" y="283"/>
                    </a:cubicBezTo>
                    <a:cubicBezTo>
                      <a:pt x="264" y="283"/>
                      <a:pt x="258" y="288"/>
                      <a:pt x="258" y="290"/>
                    </a:cubicBezTo>
                    <a:cubicBezTo>
                      <a:pt x="260" y="294"/>
                      <a:pt x="267" y="295"/>
                      <a:pt x="267" y="299"/>
                    </a:cubicBezTo>
                    <a:cubicBezTo>
                      <a:pt x="265" y="311"/>
                      <a:pt x="253" y="301"/>
                      <a:pt x="250" y="301"/>
                    </a:cubicBezTo>
                    <a:cubicBezTo>
                      <a:pt x="232" y="304"/>
                      <a:pt x="264" y="311"/>
                      <a:pt x="227" y="309"/>
                    </a:cubicBezTo>
                    <a:cubicBezTo>
                      <a:pt x="226" y="309"/>
                      <a:pt x="226" y="315"/>
                      <a:pt x="227" y="315"/>
                    </a:cubicBezTo>
                    <a:cubicBezTo>
                      <a:pt x="231" y="317"/>
                      <a:pt x="226" y="313"/>
                      <a:pt x="230" y="314"/>
                    </a:cubicBezTo>
                    <a:cubicBezTo>
                      <a:pt x="235" y="315"/>
                      <a:pt x="245" y="322"/>
                      <a:pt x="250" y="319"/>
                    </a:cubicBezTo>
                    <a:cubicBezTo>
                      <a:pt x="252" y="317"/>
                      <a:pt x="253" y="313"/>
                      <a:pt x="255" y="312"/>
                    </a:cubicBezTo>
                    <a:cubicBezTo>
                      <a:pt x="256" y="311"/>
                      <a:pt x="277" y="327"/>
                      <a:pt x="280" y="330"/>
                    </a:cubicBezTo>
                    <a:cubicBezTo>
                      <a:pt x="284" y="332"/>
                      <a:pt x="285" y="347"/>
                      <a:pt x="289" y="351"/>
                    </a:cubicBezTo>
                    <a:cubicBezTo>
                      <a:pt x="292" y="353"/>
                      <a:pt x="295" y="354"/>
                      <a:pt x="297" y="356"/>
                    </a:cubicBezTo>
                    <a:cubicBezTo>
                      <a:pt x="297" y="357"/>
                      <a:pt x="296" y="358"/>
                      <a:pt x="296" y="360"/>
                    </a:cubicBezTo>
                    <a:cubicBezTo>
                      <a:pt x="296" y="364"/>
                      <a:pt x="296" y="368"/>
                      <a:pt x="296" y="371"/>
                    </a:cubicBezTo>
                    <a:cubicBezTo>
                      <a:pt x="296" y="381"/>
                      <a:pt x="300" y="423"/>
                      <a:pt x="303" y="431"/>
                    </a:cubicBezTo>
                    <a:cubicBezTo>
                      <a:pt x="304" y="433"/>
                      <a:pt x="305" y="429"/>
                      <a:pt x="306" y="430"/>
                    </a:cubicBezTo>
                    <a:cubicBezTo>
                      <a:pt x="309" y="430"/>
                      <a:pt x="310" y="433"/>
                      <a:pt x="312" y="434"/>
                    </a:cubicBezTo>
                    <a:cubicBezTo>
                      <a:pt x="323" y="440"/>
                      <a:pt x="320" y="435"/>
                      <a:pt x="330" y="447"/>
                    </a:cubicBezTo>
                    <a:cubicBezTo>
                      <a:pt x="333" y="451"/>
                      <a:pt x="332" y="458"/>
                      <a:pt x="335" y="463"/>
                    </a:cubicBezTo>
                    <a:cubicBezTo>
                      <a:pt x="337" y="469"/>
                      <a:pt x="345" y="463"/>
                      <a:pt x="345" y="474"/>
                    </a:cubicBezTo>
                    <a:cubicBezTo>
                      <a:pt x="345" y="478"/>
                      <a:pt x="339" y="478"/>
                      <a:pt x="339" y="481"/>
                    </a:cubicBezTo>
                    <a:cubicBezTo>
                      <a:pt x="336" y="490"/>
                      <a:pt x="347" y="503"/>
                      <a:pt x="349" y="511"/>
                    </a:cubicBezTo>
                    <a:cubicBezTo>
                      <a:pt x="352" y="522"/>
                      <a:pt x="343" y="506"/>
                      <a:pt x="342" y="518"/>
                    </a:cubicBezTo>
                    <a:cubicBezTo>
                      <a:pt x="342" y="521"/>
                      <a:pt x="363" y="542"/>
                      <a:pt x="353" y="553"/>
                    </a:cubicBezTo>
                    <a:cubicBezTo>
                      <a:pt x="345" y="561"/>
                      <a:pt x="341" y="552"/>
                      <a:pt x="336" y="566"/>
                    </a:cubicBezTo>
                    <a:cubicBezTo>
                      <a:pt x="335" y="568"/>
                      <a:pt x="340" y="566"/>
                      <a:pt x="341" y="567"/>
                    </a:cubicBezTo>
                    <a:cubicBezTo>
                      <a:pt x="343" y="568"/>
                      <a:pt x="344" y="572"/>
                      <a:pt x="345" y="573"/>
                    </a:cubicBezTo>
                    <a:cubicBezTo>
                      <a:pt x="347" y="575"/>
                      <a:pt x="350" y="578"/>
                      <a:pt x="352" y="577"/>
                    </a:cubicBezTo>
                    <a:cubicBezTo>
                      <a:pt x="363" y="569"/>
                      <a:pt x="354" y="562"/>
                      <a:pt x="366" y="564"/>
                    </a:cubicBezTo>
                    <a:cubicBezTo>
                      <a:pt x="385" y="567"/>
                      <a:pt x="417" y="575"/>
                      <a:pt x="411" y="606"/>
                    </a:cubicBezTo>
                    <a:cubicBezTo>
                      <a:pt x="409" y="615"/>
                      <a:pt x="396" y="641"/>
                      <a:pt x="387" y="644"/>
                    </a:cubicBezTo>
                    <a:cubicBezTo>
                      <a:pt x="383" y="645"/>
                      <a:pt x="378" y="639"/>
                      <a:pt x="377" y="641"/>
                    </a:cubicBezTo>
                    <a:cubicBezTo>
                      <a:pt x="372" y="652"/>
                      <a:pt x="398" y="649"/>
                      <a:pt x="376" y="655"/>
                    </a:cubicBezTo>
                    <a:cubicBezTo>
                      <a:pt x="374" y="655"/>
                      <a:pt x="373" y="654"/>
                      <a:pt x="371" y="653"/>
                    </a:cubicBezTo>
                    <a:cubicBezTo>
                      <a:pt x="371" y="653"/>
                      <a:pt x="371" y="652"/>
                      <a:pt x="370" y="652"/>
                    </a:cubicBezTo>
                    <a:cubicBezTo>
                      <a:pt x="366" y="653"/>
                      <a:pt x="359" y="652"/>
                      <a:pt x="357" y="655"/>
                    </a:cubicBezTo>
                    <a:cubicBezTo>
                      <a:pt x="355" y="658"/>
                      <a:pt x="365" y="654"/>
                      <a:pt x="367" y="657"/>
                    </a:cubicBezTo>
                    <a:cubicBezTo>
                      <a:pt x="370" y="659"/>
                      <a:pt x="368" y="663"/>
                      <a:pt x="366" y="666"/>
                    </a:cubicBezTo>
                    <a:cubicBezTo>
                      <a:pt x="362" y="674"/>
                      <a:pt x="349" y="669"/>
                      <a:pt x="343" y="671"/>
                    </a:cubicBezTo>
                    <a:cubicBezTo>
                      <a:pt x="341" y="671"/>
                      <a:pt x="337" y="673"/>
                      <a:pt x="339" y="674"/>
                    </a:cubicBezTo>
                    <a:cubicBezTo>
                      <a:pt x="339" y="674"/>
                      <a:pt x="355" y="669"/>
                      <a:pt x="355" y="676"/>
                    </a:cubicBezTo>
                    <a:cubicBezTo>
                      <a:pt x="354" y="679"/>
                      <a:pt x="348" y="676"/>
                      <a:pt x="346" y="678"/>
                    </a:cubicBezTo>
                    <a:cubicBezTo>
                      <a:pt x="344" y="679"/>
                      <a:pt x="350" y="682"/>
                      <a:pt x="353" y="681"/>
                    </a:cubicBezTo>
                    <a:cubicBezTo>
                      <a:pt x="354" y="680"/>
                      <a:pt x="354" y="676"/>
                      <a:pt x="355" y="676"/>
                    </a:cubicBezTo>
                    <a:cubicBezTo>
                      <a:pt x="358" y="676"/>
                      <a:pt x="360" y="678"/>
                      <a:pt x="362" y="680"/>
                    </a:cubicBezTo>
                    <a:cubicBezTo>
                      <a:pt x="370" y="687"/>
                      <a:pt x="346" y="683"/>
                      <a:pt x="362" y="686"/>
                    </a:cubicBezTo>
                    <a:cubicBezTo>
                      <a:pt x="370" y="687"/>
                      <a:pt x="379" y="681"/>
                      <a:pt x="387" y="684"/>
                    </a:cubicBezTo>
                    <a:cubicBezTo>
                      <a:pt x="389" y="685"/>
                      <a:pt x="384" y="688"/>
                      <a:pt x="383" y="690"/>
                    </a:cubicBezTo>
                    <a:cubicBezTo>
                      <a:pt x="382" y="694"/>
                      <a:pt x="383" y="698"/>
                      <a:pt x="382" y="702"/>
                    </a:cubicBezTo>
                    <a:cubicBezTo>
                      <a:pt x="380" y="708"/>
                      <a:pt x="370" y="706"/>
                      <a:pt x="365" y="709"/>
                    </a:cubicBezTo>
                    <a:cubicBezTo>
                      <a:pt x="362" y="710"/>
                      <a:pt x="364" y="716"/>
                      <a:pt x="361" y="717"/>
                    </a:cubicBezTo>
                    <a:cubicBezTo>
                      <a:pt x="351" y="721"/>
                      <a:pt x="356" y="712"/>
                      <a:pt x="350" y="715"/>
                    </a:cubicBezTo>
                    <a:cubicBezTo>
                      <a:pt x="344" y="719"/>
                      <a:pt x="338" y="718"/>
                      <a:pt x="332" y="721"/>
                    </a:cubicBezTo>
                    <a:cubicBezTo>
                      <a:pt x="329" y="722"/>
                      <a:pt x="328" y="726"/>
                      <a:pt x="324" y="726"/>
                    </a:cubicBezTo>
                    <a:cubicBezTo>
                      <a:pt x="319" y="726"/>
                      <a:pt x="310" y="717"/>
                      <a:pt x="305" y="715"/>
                    </a:cubicBezTo>
                    <a:cubicBezTo>
                      <a:pt x="301" y="715"/>
                      <a:pt x="273" y="722"/>
                      <a:pt x="271" y="715"/>
                    </a:cubicBezTo>
                    <a:cubicBezTo>
                      <a:pt x="271" y="713"/>
                      <a:pt x="279" y="715"/>
                      <a:pt x="273" y="711"/>
                    </a:cubicBezTo>
                    <a:cubicBezTo>
                      <a:pt x="269" y="709"/>
                      <a:pt x="271" y="714"/>
                      <a:pt x="270" y="715"/>
                    </a:cubicBezTo>
                    <a:cubicBezTo>
                      <a:pt x="269" y="716"/>
                      <a:pt x="267" y="715"/>
                      <a:pt x="267" y="714"/>
                    </a:cubicBezTo>
                    <a:cubicBezTo>
                      <a:pt x="267" y="712"/>
                      <a:pt x="271" y="710"/>
                      <a:pt x="269" y="710"/>
                    </a:cubicBezTo>
                    <a:cubicBezTo>
                      <a:pt x="267" y="710"/>
                      <a:pt x="266" y="714"/>
                      <a:pt x="264" y="713"/>
                    </a:cubicBezTo>
                    <a:cubicBezTo>
                      <a:pt x="262" y="713"/>
                      <a:pt x="266" y="710"/>
                      <a:pt x="264" y="708"/>
                    </a:cubicBezTo>
                    <a:cubicBezTo>
                      <a:pt x="260" y="703"/>
                      <a:pt x="263" y="713"/>
                      <a:pt x="261" y="713"/>
                    </a:cubicBezTo>
                    <a:cubicBezTo>
                      <a:pt x="254" y="710"/>
                      <a:pt x="249" y="699"/>
                      <a:pt x="247" y="701"/>
                    </a:cubicBezTo>
                    <a:cubicBezTo>
                      <a:pt x="245" y="704"/>
                      <a:pt x="252" y="708"/>
                      <a:pt x="251" y="711"/>
                    </a:cubicBezTo>
                    <a:cubicBezTo>
                      <a:pt x="251" y="717"/>
                      <a:pt x="219" y="709"/>
                      <a:pt x="218" y="711"/>
                    </a:cubicBezTo>
                    <a:cubicBezTo>
                      <a:pt x="216" y="714"/>
                      <a:pt x="222" y="718"/>
                      <a:pt x="221" y="721"/>
                    </a:cubicBezTo>
                    <a:cubicBezTo>
                      <a:pt x="221" y="723"/>
                      <a:pt x="218" y="721"/>
                      <a:pt x="216" y="721"/>
                    </a:cubicBezTo>
                    <a:cubicBezTo>
                      <a:pt x="216" y="721"/>
                      <a:pt x="216" y="721"/>
                      <a:pt x="216" y="721"/>
                    </a:cubicBezTo>
                    <a:cubicBezTo>
                      <a:pt x="213" y="719"/>
                      <a:pt x="204" y="713"/>
                      <a:pt x="201" y="714"/>
                    </a:cubicBezTo>
                    <a:cubicBezTo>
                      <a:pt x="198" y="715"/>
                      <a:pt x="199" y="721"/>
                      <a:pt x="197" y="723"/>
                    </a:cubicBezTo>
                    <a:cubicBezTo>
                      <a:pt x="196" y="725"/>
                      <a:pt x="198" y="720"/>
                      <a:pt x="198" y="718"/>
                    </a:cubicBezTo>
                    <a:cubicBezTo>
                      <a:pt x="196" y="715"/>
                      <a:pt x="194" y="713"/>
                      <a:pt x="191" y="711"/>
                    </a:cubicBezTo>
                    <a:cubicBezTo>
                      <a:pt x="183" y="704"/>
                      <a:pt x="162" y="698"/>
                      <a:pt x="152" y="702"/>
                    </a:cubicBezTo>
                    <a:cubicBezTo>
                      <a:pt x="152" y="702"/>
                      <a:pt x="146" y="730"/>
                      <a:pt x="137" y="734"/>
                    </a:cubicBezTo>
                    <a:cubicBezTo>
                      <a:pt x="130" y="736"/>
                      <a:pt x="118" y="720"/>
                      <a:pt x="114" y="718"/>
                    </a:cubicBezTo>
                    <a:cubicBezTo>
                      <a:pt x="111" y="716"/>
                      <a:pt x="120" y="723"/>
                      <a:pt x="112" y="721"/>
                    </a:cubicBezTo>
                    <a:cubicBezTo>
                      <a:pt x="105" y="719"/>
                      <a:pt x="96" y="713"/>
                      <a:pt x="88" y="715"/>
                    </a:cubicBezTo>
                    <a:cubicBezTo>
                      <a:pt x="85" y="715"/>
                      <a:pt x="86" y="721"/>
                      <a:pt x="84" y="722"/>
                    </a:cubicBezTo>
                    <a:cubicBezTo>
                      <a:pt x="80" y="723"/>
                      <a:pt x="77" y="721"/>
                      <a:pt x="73" y="721"/>
                    </a:cubicBezTo>
                    <a:cubicBezTo>
                      <a:pt x="72" y="721"/>
                      <a:pt x="71" y="721"/>
                      <a:pt x="71" y="721"/>
                    </a:cubicBezTo>
                    <a:cubicBezTo>
                      <a:pt x="70" y="724"/>
                      <a:pt x="63" y="738"/>
                      <a:pt x="61" y="738"/>
                    </a:cubicBezTo>
                    <a:cubicBezTo>
                      <a:pt x="57" y="738"/>
                      <a:pt x="59" y="730"/>
                      <a:pt x="57" y="727"/>
                    </a:cubicBezTo>
                    <a:cubicBezTo>
                      <a:pt x="53" y="722"/>
                      <a:pt x="40" y="726"/>
                      <a:pt x="40" y="719"/>
                    </a:cubicBezTo>
                    <a:cubicBezTo>
                      <a:pt x="40" y="715"/>
                      <a:pt x="62" y="714"/>
                      <a:pt x="63" y="714"/>
                    </a:cubicBezTo>
                    <a:cubicBezTo>
                      <a:pt x="65" y="714"/>
                      <a:pt x="67" y="712"/>
                      <a:pt x="69" y="709"/>
                    </a:cubicBezTo>
                    <a:cubicBezTo>
                      <a:pt x="70" y="709"/>
                      <a:pt x="69" y="706"/>
                      <a:pt x="70" y="706"/>
                    </a:cubicBezTo>
                    <a:cubicBezTo>
                      <a:pt x="71" y="705"/>
                      <a:pt x="74" y="706"/>
                      <a:pt x="75" y="706"/>
                    </a:cubicBezTo>
                    <a:cubicBezTo>
                      <a:pt x="79" y="702"/>
                      <a:pt x="80" y="697"/>
                      <a:pt x="84" y="695"/>
                    </a:cubicBezTo>
                    <a:cubicBezTo>
                      <a:pt x="86" y="693"/>
                      <a:pt x="88" y="696"/>
                      <a:pt x="90" y="695"/>
                    </a:cubicBezTo>
                    <a:cubicBezTo>
                      <a:pt x="92" y="694"/>
                      <a:pt x="91" y="692"/>
                      <a:pt x="93" y="691"/>
                    </a:cubicBezTo>
                    <a:cubicBezTo>
                      <a:pt x="96" y="688"/>
                      <a:pt x="101" y="687"/>
                      <a:pt x="104" y="684"/>
                    </a:cubicBezTo>
                    <a:cubicBezTo>
                      <a:pt x="105" y="682"/>
                      <a:pt x="105" y="669"/>
                      <a:pt x="109" y="667"/>
                    </a:cubicBezTo>
                    <a:cubicBezTo>
                      <a:pt x="111" y="666"/>
                      <a:pt x="113" y="671"/>
                      <a:pt x="116" y="671"/>
                    </a:cubicBezTo>
                    <a:cubicBezTo>
                      <a:pt x="129" y="672"/>
                      <a:pt x="113" y="653"/>
                      <a:pt x="145" y="658"/>
                    </a:cubicBezTo>
                    <a:cubicBezTo>
                      <a:pt x="156" y="660"/>
                      <a:pt x="170" y="675"/>
                      <a:pt x="181" y="666"/>
                    </a:cubicBezTo>
                    <a:cubicBezTo>
                      <a:pt x="184" y="663"/>
                      <a:pt x="183" y="658"/>
                      <a:pt x="185" y="654"/>
                    </a:cubicBezTo>
                    <a:cubicBezTo>
                      <a:pt x="185" y="653"/>
                      <a:pt x="212" y="636"/>
                      <a:pt x="216" y="632"/>
                    </a:cubicBezTo>
                    <a:cubicBezTo>
                      <a:pt x="219" y="628"/>
                      <a:pt x="201" y="640"/>
                      <a:pt x="199" y="642"/>
                    </a:cubicBezTo>
                    <a:cubicBezTo>
                      <a:pt x="196" y="643"/>
                      <a:pt x="193" y="644"/>
                      <a:pt x="190" y="644"/>
                    </a:cubicBezTo>
                    <a:cubicBezTo>
                      <a:pt x="189" y="644"/>
                      <a:pt x="187" y="641"/>
                      <a:pt x="186" y="642"/>
                    </a:cubicBezTo>
                    <a:cubicBezTo>
                      <a:pt x="172" y="646"/>
                      <a:pt x="175" y="658"/>
                      <a:pt x="158" y="648"/>
                    </a:cubicBezTo>
                    <a:cubicBezTo>
                      <a:pt x="152" y="644"/>
                      <a:pt x="153" y="635"/>
                      <a:pt x="148" y="629"/>
                    </a:cubicBezTo>
                    <a:cubicBezTo>
                      <a:pt x="144" y="625"/>
                      <a:pt x="135" y="635"/>
                      <a:pt x="130" y="632"/>
                    </a:cubicBezTo>
                    <a:cubicBezTo>
                      <a:pt x="129" y="632"/>
                      <a:pt x="127" y="614"/>
                      <a:pt x="127" y="612"/>
                    </a:cubicBezTo>
                    <a:cubicBezTo>
                      <a:pt x="126" y="611"/>
                      <a:pt x="126" y="615"/>
                      <a:pt x="125" y="615"/>
                    </a:cubicBezTo>
                    <a:cubicBezTo>
                      <a:pt x="121" y="615"/>
                      <a:pt x="126" y="611"/>
                      <a:pt x="112" y="615"/>
                    </a:cubicBezTo>
                    <a:cubicBezTo>
                      <a:pt x="110" y="615"/>
                      <a:pt x="111" y="618"/>
                      <a:pt x="110" y="619"/>
                    </a:cubicBezTo>
                    <a:cubicBezTo>
                      <a:pt x="107" y="620"/>
                      <a:pt x="102" y="622"/>
                      <a:pt x="99" y="620"/>
                    </a:cubicBezTo>
                    <a:cubicBezTo>
                      <a:pt x="96" y="620"/>
                      <a:pt x="91" y="616"/>
                      <a:pt x="92" y="614"/>
                    </a:cubicBezTo>
                    <a:cubicBezTo>
                      <a:pt x="94" y="611"/>
                      <a:pt x="99" y="613"/>
                      <a:pt x="103" y="612"/>
                    </a:cubicBezTo>
                    <a:cubicBezTo>
                      <a:pt x="104" y="612"/>
                      <a:pt x="88" y="611"/>
                      <a:pt x="87" y="609"/>
                    </a:cubicBezTo>
                    <a:cubicBezTo>
                      <a:pt x="84" y="606"/>
                      <a:pt x="86" y="601"/>
                      <a:pt x="86" y="597"/>
                    </a:cubicBezTo>
                    <a:cubicBezTo>
                      <a:pt x="86" y="586"/>
                      <a:pt x="107" y="592"/>
                      <a:pt x="109" y="591"/>
                    </a:cubicBezTo>
                    <a:cubicBezTo>
                      <a:pt x="113" y="590"/>
                      <a:pt x="113" y="584"/>
                      <a:pt x="117" y="584"/>
                    </a:cubicBezTo>
                    <a:cubicBezTo>
                      <a:pt x="120" y="584"/>
                      <a:pt x="123" y="586"/>
                      <a:pt x="126" y="586"/>
                    </a:cubicBezTo>
                    <a:cubicBezTo>
                      <a:pt x="135" y="584"/>
                      <a:pt x="153" y="568"/>
                      <a:pt x="156" y="560"/>
                    </a:cubicBezTo>
                    <a:cubicBezTo>
                      <a:pt x="157" y="558"/>
                      <a:pt x="155" y="536"/>
                      <a:pt x="152" y="533"/>
                    </a:cubicBezTo>
                    <a:cubicBezTo>
                      <a:pt x="142" y="521"/>
                      <a:pt x="131" y="555"/>
                      <a:pt x="127" y="532"/>
                    </a:cubicBezTo>
                    <a:cubicBezTo>
                      <a:pt x="126" y="528"/>
                      <a:pt x="138" y="527"/>
                      <a:pt x="146" y="521"/>
                    </a:cubicBezTo>
                    <a:cubicBezTo>
                      <a:pt x="147" y="520"/>
                      <a:pt x="146" y="517"/>
                      <a:pt x="147" y="515"/>
                    </a:cubicBezTo>
                    <a:cubicBezTo>
                      <a:pt x="148" y="513"/>
                      <a:pt x="150" y="512"/>
                      <a:pt x="151" y="512"/>
                    </a:cubicBezTo>
                    <a:cubicBezTo>
                      <a:pt x="153" y="510"/>
                      <a:pt x="155" y="510"/>
                      <a:pt x="157" y="509"/>
                    </a:cubicBezTo>
                    <a:cubicBezTo>
                      <a:pt x="161" y="509"/>
                      <a:pt x="164" y="511"/>
                      <a:pt x="172" y="508"/>
                    </a:cubicBezTo>
                    <a:cubicBezTo>
                      <a:pt x="173" y="507"/>
                      <a:pt x="170" y="503"/>
                      <a:pt x="172" y="504"/>
                    </a:cubicBezTo>
                    <a:cubicBezTo>
                      <a:pt x="176" y="504"/>
                      <a:pt x="178" y="509"/>
                      <a:pt x="182" y="510"/>
                    </a:cubicBezTo>
                    <a:cubicBezTo>
                      <a:pt x="190" y="511"/>
                      <a:pt x="191" y="503"/>
                      <a:pt x="197" y="508"/>
                    </a:cubicBezTo>
                    <a:cubicBezTo>
                      <a:pt x="200" y="511"/>
                      <a:pt x="201" y="520"/>
                      <a:pt x="204" y="517"/>
                    </a:cubicBezTo>
                    <a:cubicBezTo>
                      <a:pt x="208" y="515"/>
                      <a:pt x="202" y="509"/>
                      <a:pt x="203" y="505"/>
                    </a:cubicBezTo>
                    <a:cubicBezTo>
                      <a:pt x="203" y="503"/>
                      <a:pt x="213" y="504"/>
                      <a:pt x="221" y="513"/>
                    </a:cubicBezTo>
                    <a:cubicBezTo>
                      <a:pt x="223" y="515"/>
                      <a:pt x="216" y="513"/>
                      <a:pt x="214" y="512"/>
                    </a:cubicBezTo>
                    <a:cubicBezTo>
                      <a:pt x="209" y="509"/>
                      <a:pt x="207" y="500"/>
                      <a:pt x="208" y="494"/>
                    </a:cubicBezTo>
                    <a:cubicBezTo>
                      <a:pt x="208" y="491"/>
                      <a:pt x="212" y="488"/>
                      <a:pt x="215" y="486"/>
                    </a:cubicBezTo>
                    <a:cubicBezTo>
                      <a:pt x="217" y="484"/>
                      <a:pt x="223" y="486"/>
                      <a:pt x="222" y="483"/>
                    </a:cubicBezTo>
                    <a:cubicBezTo>
                      <a:pt x="221" y="480"/>
                      <a:pt x="214" y="480"/>
                      <a:pt x="213" y="476"/>
                    </a:cubicBezTo>
                    <a:cubicBezTo>
                      <a:pt x="206" y="460"/>
                      <a:pt x="225" y="473"/>
                      <a:pt x="225" y="466"/>
                    </a:cubicBezTo>
                    <a:cubicBezTo>
                      <a:pt x="225" y="463"/>
                      <a:pt x="221" y="464"/>
                      <a:pt x="223" y="460"/>
                    </a:cubicBezTo>
                    <a:cubicBezTo>
                      <a:pt x="224" y="456"/>
                      <a:pt x="229" y="454"/>
                      <a:pt x="229" y="449"/>
                    </a:cubicBezTo>
                    <a:cubicBezTo>
                      <a:pt x="228" y="440"/>
                      <a:pt x="221" y="456"/>
                      <a:pt x="213" y="456"/>
                    </a:cubicBezTo>
                    <a:cubicBezTo>
                      <a:pt x="208" y="456"/>
                      <a:pt x="215" y="446"/>
                      <a:pt x="213" y="441"/>
                    </a:cubicBezTo>
                    <a:cubicBezTo>
                      <a:pt x="212" y="439"/>
                      <a:pt x="210" y="446"/>
                      <a:pt x="207" y="445"/>
                    </a:cubicBezTo>
                    <a:cubicBezTo>
                      <a:pt x="200" y="443"/>
                      <a:pt x="206" y="437"/>
                      <a:pt x="206" y="433"/>
                    </a:cubicBezTo>
                    <a:cubicBezTo>
                      <a:pt x="199" y="419"/>
                      <a:pt x="199" y="419"/>
                      <a:pt x="199" y="419"/>
                    </a:cubicBezTo>
                    <a:cubicBezTo>
                      <a:pt x="198" y="412"/>
                      <a:pt x="217" y="394"/>
                      <a:pt x="217" y="394"/>
                    </a:cubicBezTo>
                    <a:cubicBezTo>
                      <a:pt x="219" y="394"/>
                      <a:pt x="218" y="397"/>
                      <a:pt x="219" y="396"/>
                    </a:cubicBezTo>
                    <a:cubicBezTo>
                      <a:pt x="224" y="395"/>
                      <a:pt x="230" y="394"/>
                      <a:pt x="231" y="390"/>
                    </a:cubicBezTo>
                    <a:cubicBezTo>
                      <a:pt x="232" y="387"/>
                      <a:pt x="224" y="390"/>
                      <a:pt x="221" y="390"/>
                    </a:cubicBezTo>
                    <a:cubicBezTo>
                      <a:pt x="219" y="389"/>
                      <a:pt x="216" y="386"/>
                      <a:pt x="213" y="387"/>
                    </a:cubicBezTo>
                    <a:cubicBezTo>
                      <a:pt x="210" y="388"/>
                      <a:pt x="208" y="392"/>
                      <a:pt x="205" y="394"/>
                    </a:cubicBezTo>
                    <a:cubicBezTo>
                      <a:pt x="202" y="395"/>
                      <a:pt x="199" y="392"/>
                      <a:pt x="196" y="393"/>
                    </a:cubicBezTo>
                    <a:cubicBezTo>
                      <a:pt x="193" y="394"/>
                      <a:pt x="191" y="397"/>
                      <a:pt x="188" y="398"/>
                    </a:cubicBezTo>
                    <a:cubicBezTo>
                      <a:pt x="187" y="399"/>
                      <a:pt x="185" y="399"/>
                      <a:pt x="185" y="397"/>
                    </a:cubicBezTo>
                    <a:cubicBezTo>
                      <a:pt x="184" y="396"/>
                      <a:pt x="187" y="393"/>
                      <a:pt x="186" y="392"/>
                    </a:cubicBezTo>
                    <a:cubicBezTo>
                      <a:pt x="184" y="392"/>
                      <a:pt x="185" y="396"/>
                      <a:pt x="183" y="397"/>
                    </a:cubicBezTo>
                    <a:cubicBezTo>
                      <a:pt x="183" y="397"/>
                      <a:pt x="182" y="397"/>
                      <a:pt x="181" y="396"/>
                    </a:cubicBezTo>
                    <a:cubicBezTo>
                      <a:pt x="178" y="393"/>
                      <a:pt x="178" y="384"/>
                      <a:pt x="172" y="383"/>
                    </a:cubicBezTo>
                    <a:cubicBezTo>
                      <a:pt x="164" y="382"/>
                      <a:pt x="175" y="391"/>
                      <a:pt x="169" y="400"/>
                    </a:cubicBezTo>
                    <a:cubicBezTo>
                      <a:pt x="167" y="404"/>
                      <a:pt x="164" y="395"/>
                      <a:pt x="162" y="391"/>
                    </a:cubicBezTo>
                    <a:cubicBezTo>
                      <a:pt x="146" y="370"/>
                      <a:pt x="163" y="395"/>
                      <a:pt x="140" y="382"/>
                    </a:cubicBezTo>
                    <a:cubicBezTo>
                      <a:pt x="135" y="378"/>
                      <a:pt x="148" y="381"/>
                      <a:pt x="148" y="378"/>
                    </a:cubicBezTo>
                    <a:cubicBezTo>
                      <a:pt x="147" y="365"/>
                      <a:pt x="150" y="366"/>
                      <a:pt x="157" y="357"/>
                    </a:cubicBezTo>
                    <a:cubicBezTo>
                      <a:pt x="172" y="341"/>
                      <a:pt x="147" y="360"/>
                      <a:pt x="165" y="344"/>
                    </a:cubicBezTo>
                    <a:cubicBezTo>
                      <a:pt x="167" y="342"/>
                      <a:pt x="171" y="342"/>
                      <a:pt x="172" y="340"/>
                    </a:cubicBezTo>
                    <a:cubicBezTo>
                      <a:pt x="174" y="336"/>
                      <a:pt x="164" y="323"/>
                      <a:pt x="163" y="322"/>
                    </a:cubicBezTo>
                    <a:cubicBezTo>
                      <a:pt x="163" y="320"/>
                      <a:pt x="166" y="320"/>
                      <a:pt x="167" y="318"/>
                    </a:cubicBezTo>
                    <a:cubicBezTo>
                      <a:pt x="168" y="314"/>
                      <a:pt x="167" y="309"/>
                      <a:pt x="168" y="305"/>
                    </a:cubicBezTo>
                    <a:cubicBezTo>
                      <a:pt x="170" y="300"/>
                      <a:pt x="175" y="305"/>
                      <a:pt x="180" y="308"/>
                    </a:cubicBezTo>
                    <a:cubicBezTo>
                      <a:pt x="199" y="316"/>
                      <a:pt x="170" y="302"/>
                      <a:pt x="170" y="301"/>
                    </a:cubicBezTo>
                    <a:cubicBezTo>
                      <a:pt x="169" y="298"/>
                      <a:pt x="170" y="293"/>
                      <a:pt x="171" y="289"/>
                    </a:cubicBezTo>
                    <a:cubicBezTo>
                      <a:pt x="171" y="286"/>
                      <a:pt x="173" y="283"/>
                      <a:pt x="172" y="280"/>
                    </a:cubicBezTo>
                    <a:cubicBezTo>
                      <a:pt x="171" y="280"/>
                      <a:pt x="148" y="292"/>
                      <a:pt x="147" y="294"/>
                    </a:cubicBezTo>
                    <a:cubicBezTo>
                      <a:pt x="142" y="298"/>
                      <a:pt x="150" y="306"/>
                      <a:pt x="148" y="312"/>
                    </a:cubicBezTo>
                    <a:cubicBezTo>
                      <a:pt x="148" y="314"/>
                      <a:pt x="143" y="314"/>
                      <a:pt x="142" y="315"/>
                    </a:cubicBezTo>
                    <a:cubicBezTo>
                      <a:pt x="140" y="317"/>
                      <a:pt x="139" y="318"/>
                      <a:pt x="139" y="320"/>
                    </a:cubicBezTo>
                    <a:cubicBezTo>
                      <a:pt x="139" y="322"/>
                      <a:pt x="140" y="324"/>
                      <a:pt x="139" y="325"/>
                    </a:cubicBezTo>
                    <a:cubicBezTo>
                      <a:pt x="138" y="330"/>
                      <a:pt x="133" y="332"/>
                      <a:pt x="131" y="336"/>
                    </a:cubicBezTo>
                    <a:cubicBezTo>
                      <a:pt x="131" y="338"/>
                      <a:pt x="134" y="340"/>
                      <a:pt x="133" y="340"/>
                    </a:cubicBezTo>
                    <a:cubicBezTo>
                      <a:pt x="129" y="343"/>
                      <a:pt x="124" y="344"/>
                      <a:pt x="120" y="343"/>
                    </a:cubicBezTo>
                    <a:cubicBezTo>
                      <a:pt x="116" y="341"/>
                      <a:pt x="124" y="336"/>
                      <a:pt x="126" y="334"/>
                    </a:cubicBezTo>
                    <a:cubicBezTo>
                      <a:pt x="129" y="329"/>
                      <a:pt x="128" y="322"/>
                      <a:pt x="131" y="317"/>
                    </a:cubicBezTo>
                    <a:cubicBezTo>
                      <a:pt x="143" y="307"/>
                      <a:pt x="143" y="307"/>
                      <a:pt x="143" y="307"/>
                    </a:cubicBezTo>
                    <a:cubicBezTo>
                      <a:pt x="142" y="304"/>
                      <a:pt x="136" y="308"/>
                      <a:pt x="135" y="305"/>
                    </a:cubicBezTo>
                    <a:cubicBezTo>
                      <a:pt x="134" y="303"/>
                      <a:pt x="150" y="293"/>
                      <a:pt x="142" y="292"/>
                    </a:cubicBezTo>
                    <a:cubicBezTo>
                      <a:pt x="139" y="291"/>
                      <a:pt x="137" y="299"/>
                      <a:pt x="134" y="297"/>
                    </a:cubicBezTo>
                    <a:cubicBezTo>
                      <a:pt x="131" y="295"/>
                      <a:pt x="142" y="292"/>
                      <a:pt x="144" y="288"/>
                    </a:cubicBezTo>
                    <a:cubicBezTo>
                      <a:pt x="147" y="284"/>
                      <a:pt x="145" y="274"/>
                      <a:pt x="147" y="270"/>
                    </a:cubicBezTo>
                    <a:cubicBezTo>
                      <a:pt x="148" y="266"/>
                      <a:pt x="151" y="263"/>
                      <a:pt x="153" y="262"/>
                    </a:cubicBezTo>
                    <a:cubicBezTo>
                      <a:pt x="156" y="262"/>
                      <a:pt x="161" y="268"/>
                      <a:pt x="161" y="265"/>
                    </a:cubicBezTo>
                    <a:cubicBezTo>
                      <a:pt x="161" y="262"/>
                      <a:pt x="155" y="262"/>
                      <a:pt x="153" y="259"/>
                    </a:cubicBezTo>
                    <a:cubicBezTo>
                      <a:pt x="150" y="252"/>
                      <a:pt x="173" y="248"/>
                      <a:pt x="173" y="248"/>
                    </a:cubicBezTo>
                    <a:cubicBezTo>
                      <a:pt x="175" y="246"/>
                      <a:pt x="166" y="248"/>
                      <a:pt x="166" y="246"/>
                    </a:cubicBezTo>
                    <a:cubicBezTo>
                      <a:pt x="166" y="242"/>
                      <a:pt x="172" y="242"/>
                      <a:pt x="173" y="238"/>
                    </a:cubicBezTo>
                    <a:cubicBezTo>
                      <a:pt x="174" y="237"/>
                      <a:pt x="169" y="240"/>
                      <a:pt x="168" y="241"/>
                    </a:cubicBezTo>
                    <a:cubicBezTo>
                      <a:pt x="164" y="244"/>
                      <a:pt x="164" y="245"/>
                      <a:pt x="161" y="247"/>
                    </a:cubicBezTo>
                    <a:cubicBezTo>
                      <a:pt x="153" y="251"/>
                      <a:pt x="147" y="257"/>
                      <a:pt x="142" y="255"/>
                    </a:cubicBezTo>
                    <a:cubicBezTo>
                      <a:pt x="142" y="256"/>
                      <a:pt x="143" y="257"/>
                      <a:pt x="144" y="257"/>
                    </a:cubicBezTo>
                    <a:cubicBezTo>
                      <a:pt x="144" y="258"/>
                      <a:pt x="147" y="259"/>
                      <a:pt x="146" y="261"/>
                    </a:cubicBezTo>
                    <a:cubicBezTo>
                      <a:pt x="141" y="265"/>
                      <a:pt x="118" y="272"/>
                      <a:pt x="114" y="265"/>
                    </a:cubicBezTo>
                    <a:cubicBezTo>
                      <a:pt x="114" y="264"/>
                      <a:pt x="114" y="262"/>
                      <a:pt x="115" y="262"/>
                    </a:cubicBezTo>
                    <a:cubicBezTo>
                      <a:pt x="126" y="258"/>
                      <a:pt x="117" y="275"/>
                      <a:pt x="131" y="255"/>
                    </a:cubicBezTo>
                    <a:cubicBezTo>
                      <a:pt x="140" y="244"/>
                      <a:pt x="105" y="250"/>
                      <a:pt x="130" y="241"/>
                    </a:cubicBezTo>
                    <a:cubicBezTo>
                      <a:pt x="131" y="244"/>
                      <a:pt x="133" y="246"/>
                      <a:pt x="134" y="248"/>
                    </a:cubicBezTo>
                    <a:cubicBezTo>
                      <a:pt x="135" y="249"/>
                      <a:pt x="136" y="250"/>
                      <a:pt x="137" y="250"/>
                    </a:cubicBezTo>
                    <a:cubicBezTo>
                      <a:pt x="136" y="249"/>
                      <a:pt x="135" y="246"/>
                      <a:pt x="134" y="244"/>
                    </a:cubicBezTo>
                    <a:cubicBezTo>
                      <a:pt x="134" y="242"/>
                      <a:pt x="138" y="244"/>
                      <a:pt x="140" y="244"/>
                    </a:cubicBezTo>
                    <a:cubicBezTo>
                      <a:pt x="144" y="244"/>
                      <a:pt x="149" y="246"/>
                      <a:pt x="153" y="244"/>
                    </a:cubicBezTo>
                    <a:cubicBezTo>
                      <a:pt x="158" y="242"/>
                      <a:pt x="122" y="242"/>
                      <a:pt x="127" y="236"/>
                    </a:cubicBezTo>
                    <a:cubicBezTo>
                      <a:pt x="130" y="231"/>
                      <a:pt x="145" y="237"/>
                      <a:pt x="146" y="235"/>
                    </a:cubicBezTo>
                    <a:cubicBezTo>
                      <a:pt x="148" y="229"/>
                      <a:pt x="132" y="223"/>
                      <a:pt x="148" y="219"/>
                    </a:cubicBezTo>
                    <a:cubicBezTo>
                      <a:pt x="152" y="218"/>
                      <a:pt x="156" y="223"/>
                      <a:pt x="160" y="222"/>
                    </a:cubicBezTo>
                    <a:cubicBezTo>
                      <a:pt x="176" y="218"/>
                      <a:pt x="156" y="208"/>
                      <a:pt x="156" y="208"/>
                    </a:cubicBezTo>
                    <a:cubicBezTo>
                      <a:pt x="158" y="204"/>
                      <a:pt x="167" y="209"/>
                      <a:pt x="169" y="206"/>
                    </a:cubicBezTo>
                    <a:cubicBezTo>
                      <a:pt x="172" y="202"/>
                      <a:pt x="170" y="197"/>
                      <a:pt x="170" y="192"/>
                    </a:cubicBezTo>
                    <a:cubicBezTo>
                      <a:pt x="170" y="189"/>
                      <a:pt x="170" y="185"/>
                      <a:pt x="169" y="183"/>
                    </a:cubicBezTo>
                    <a:cubicBezTo>
                      <a:pt x="169" y="182"/>
                      <a:pt x="150" y="162"/>
                      <a:pt x="163" y="157"/>
                    </a:cubicBezTo>
                    <a:cubicBezTo>
                      <a:pt x="165" y="155"/>
                      <a:pt x="166" y="166"/>
                      <a:pt x="169" y="165"/>
                    </a:cubicBezTo>
                    <a:cubicBezTo>
                      <a:pt x="174" y="164"/>
                      <a:pt x="168" y="151"/>
                      <a:pt x="174" y="155"/>
                    </a:cubicBezTo>
                    <a:cubicBezTo>
                      <a:pt x="183" y="160"/>
                      <a:pt x="184" y="160"/>
                      <a:pt x="184" y="160"/>
                    </a:cubicBezTo>
                    <a:cubicBezTo>
                      <a:pt x="186" y="152"/>
                      <a:pt x="180" y="152"/>
                      <a:pt x="180" y="145"/>
                    </a:cubicBezTo>
                    <a:cubicBezTo>
                      <a:pt x="180" y="142"/>
                      <a:pt x="187" y="148"/>
                      <a:pt x="189" y="145"/>
                    </a:cubicBezTo>
                    <a:cubicBezTo>
                      <a:pt x="191" y="141"/>
                      <a:pt x="186" y="136"/>
                      <a:pt x="186" y="132"/>
                    </a:cubicBezTo>
                    <a:cubicBezTo>
                      <a:pt x="186" y="130"/>
                      <a:pt x="188" y="135"/>
                      <a:pt x="190" y="135"/>
                    </a:cubicBezTo>
                    <a:cubicBezTo>
                      <a:pt x="194" y="137"/>
                      <a:pt x="200" y="140"/>
                      <a:pt x="203" y="137"/>
                    </a:cubicBezTo>
                    <a:cubicBezTo>
                      <a:pt x="205" y="134"/>
                      <a:pt x="197" y="131"/>
                      <a:pt x="196" y="128"/>
                    </a:cubicBezTo>
                    <a:cubicBezTo>
                      <a:pt x="193" y="118"/>
                      <a:pt x="202" y="125"/>
                      <a:pt x="202" y="125"/>
                    </a:cubicBezTo>
                    <a:cubicBezTo>
                      <a:pt x="203" y="124"/>
                      <a:pt x="200" y="122"/>
                      <a:pt x="200" y="121"/>
                    </a:cubicBezTo>
                    <a:cubicBezTo>
                      <a:pt x="202" y="120"/>
                      <a:pt x="204" y="123"/>
                      <a:pt x="204" y="122"/>
                    </a:cubicBezTo>
                    <a:cubicBezTo>
                      <a:pt x="204" y="120"/>
                      <a:pt x="200" y="119"/>
                      <a:pt x="201" y="117"/>
                    </a:cubicBezTo>
                    <a:cubicBezTo>
                      <a:pt x="202" y="113"/>
                      <a:pt x="205" y="111"/>
                      <a:pt x="207" y="107"/>
                    </a:cubicBezTo>
                    <a:close/>
                    <a:moveTo>
                      <a:pt x="375" y="0"/>
                    </a:moveTo>
                    <a:cubicBezTo>
                      <a:pt x="375" y="2"/>
                      <a:pt x="376" y="3"/>
                      <a:pt x="375" y="4"/>
                    </a:cubicBezTo>
                    <a:cubicBezTo>
                      <a:pt x="375" y="5"/>
                      <a:pt x="372" y="4"/>
                      <a:pt x="372" y="5"/>
                    </a:cubicBezTo>
                    <a:cubicBezTo>
                      <a:pt x="371" y="8"/>
                      <a:pt x="377" y="2"/>
                      <a:pt x="380" y="3"/>
                    </a:cubicBezTo>
                    <a:cubicBezTo>
                      <a:pt x="382" y="3"/>
                      <a:pt x="377" y="5"/>
                      <a:pt x="376" y="7"/>
                    </a:cubicBezTo>
                    <a:cubicBezTo>
                      <a:pt x="376" y="8"/>
                      <a:pt x="378" y="9"/>
                      <a:pt x="378" y="10"/>
                    </a:cubicBezTo>
                    <a:cubicBezTo>
                      <a:pt x="376" y="10"/>
                      <a:pt x="374" y="8"/>
                      <a:pt x="374" y="9"/>
                    </a:cubicBezTo>
                    <a:cubicBezTo>
                      <a:pt x="374" y="10"/>
                      <a:pt x="377" y="10"/>
                      <a:pt x="377" y="12"/>
                    </a:cubicBezTo>
                    <a:cubicBezTo>
                      <a:pt x="378" y="17"/>
                      <a:pt x="370" y="16"/>
                      <a:pt x="371" y="17"/>
                    </a:cubicBezTo>
                    <a:cubicBezTo>
                      <a:pt x="371" y="25"/>
                      <a:pt x="372" y="30"/>
                      <a:pt x="361" y="42"/>
                    </a:cubicBezTo>
                    <a:cubicBezTo>
                      <a:pt x="360" y="43"/>
                      <a:pt x="361" y="40"/>
                      <a:pt x="362" y="39"/>
                    </a:cubicBezTo>
                    <a:cubicBezTo>
                      <a:pt x="365" y="31"/>
                      <a:pt x="371" y="19"/>
                      <a:pt x="368" y="17"/>
                    </a:cubicBezTo>
                    <a:cubicBezTo>
                      <a:pt x="366" y="15"/>
                      <a:pt x="364" y="23"/>
                      <a:pt x="361" y="22"/>
                    </a:cubicBezTo>
                    <a:cubicBezTo>
                      <a:pt x="357" y="20"/>
                      <a:pt x="355" y="15"/>
                      <a:pt x="354" y="11"/>
                    </a:cubicBezTo>
                    <a:cubicBezTo>
                      <a:pt x="354" y="10"/>
                      <a:pt x="356" y="10"/>
                      <a:pt x="357" y="10"/>
                    </a:cubicBezTo>
                    <a:cubicBezTo>
                      <a:pt x="362" y="9"/>
                      <a:pt x="366" y="10"/>
                      <a:pt x="370" y="9"/>
                    </a:cubicBezTo>
                    <a:cubicBezTo>
                      <a:pt x="373" y="7"/>
                      <a:pt x="373" y="3"/>
                      <a:pt x="375" y="0"/>
                    </a:cubicBezTo>
                    <a:close/>
                    <a:moveTo>
                      <a:pt x="299" y="102"/>
                    </a:moveTo>
                    <a:cubicBezTo>
                      <a:pt x="292" y="117"/>
                      <a:pt x="258" y="85"/>
                      <a:pt x="282" y="83"/>
                    </a:cubicBezTo>
                    <a:cubicBezTo>
                      <a:pt x="285" y="83"/>
                      <a:pt x="289" y="87"/>
                      <a:pt x="289" y="91"/>
                    </a:cubicBezTo>
                    <a:cubicBezTo>
                      <a:pt x="289" y="94"/>
                      <a:pt x="282" y="93"/>
                      <a:pt x="283" y="95"/>
                    </a:cubicBezTo>
                    <a:cubicBezTo>
                      <a:pt x="285" y="98"/>
                      <a:pt x="290" y="98"/>
                      <a:pt x="293" y="99"/>
                    </a:cubicBezTo>
                    <a:cubicBezTo>
                      <a:pt x="295" y="100"/>
                      <a:pt x="297" y="101"/>
                      <a:pt x="299" y="102"/>
                    </a:cubicBezTo>
                    <a:close/>
                    <a:moveTo>
                      <a:pt x="51" y="348"/>
                    </a:moveTo>
                    <a:cubicBezTo>
                      <a:pt x="53" y="351"/>
                      <a:pt x="55" y="352"/>
                      <a:pt x="58" y="351"/>
                    </a:cubicBezTo>
                    <a:cubicBezTo>
                      <a:pt x="61" y="350"/>
                      <a:pt x="62" y="344"/>
                      <a:pt x="66" y="342"/>
                    </a:cubicBezTo>
                    <a:cubicBezTo>
                      <a:pt x="69" y="340"/>
                      <a:pt x="73" y="345"/>
                      <a:pt x="76" y="344"/>
                    </a:cubicBezTo>
                    <a:cubicBezTo>
                      <a:pt x="80" y="344"/>
                      <a:pt x="83" y="342"/>
                      <a:pt x="86" y="342"/>
                    </a:cubicBezTo>
                    <a:cubicBezTo>
                      <a:pt x="90" y="343"/>
                      <a:pt x="93" y="347"/>
                      <a:pt x="96" y="348"/>
                    </a:cubicBezTo>
                    <a:cubicBezTo>
                      <a:pt x="98" y="349"/>
                      <a:pt x="101" y="347"/>
                      <a:pt x="102" y="348"/>
                    </a:cubicBezTo>
                    <a:cubicBezTo>
                      <a:pt x="104" y="352"/>
                      <a:pt x="105" y="358"/>
                      <a:pt x="104" y="363"/>
                    </a:cubicBezTo>
                    <a:cubicBezTo>
                      <a:pt x="104" y="364"/>
                      <a:pt x="102" y="365"/>
                      <a:pt x="102" y="366"/>
                    </a:cubicBezTo>
                    <a:cubicBezTo>
                      <a:pt x="108" y="390"/>
                      <a:pt x="105" y="359"/>
                      <a:pt x="112" y="380"/>
                    </a:cubicBezTo>
                    <a:cubicBezTo>
                      <a:pt x="114" y="386"/>
                      <a:pt x="99" y="395"/>
                      <a:pt x="99" y="395"/>
                    </a:cubicBezTo>
                    <a:cubicBezTo>
                      <a:pt x="109" y="393"/>
                      <a:pt x="119" y="385"/>
                      <a:pt x="118" y="408"/>
                    </a:cubicBezTo>
                    <a:cubicBezTo>
                      <a:pt x="115" y="430"/>
                      <a:pt x="99" y="418"/>
                      <a:pt x="95" y="423"/>
                    </a:cubicBezTo>
                    <a:cubicBezTo>
                      <a:pt x="91" y="427"/>
                      <a:pt x="94" y="436"/>
                      <a:pt x="84" y="434"/>
                    </a:cubicBezTo>
                    <a:cubicBezTo>
                      <a:pt x="81" y="434"/>
                      <a:pt x="80" y="432"/>
                      <a:pt x="78" y="430"/>
                    </a:cubicBezTo>
                    <a:cubicBezTo>
                      <a:pt x="76" y="428"/>
                      <a:pt x="76" y="428"/>
                      <a:pt x="76" y="428"/>
                    </a:cubicBezTo>
                    <a:cubicBezTo>
                      <a:pt x="67" y="423"/>
                      <a:pt x="79" y="436"/>
                      <a:pt x="60" y="429"/>
                    </a:cubicBezTo>
                    <a:cubicBezTo>
                      <a:pt x="57" y="428"/>
                      <a:pt x="61" y="423"/>
                      <a:pt x="62" y="420"/>
                    </a:cubicBezTo>
                    <a:cubicBezTo>
                      <a:pt x="63" y="416"/>
                      <a:pt x="57" y="417"/>
                      <a:pt x="56" y="415"/>
                    </a:cubicBezTo>
                    <a:cubicBezTo>
                      <a:pt x="53" y="410"/>
                      <a:pt x="56" y="396"/>
                      <a:pt x="50" y="397"/>
                    </a:cubicBezTo>
                    <a:cubicBezTo>
                      <a:pt x="25" y="400"/>
                      <a:pt x="56" y="412"/>
                      <a:pt x="30" y="414"/>
                    </a:cubicBezTo>
                    <a:cubicBezTo>
                      <a:pt x="22" y="415"/>
                      <a:pt x="0" y="385"/>
                      <a:pt x="2" y="382"/>
                    </a:cubicBezTo>
                    <a:cubicBezTo>
                      <a:pt x="3" y="382"/>
                      <a:pt x="25" y="377"/>
                      <a:pt x="25" y="377"/>
                    </a:cubicBezTo>
                    <a:cubicBezTo>
                      <a:pt x="26" y="373"/>
                      <a:pt x="19" y="372"/>
                      <a:pt x="18" y="368"/>
                    </a:cubicBezTo>
                    <a:cubicBezTo>
                      <a:pt x="17" y="365"/>
                      <a:pt x="32" y="369"/>
                      <a:pt x="33" y="368"/>
                    </a:cubicBezTo>
                    <a:cubicBezTo>
                      <a:pt x="42" y="363"/>
                      <a:pt x="39" y="348"/>
                      <a:pt x="51" y="348"/>
                    </a:cubicBezTo>
                    <a:close/>
                    <a:moveTo>
                      <a:pt x="159" y="114"/>
                    </a:moveTo>
                    <a:cubicBezTo>
                      <a:pt x="156" y="119"/>
                      <a:pt x="148" y="123"/>
                      <a:pt x="147" y="126"/>
                    </a:cubicBezTo>
                    <a:cubicBezTo>
                      <a:pt x="147" y="129"/>
                      <a:pt x="146" y="145"/>
                      <a:pt x="139" y="145"/>
                    </a:cubicBezTo>
                    <a:cubicBezTo>
                      <a:pt x="135" y="145"/>
                      <a:pt x="135" y="138"/>
                      <a:pt x="133" y="136"/>
                    </a:cubicBezTo>
                    <a:cubicBezTo>
                      <a:pt x="129" y="133"/>
                      <a:pt x="134" y="145"/>
                      <a:pt x="130" y="147"/>
                    </a:cubicBezTo>
                    <a:cubicBezTo>
                      <a:pt x="129" y="147"/>
                      <a:pt x="126" y="145"/>
                      <a:pt x="125" y="146"/>
                    </a:cubicBezTo>
                    <a:cubicBezTo>
                      <a:pt x="121" y="148"/>
                      <a:pt x="121" y="156"/>
                      <a:pt x="116" y="156"/>
                    </a:cubicBezTo>
                    <a:cubicBezTo>
                      <a:pt x="112" y="156"/>
                      <a:pt x="109" y="149"/>
                      <a:pt x="111" y="146"/>
                    </a:cubicBezTo>
                    <a:cubicBezTo>
                      <a:pt x="113" y="142"/>
                      <a:pt x="123" y="149"/>
                      <a:pt x="125" y="144"/>
                    </a:cubicBezTo>
                    <a:cubicBezTo>
                      <a:pt x="126" y="140"/>
                      <a:pt x="117" y="139"/>
                      <a:pt x="115" y="135"/>
                    </a:cubicBezTo>
                    <a:cubicBezTo>
                      <a:pt x="114" y="133"/>
                      <a:pt x="119" y="134"/>
                      <a:pt x="120" y="133"/>
                    </a:cubicBezTo>
                    <a:cubicBezTo>
                      <a:pt x="121" y="132"/>
                      <a:pt x="118" y="133"/>
                      <a:pt x="118" y="132"/>
                    </a:cubicBezTo>
                    <a:cubicBezTo>
                      <a:pt x="117" y="130"/>
                      <a:pt x="117" y="128"/>
                      <a:pt x="117" y="125"/>
                    </a:cubicBezTo>
                    <a:cubicBezTo>
                      <a:pt x="122" y="111"/>
                      <a:pt x="126" y="124"/>
                      <a:pt x="134" y="126"/>
                    </a:cubicBezTo>
                    <a:cubicBezTo>
                      <a:pt x="135" y="126"/>
                      <a:pt x="131" y="117"/>
                      <a:pt x="133" y="116"/>
                    </a:cubicBezTo>
                    <a:cubicBezTo>
                      <a:pt x="139" y="109"/>
                      <a:pt x="139" y="115"/>
                      <a:pt x="144" y="115"/>
                    </a:cubicBezTo>
                    <a:cubicBezTo>
                      <a:pt x="145" y="114"/>
                      <a:pt x="145" y="112"/>
                      <a:pt x="146" y="112"/>
                    </a:cubicBezTo>
                    <a:cubicBezTo>
                      <a:pt x="149" y="109"/>
                      <a:pt x="152" y="105"/>
                      <a:pt x="156" y="106"/>
                    </a:cubicBezTo>
                    <a:cubicBezTo>
                      <a:pt x="159" y="106"/>
                      <a:pt x="158" y="111"/>
                      <a:pt x="159" y="114"/>
                    </a:cubicBezTo>
                    <a:close/>
                    <a:moveTo>
                      <a:pt x="167" y="420"/>
                    </a:moveTo>
                    <a:cubicBezTo>
                      <a:pt x="164" y="421"/>
                      <a:pt x="161" y="421"/>
                      <a:pt x="158" y="422"/>
                    </a:cubicBezTo>
                    <a:cubicBezTo>
                      <a:pt x="156" y="424"/>
                      <a:pt x="155" y="428"/>
                      <a:pt x="153" y="430"/>
                    </a:cubicBezTo>
                    <a:cubicBezTo>
                      <a:pt x="129" y="452"/>
                      <a:pt x="168" y="447"/>
                      <a:pt x="167" y="420"/>
                    </a:cubicBez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0" name="Switzerland" descr="{&quot;Key&quot;:&quot;switzerland&quot;,&quot;Name&quot;:&quot;Switzerland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E2F5F348-60E8-F444-0AA6-7C8E2DEE59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3997" y="8266881"/>
                <a:ext cx="399864" cy="280347"/>
              </a:xfrm>
              <a:custGeom>
                <a:avLst/>
                <a:gdLst>
                  <a:gd name="T0" fmla="*/ 232 w 239"/>
                  <a:gd name="T1" fmla="*/ 83 h 156"/>
                  <a:gd name="T2" fmla="*/ 232 w 239"/>
                  <a:gd name="T3" fmla="*/ 101 h 156"/>
                  <a:gd name="T4" fmla="*/ 218 w 239"/>
                  <a:gd name="T5" fmla="*/ 109 h 156"/>
                  <a:gd name="T6" fmla="*/ 219 w 239"/>
                  <a:gd name="T7" fmla="*/ 121 h 156"/>
                  <a:gd name="T8" fmla="*/ 206 w 239"/>
                  <a:gd name="T9" fmla="*/ 112 h 156"/>
                  <a:gd name="T10" fmla="*/ 176 w 239"/>
                  <a:gd name="T11" fmla="*/ 102 h 156"/>
                  <a:gd name="T12" fmla="*/ 157 w 239"/>
                  <a:gd name="T13" fmla="*/ 143 h 156"/>
                  <a:gd name="T14" fmla="*/ 152 w 239"/>
                  <a:gd name="T15" fmla="*/ 144 h 156"/>
                  <a:gd name="T16" fmla="*/ 150 w 239"/>
                  <a:gd name="T17" fmla="*/ 135 h 156"/>
                  <a:gd name="T18" fmla="*/ 129 w 239"/>
                  <a:gd name="T19" fmla="*/ 121 h 156"/>
                  <a:gd name="T20" fmla="*/ 129 w 239"/>
                  <a:gd name="T21" fmla="*/ 105 h 156"/>
                  <a:gd name="T22" fmla="*/ 119 w 239"/>
                  <a:gd name="T23" fmla="*/ 113 h 156"/>
                  <a:gd name="T24" fmla="*/ 114 w 239"/>
                  <a:gd name="T25" fmla="*/ 126 h 156"/>
                  <a:gd name="T26" fmla="*/ 83 w 239"/>
                  <a:gd name="T27" fmla="*/ 139 h 156"/>
                  <a:gd name="T28" fmla="*/ 50 w 239"/>
                  <a:gd name="T29" fmla="*/ 132 h 156"/>
                  <a:gd name="T30" fmla="*/ 48 w 239"/>
                  <a:gd name="T31" fmla="*/ 127 h 156"/>
                  <a:gd name="T32" fmla="*/ 47 w 239"/>
                  <a:gd name="T33" fmla="*/ 117 h 156"/>
                  <a:gd name="T34" fmla="*/ 44 w 239"/>
                  <a:gd name="T35" fmla="*/ 105 h 156"/>
                  <a:gd name="T36" fmla="*/ 16 w 239"/>
                  <a:gd name="T37" fmla="*/ 113 h 156"/>
                  <a:gd name="T38" fmla="*/ 0 w 239"/>
                  <a:gd name="T39" fmla="*/ 125 h 156"/>
                  <a:gd name="T40" fmla="*/ 9 w 239"/>
                  <a:gd name="T41" fmla="*/ 116 h 156"/>
                  <a:gd name="T42" fmla="*/ 27 w 239"/>
                  <a:gd name="T43" fmla="*/ 79 h 156"/>
                  <a:gd name="T44" fmla="*/ 41 w 239"/>
                  <a:gd name="T45" fmla="*/ 60 h 156"/>
                  <a:gd name="T46" fmla="*/ 61 w 239"/>
                  <a:gd name="T47" fmla="*/ 37 h 156"/>
                  <a:gd name="T48" fmla="*/ 57 w 239"/>
                  <a:gd name="T49" fmla="*/ 30 h 156"/>
                  <a:gd name="T50" fmla="*/ 57 w 239"/>
                  <a:gd name="T51" fmla="*/ 26 h 156"/>
                  <a:gd name="T52" fmla="*/ 87 w 239"/>
                  <a:gd name="T53" fmla="*/ 20 h 156"/>
                  <a:gd name="T54" fmla="*/ 92 w 239"/>
                  <a:gd name="T55" fmla="*/ 20 h 156"/>
                  <a:gd name="T56" fmla="*/ 119 w 239"/>
                  <a:gd name="T57" fmla="*/ 19 h 156"/>
                  <a:gd name="T58" fmla="*/ 134 w 239"/>
                  <a:gd name="T59" fmla="*/ 18 h 156"/>
                  <a:gd name="T60" fmla="*/ 129 w 239"/>
                  <a:gd name="T61" fmla="*/ 16 h 156"/>
                  <a:gd name="T62" fmla="*/ 145 w 239"/>
                  <a:gd name="T63" fmla="*/ 14 h 156"/>
                  <a:gd name="T64" fmla="*/ 149 w 239"/>
                  <a:gd name="T65" fmla="*/ 11 h 156"/>
                  <a:gd name="T66" fmla="*/ 172 w 239"/>
                  <a:gd name="T67" fmla="*/ 17 h 156"/>
                  <a:gd name="T68" fmla="*/ 187 w 239"/>
                  <a:gd name="T69" fmla="*/ 27 h 156"/>
                  <a:gd name="T70" fmla="*/ 189 w 239"/>
                  <a:gd name="T71" fmla="*/ 39 h 156"/>
                  <a:gd name="T72" fmla="*/ 203 w 239"/>
                  <a:gd name="T73" fmla="*/ 65 h 156"/>
                  <a:gd name="T74" fmla="*/ 212 w 239"/>
                  <a:gd name="T75" fmla="*/ 76 h 156"/>
                  <a:gd name="T76" fmla="*/ 233 w 239"/>
                  <a:gd name="T77" fmla="*/ 67 h 156"/>
                  <a:gd name="T78" fmla="*/ 233 w 239"/>
                  <a:gd name="T79" fmla="*/ 76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39" h="156">
                    <a:moveTo>
                      <a:pt x="233" y="76"/>
                    </a:moveTo>
                    <a:cubicBezTo>
                      <a:pt x="232" y="78"/>
                      <a:pt x="233" y="81"/>
                      <a:pt x="232" y="83"/>
                    </a:cubicBezTo>
                    <a:cubicBezTo>
                      <a:pt x="231" y="86"/>
                      <a:pt x="229" y="87"/>
                      <a:pt x="228" y="90"/>
                    </a:cubicBezTo>
                    <a:cubicBezTo>
                      <a:pt x="228" y="91"/>
                      <a:pt x="239" y="99"/>
                      <a:pt x="232" y="101"/>
                    </a:cubicBezTo>
                    <a:cubicBezTo>
                      <a:pt x="220" y="104"/>
                      <a:pt x="224" y="87"/>
                      <a:pt x="214" y="95"/>
                    </a:cubicBezTo>
                    <a:cubicBezTo>
                      <a:pt x="206" y="100"/>
                      <a:pt x="216" y="106"/>
                      <a:pt x="218" y="109"/>
                    </a:cubicBezTo>
                    <a:cubicBezTo>
                      <a:pt x="218" y="112"/>
                      <a:pt x="215" y="113"/>
                      <a:pt x="215" y="116"/>
                    </a:cubicBezTo>
                    <a:cubicBezTo>
                      <a:pt x="215" y="118"/>
                      <a:pt x="218" y="119"/>
                      <a:pt x="219" y="121"/>
                    </a:cubicBezTo>
                    <a:cubicBezTo>
                      <a:pt x="219" y="123"/>
                      <a:pt x="215" y="125"/>
                      <a:pt x="212" y="124"/>
                    </a:cubicBezTo>
                    <a:cubicBezTo>
                      <a:pt x="209" y="122"/>
                      <a:pt x="211" y="113"/>
                      <a:pt x="206" y="112"/>
                    </a:cubicBezTo>
                    <a:cubicBezTo>
                      <a:pt x="191" y="109"/>
                      <a:pt x="198" y="121"/>
                      <a:pt x="189" y="118"/>
                    </a:cubicBezTo>
                    <a:cubicBezTo>
                      <a:pt x="175" y="114"/>
                      <a:pt x="184" y="103"/>
                      <a:pt x="176" y="102"/>
                    </a:cubicBezTo>
                    <a:cubicBezTo>
                      <a:pt x="167" y="100"/>
                      <a:pt x="173" y="116"/>
                      <a:pt x="173" y="117"/>
                    </a:cubicBezTo>
                    <a:cubicBezTo>
                      <a:pt x="171" y="127"/>
                      <a:pt x="157" y="130"/>
                      <a:pt x="157" y="143"/>
                    </a:cubicBezTo>
                    <a:cubicBezTo>
                      <a:pt x="157" y="148"/>
                      <a:pt x="168" y="146"/>
                      <a:pt x="159" y="153"/>
                    </a:cubicBezTo>
                    <a:cubicBezTo>
                      <a:pt x="155" y="156"/>
                      <a:pt x="154" y="147"/>
                      <a:pt x="152" y="144"/>
                    </a:cubicBezTo>
                    <a:cubicBezTo>
                      <a:pt x="150" y="142"/>
                      <a:pt x="146" y="143"/>
                      <a:pt x="146" y="141"/>
                    </a:cubicBezTo>
                    <a:cubicBezTo>
                      <a:pt x="145" y="139"/>
                      <a:pt x="149" y="137"/>
                      <a:pt x="150" y="135"/>
                    </a:cubicBezTo>
                    <a:cubicBezTo>
                      <a:pt x="150" y="134"/>
                      <a:pt x="149" y="133"/>
                      <a:pt x="148" y="133"/>
                    </a:cubicBezTo>
                    <a:cubicBezTo>
                      <a:pt x="142" y="130"/>
                      <a:pt x="133" y="129"/>
                      <a:pt x="129" y="121"/>
                    </a:cubicBezTo>
                    <a:cubicBezTo>
                      <a:pt x="128" y="119"/>
                      <a:pt x="130" y="117"/>
                      <a:pt x="130" y="115"/>
                    </a:cubicBezTo>
                    <a:cubicBezTo>
                      <a:pt x="130" y="112"/>
                      <a:pt x="130" y="108"/>
                      <a:pt x="129" y="105"/>
                    </a:cubicBezTo>
                    <a:cubicBezTo>
                      <a:pt x="129" y="104"/>
                      <a:pt x="128" y="105"/>
                      <a:pt x="126" y="106"/>
                    </a:cubicBezTo>
                    <a:cubicBezTo>
                      <a:pt x="124" y="108"/>
                      <a:pt x="121" y="110"/>
                      <a:pt x="119" y="113"/>
                    </a:cubicBezTo>
                    <a:cubicBezTo>
                      <a:pt x="116" y="115"/>
                      <a:pt x="111" y="116"/>
                      <a:pt x="110" y="119"/>
                    </a:cubicBezTo>
                    <a:cubicBezTo>
                      <a:pt x="109" y="122"/>
                      <a:pt x="115" y="123"/>
                      <a:pt x="114" y="126"/>
                    </a:cubicBezTo>
                    <a:cubicBezTo>
                      <a:pt x="114" y="129"/>
                      <a:pt x="98" y="145"/>
                      <a:pt x="98" y="145"/>
                    </a:cubicBezTo>
                    <a:cubicBezTo>
                      <a:pt x="93" y="145"/>
                      <a:pt x="89" y="138"/>
                      <a:pt x="83" y="139"/>
                    </a:cubicBezTo>
                    <a:cubicBezTo>
                      <a:pt x="76" y="141"/>
                      <a:pt x="61" y="152"/>
                      <a:pt x="55" y="142"/>
                    </a:cubicBezTo>
                    <a:cubicBezTo>
                      <a:pt x="53" y="139"/>
                      <a:pt x="53" y="135"/>
                      <a:pt x="50" y="132"/>
                    </a:cubicBezTo>
                    <a:cubicBezTo>
                      <a:pt x="50" y="131"/>
                      <a:pt x="47" y="134"/>
                      <a:pt x="47" y="133"/>
                    </a:cubicBezTo>
                    <a:cubicBezTo>
                      <a:pt x="46" y="131"/>
                      <a:pt x="49" y="129"/>
                      <a:pt x="48" y="127"/>
                    </a:cubicBezTo>
                    <a:cubicBezTo>
                      <a:pt x="47" y="125"/>
                      <a:pt x="44" y="127"/>
                      <a:pt x="43" y="126"/>
                    </a:cubicBezTo>
                    <a:cubicBezTo>
                      <a:pt x="39" y="120"/>
                      <a:pt x="47" y="121"/>
                      <a:pt x="47" y="117"/>
                    </a:cubicBezTo>
                    <a:cubicBezTo>
                      <a:pt x="46" y="114"/>
                      <a:pt x="43" y="113"/>
                      <a:pt x="43" y="110"/>
                    </a:cubicBezTo>
                    <a:cubicBezTo>
                      <a:pt x="42" y="109"/>
                      <a:pt x="47" y="105"/>
                      <a:pt x="44" y="105"/>
                    </a:cubicBezTo>
                    <a:cubicBezTo>
                      <a:pt x="37" y="101"/>
                      <a:pt x="21" y="101"/>
                      <a:pt x="16" y="109"/>
                    </a:cubicBezTo>
                    <a:cubicBezTo>
                      <a:pt x="15" y="110"/>
                      <a:pt x="16" y="112"/>
                      <a:pt x="16" y="113"/>
                    </a:cubicBezTo>
                    <a:cubicBezTo>
                      <a:pt x="16" y="114"/>
                      <a:pt x="19" y="116"/>
                      <a:pt x="18" y="117"/>
                    </a:cubicBezTo>
                    <a:cubicBezTo>
                      <a:pt x="15" y="123"/>
                      <a:pt x="7" y="126"/>
                      <a:pt x="0" y="125"/>
                    </a:cubicBezTo>
                    <a:cubicBezTo>
                      <a:pt x="0" y="125"/>
                      <a:pt x="3" y="123"/>
                      <a:pt x="3" y="122"/>
                    </a:cubicBezTo>
                    <a:cubicBezTo>
                      <a:pt x="3" y="115"/>
                      <a:pt x="8" y="118"/>
                      <a:pt x="9" y="116"/>
                    </a:cubicBezTo>
                    <a:cubicBezTo>
                      <a:pt x="12" y="107"/>
                      <a:pt x="4" y="99"/>
                      <a:pt x="11" y="91"/>
                    </a:cubicBezTo>
                    <a:cubicBezTo>
                      <a:pt x="15" y="85"/>
                      <a:pt x="25" y="85"/>
                      <a:pt x="27" y="79"/>
                    </a:cubicBezTo>
                    <a:cubicBezTo>
                      <a:pt x="29" y="75"/>
                      <a:pt x="26" y="70"/>
                      <a:pt x="27" y="66"/>
                    </a:cubicBezTo>
                    <a:cubicBezTo>
                      <a:pt x="30" y="62"/>
                      <a:pt x="38" y="63"/>
                      <a:pt x="41" y="60"/>
                    </a:cubicBezTo>
                    <a:cubicBezTo>
                      <a:pt x="45" y="56"/>
                      <a:pt x="50" y="45"/>
                      <a:pt x="55" y="41"/>
                    </a:cubicBezTo>
                    <a:cubicBezTo>
                      <a:pt x="57" y="39"/>
                      <a:pt x="60" y="45"/>
                      <a:pt x="61" y="37"/>
                    </a:cubicBezTo>
                    <a:cubicBezTo>
                      <a:pt x="61" y="34"/>
                      <a:pt x="52" y="40"/>
                      <a:pt x="52" y="37"/>
                    </a:cubicBezTo>
                    <a:cubicBezTo>
                      <a:pt x="51" y="34"/>
                      <a:pt x="55" y="32"/>
                      <a:pt x="57" y="30"/>
                    </a:cubicBezTo>
                    <a:cubicBezTo>
                      <a:pt x="57" y="30"/>
                      <a:pt x="58" y="30"/>
                      <a:pt x="58" y="30"/>
                    </a:cubicBezTo>
                    <a:cubicBezTo>
                      <a:pt x="58" y="28"/>
                      <a:pt x="56" y="26"/>
                      <a:pt x="57" y="26"/>
                    </a:cubicBezTo>
                    <a:cubicBezTo>
                      <a:pt x="73" y="21"/>
                      <a:pt x="66" y="43"/>
                      <a:pt x="85" y="23"/>
                    </a:cubicBezTo>
                    <a:cubicBezTo>
                      <a:pt x="86" y="23"/>
                      <a:pt x="87" y="22"/>
                      <a:pt x="87" y="20"/>
                    </a:cubicBezTo>
                    <a:cubicBezTo>
                      <a:pt x="89" y="19"/>
                      <a:pt x="89" y="19"/>
                      <a:pt x="89" y="19"/>
                    </a:cubicBezTo>
                    <a:cubicBezTo>
                      <a:pt x="90" y="19"/>
                      <a:pt x="91" y="19"/>
                      <a:pt x="92" y="20"/>
                    </a:cubicBezTo>
                    <a:cubicBezTo>
                      <a:pt x="93" y="20"/>
                      <a:pt x="89" y="21"/>
                      <a:pt x="89" y="22"/>
                    </a:cubicBezTo>
                    <a:cubicBezTo>
                      <a:pt x="91" y="26"/>
                      <a:pt x="117" y="19"/>
                      <a:pt x="119" y="19"/>
                    </a:cubicBezTo>
                    <a:cubicBezTo>
                      <a:pt x="130" y="19"/>
                      <a:pt x="120" y="30"/>
                      <a:pt x="134" y="22"/>
                    </a:cubicBezTo>
                    <a:cubicBezTo>
                      <a:pt x="134" y="22"/>
                      <a:pt x="133" y="19"/>
                      <a:pt x="134" y="18"/>
                    </a:cubicBezTo>
                    <a:cubicBezTo>
                      <a:pt x="136" y="17"/>
                      <a:pt x="142" y="17"/>
                      <a:pt x="139" y="16"/>
                    </a:cubicBezTo>
                    <a:cubicBezTo>
                      <a:pt x="136" y="15"/>
                      <a:pt x="133" y="17"/>
                      <a:pt x="129" y="16"/>
                    </a:cubicBezTo>
                    <a:cubicBezTo>
                      <a:pt x="128" y="15"/>
                      <a:pt x="137" y="0"/>
                      <a:pt x="146" y="9"/>
                    </a:cubicBezTo>
                    <a:cubicBezTo>
                      <a:pt x="147" y="10"/>
                      <a:pt x="144" y="12"/>
                      <a:pt x="145" y="14"/>
                    </a:cubicBezTo>
                    <a:cubicBezTo>
                      <a:pt x="145" y="15"/>
                      <a:pt x="147" y="15"/>
                      <a:pt x="149" y="15"/>
                    </a:cubicBezTo>
                    <a:cubicBezTo>
                      <a:pt x="150" y="14"/>
                      <a:pt x="148" y="10"/>
                      <a:pt x="149" y="11"/>
                    </a:cubicBezTo>
                    <a:cubicBezTo>
                      <a:pt x="151" y="13"/>
                      <a:pt x="151" y="17"/>
                      <a:pt x="153" y="18"/>
                    </a:cubicBezTo>
                    <a:cubicBezTo>
                      <a:pt x="153" y="18"/>
                      <a:pt x="172" y="17"/>
                      <a:pt x="172" y="17"/>
                    </a:cubicBezTo>
                    <a:cubicBezTo>
                      <a:pt x="178" y="18"/>
                      <a:pt x="182" y="23"/>
                      <a:pt x="187" y="26"/>
                    </a:cubicBezTo>
                    <a:cubicBezTo>
                      <a:pt x="187" y="27"/>
                      <a:pt x="187" y="27"/>
                      <a:pt x="187" y="27"/>
                    </a:cubicBezTo>
                    <a:cubicBezTo>
                      <a:pt x="187" y="31"/>
                      <a:pt x="194" y="32"/>
                      <a:pt x="192" y="37"/>
                    </a:cubicBezTo>
                    <a:cubicBezTo>
                      <a:pt x="192" y="39"/>
                      <a:pt x="189" y="38"/>
                      <a:pt x="189" y="39"/>
                    </a:cubicBezTo>
                    <a:cubicBezTo>
                      <a:pt x="187" y="41"/>
                      <a:pt x="181" y="62"/>
                      <a:pt x="182" y="62"/>
                    </a:cubicBezTo>
                    <a:cubicBezTo>
                      <a:pt x="184" y="63"/>
                      <a:pt x="202" y="65"/>
                      <a:pt x="203" y="65"/>
                    </a:cubicBezTo>
                    <a:cubicBezTo>
                      <a:pt x="204" y="66"/>
                      <a:pt x="201" y="67"/>
                      <a:pt x="202" y="69"/>
                    </a:cubicBezTo>
                    <a:cubicBezTo>
                      <a:pt x="205" y="72"/>
                      <a:pt x="209" y="74"/>
                      <a:pt x="212" y="76"/>
                    </a:cubicBezTo>
                    <a:cubicBezTo>
                      <a:pt x="222" y="80"/>
                      <a:pt x="223" y="65"/>
                      <a:pt x="229" y="66"/>
                    </a:cubicBezTo>
                    <a:cubicBezTo>
                      <a:pt x="231" y="66"/>
                      <a:pt x="232" y="67"/>
                      <a:pt x="233" y="67"/>
                    </a:cubicBezTo>
                    <a:cubicBezTo>
                      <a:pt x="233" y="73"/>
                      <a:pt x="233" y="73"/>
                      <a:pt x="233" y="73"/>
                    </a:cubicBezTo>
                    <a:cubicBezTo>
                      <a:pt x="232" y="74"/>
                      <a:pt x="232" y="75"/>
                      <a:pt x="233" y="76"/>
                    </a:cubicBez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1" name="Austria" descr="{&quot;Key&quot;:&quot;austria&quot;,&quot;Name&quot;:&quot;Austria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49A0B892-EE67-9D96-0FEC-93773F627F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3521" y="8098038"/>
                <a:ext cx="633857" cy="358398"/>
              </a:xfrm>
              <a:custGeom>
                <a:avLst/>
                <a:gdLst>
                  <a:gd name="T0" fmla="*/ 7 w 379"/>
                  <a:gd name="T1" fmla="*/ 131 h 199"/>
                  <a:gd name="T2" fmla="*/ 0 w 379"/>
                  <a:gd name="T3" fmla="*/ 144 h 199"/>
                  <a:gd name="T4" fmla="*/ 3 w 379"/>
                  <a:gd name="T5" fmla="*/ 157 h 199"/>
                  <a:gd name="T6" fmla="*/ 17 w 379"/>
                  <a:gd name="T7" fmla="*/ 163 h 199"/>
                  <a:gd name="T8" fmla="*/ 44 w 379"/>
                  <a:gd name="T9" fmla="*/ 160 h 199"/>
                  <a:gd name="T10" fmla="*/ 58 w 379"/>
                  <a:gd name="T11" fmla="*/ 170 h 199"/>
                  <a:gd name="T12" fmla="*/ 83 w 379"/>
                  <a:gd name="T13" fmla="*/ 162 h 199"/>
                  <a:gd name="T14" fmla="*/ 137 w 379"/>
                  <a:gd name="T15" fmla="*/ 152 h 199"/>
                  <a:gd name="T16" fmla="*/ 141 w 379"/>
                  <a:gd name="T17" fmla="*/ 168 h 199"/>
                  <a:gd name="T18" fmla="*/ 144 w 379"/>
                  <a:gd name="T19" fmla="*/ 174 h 199"/>
                  <a:gd name="T20" fmla="*/ 224 w 379"/>
                  <a:gd name="T21" fmla="*/ 191 h 199"/>
                  <a:gd name="T22" fmla="*/ 252 w 379"/>
                  <a:gd name="T23" fmla="*/ 194 h 199"/>
                  <a:gd name="T24" fmla="*/ 261 w 379"/>
                  <a:gd name="T25" fmla="*/ 195 h 199"/>
                  <a:gd name="T26" fmla="*/ 273 w 379"/>
                  <a:gd name="T27" fmla="*/ 180 h 199"/>
                  <a:gd name="T28" fmla="*/ 313 w 379"/>
                  <a:gd name="T29" fmla="*/ 170 h 199"/>
                  <a:gd name="T30" fmla="*/ 330 w 379"/>
                  <a:gd name="T31" fmla="*/ 167 h 199"/>
                  <a:gd name="T32" fmla="*/ 355 w 379"/>
                  <a:gd name="T33" fmla="*/ 135 h 199"/>
                  <a:gd name="T34" fmla="*/ 361 w 379"/>
                  <a:gd name="T35" fmla="*/ 105 h 199"/>
                  <a:gd name="T36" fmla="*/ 379 w 379"/>
                  <a:gd name="T37" fmla="*/ 90 h 199"/>
                  <a:gd name="T38" fmla="*/ 362 w 379"/>
                  <a:gd name="T39" fmla="*/ 43 h 199"/>
                  <a:gd name="T40" fmla="*/ 356 w 379"/>
                  <a:gd name="T41" fmla="*/ 17 h 199"/>
                  <a:gd name="T42" fmla="*/ 336 w 379"/>
                  <a:gd name="T43" fmla="*/ 18 h 199"/>
                  <a:gd name="T44" fmla="*/ 284 w 379"/>
                  <a:gd name="T45" fmla="*/ 3 h 199"/>
                  <a:gd name="T46" fmla="*/ 275 w 379"/>
                  <a:gd name="T47" fmla="*/ 2 h 199"/>
                  <a:gd name="T48" fmla="*/ 267 w 379"/>
                  <a:gd name="T49" fmla="*/ 21 h 199"/>
                  <a:gd name="T50" fmla="*/ 255 w 379"/>
                  <a:gd name="T51" fmla="*/ 35 h 199"/>
                  <a:gd name="T52" fmla="*/ 240 w 379"/>
                  <a:gd name="T53" fmla="*/ 36 h 199"/>
                  <a:gd name="T54" fmla="*/ 211 w 379"/>
                  <a:gd name="T55" fmla="*/ 24 h 199"/>
                  <a:gd name="T56" fmla="*/ 197 w 379"/>
                  <a:gd name="T57" fmla="*/ 38 h 199"/>
                  <a:gd name="T58" fmla="*/ 190 w 379"/>
                  <a:gd name="T59" fmla="*/ 56 h 199"/>
                  <a:gd name="T60" fmla="*/ 175 w 379"/>
                  <a:gd name="T61" fmla="*/ 94 h 199"/>
                  <a:gd name="T62" fmla="*/ 177 w 379"/>
                  <a:gd name="T63" fmla="*/ 120 h 199"/>
                  <a:gd name="T64" fmla="*/ 163 w 379"/>
                  <a:gd name="T65" fmla="*/ 108 h 199"/>
                  <a:gd name="T66" fmla="*/ 146 w 379"/>
                  <a:gd name="T67" fmla="*/ 106 h 199"/>
                  <a:gd name="T68" fmla="*/ 137 w 379"/>
                  <a:gd name="T69" fmla="*/ 103 h 199"/>
                  <a:gd name="T70" fmla="*/ 106 w 379"/>
                  <a:gd name="T71" fmla="*/ 114 h 199"/>
                  <a:gd name="T72" fmla="*/ 95 w 379"/>
                  <a:gd name="T73" fmla="*/ 121 h 199"/>
                  <a:gd name="T74" fmla="*/ 73 w 379"/>
                  <a:gd name="T75" fmla="*/ 130 h 199"/>
                  <a:gd name="T76" fmla="*/ 68 w 379"/>
                  <a:gd name="T77" fmla="*/ 123 h 199"/>
                  <a:gd name="T78" fmla="*/ 47 w 379"/>
                  <a:gd name="T79" fmla="*/ 118 h 199"/>
                  <a:gd name="T80" fmla="*/ 47 w 379"/>
                  <a:gd name="T81" fmla="*/ 128 h 199"/>
                  <a:gd name="T82" fmla="*/ 35 w 379"/>
                  <a:gd name="T83" fmla="*/ 131 h 199"/>
                  <a:gd name="T84" fmla="*/ 28 w 379"/>
                  <a:gd name="T85" fmla="*/ 131 h 199"/>
                  <a:gd name="T86" fmla="*/ 22 w 379"/>
                  <a:gd name="T87" fmla="*/ 120 h 199"/>
                  <a:gd name="T88" fmla="*/ 15 w 379"/>
                  <a:gd name="T89" fmla="*/ 116 h 199"/>
                  <a:gd name="T90" fmla="*/ 2 w 379"/>
                  <a:gd name="T91" fmla="*/ 12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79" h="199">
                    <a:moveTo>
                      <a:pt x="2" y="121"/>
                    </a:moveTo>
                    <a:cubicBezTo>
                      <a:pt x="2" y="125"/>
                      <a:pt x="9" y="126"/>
                      <a:pt x="7" y="131"/>
                    </a:cubicBezTo>
                    <a:cubicBezTo>
                      <a:pt x="7" y="133"/>
                      <a:pt x="4" y="132"/>
                      <a:pt x="4" y="133"/>
                    </a:cubicBezTo>
                    <a:cubicBezTo>
                      <a:pt x="3" y="134"/>
                      <a:pt x="1" y="139"/>
                      <a:pt x="0" y="144"/>
                    </a:cubicBezTo>
                    <a:cubicBezTo>
                      <a:pt x="3" y="150"/>
                      <a:pt x="3" y="150"/>
                      <a:pt x="3" y="150"/>
                    </a:cubicBezTo>
                    <a:cubicBezTo>
                      <a:pt x="3" y="157"/>
                      <a:pt x="3" y="157"/>
                      <a:pt x="3" y="157"/>
                    </a:cubicBezTo>
                    <a:cubicBezTo>
                      <a:pt x="8" y="157"/>
                      <a:pt x="17" y="159"/>
                      <a:pt x="18" y="159"/>
                    </a:cubicBezTo>
                    <a:cubicBezTo>
                      <a:pt x="19" y="160"/>
                      <a:pt x="16" y="161"/>
                      <a:pt x="17" y="163"/>
                    </a:cubicBezTo>
                    <a:cubicBezTo>
                      <a:pt x="20" y="166"/>
                      <a:pt x="24" y="168"/>
                      <a:pt x="27" y="170"/>
                    </a:cubicBezTo>
                    <a:cubicBezTo>
                      <a:pt x="37" y="174"/>
                      <a:pt x="38" y="159"/>
                      <a:pt x="44" y="160"/>
                    </a:cubicBezTo>
                    <a:cubicBezTo>
                      <a:pt x="56" y="162"/>
                      <a:pt x="44" y="168"/>
                      <a:pt x="48" y="170"/>
                    </a:cubicBezTo>
                    <a:cubicBezTo>
                      <a:pt x="57" y="174"/>
                      <a:pt x="49" y="169"/>
                      <a:pt x="58" y="170"/>
                    </a:cubicBezTo>
                    <a:cubicBezTo>
                      <a:pt x="63" y="170"/>
                      <a:pt x="67" y="182"/>
                      <a:pt x="76" y="177"/>
                    </a:cubicBezTo>
                    <a:cubicBezTo>
                      <a:pt x="83" y="162"/>
                      <a:pt x="83" y="162"/>
                      <a:pt x="83" y="162"/>
                    </a:cubicBezTo>
                    <a:cubicBezTo>
                      <a:pt x="88" y="159"/>
                      <a:pt x="108" y="161"/>
                      <a:pt x="113" y="160"/>
                    </a:cubicBezTo>
                    <a:cubicBezTo>
                      <a:pt x="121" y="160"/>
                      <a:pt x="128" y="152"/>
                      <a:pt x="137" y="152"/>
                    </a:cubicBezTo>
                    <a:cubicBezTo>
                      <a:pt x="139" y="152"/>
                      <a:pt x="133" y="155"/>
                      <a:pt x="132" y="157"/>
                    </a:cubicBezTo>
                    <a:cubicBezTo>
                      <a:pt x="129" y="169"/>
                      <a:pt x="137" y="161"/>
                      <a:pt x="141" y="168"/>
                    </a:cubicBezTo>
                    <a:cubicBezTo>
                      <a:pt x="142" y="170"/>
                      <a:pt x="139" y="172"/>
                      <a:pt x="141" y="174"/>
                    </a:cubicBezTo>
                    <a:cubicBezTo>
                      <a:pt x="141" y="176"/>
                      <a:pt x="143" y="173"/>
                      <a:pt x="144" y="174"/>
                    </a:cubicBezTo>
                    <a:cubicBezTo>
                      <a:pt x="155" y="182"/>
                      <a:pt x="158" y="184"/>
                      <a:pt x="172" y="186"/>
                    </a:cubicBezTo>
                    <a:cubicBezTo>
                      <a:pt x="189" y="188"/>
                      <a:pt x="207" y="189"/>
                      <a:pt x="224" y="191"/>
                    </a:cubicBezTo>
                    <a:cubicBezTo>
                      <a:pt x="229" y="192"/>
                      <a:pt x="233" y="195"/>
                      <a:pt x="238" y="196"/>
                    </a:cubicBezTo>
                    <a:cubicBezTo>
                      <a:pt x="242" y="197"/>
                      <a:pt x="247" y="193"/>
                      <a:pt x="252" y="194"/>
                    </a:cubicBezTo>
                    <a:cubicBezTo>
                      <a:pt x="254" y="194"/>
                      <a:pt x="256" y="198"/>
                      <a:pt x="259" y="198"/>
                    </a:cubicBezTo>
                    <a:cubicBezTo>
                      <a:pt x="260" y="199"/>
                      <a:pt x="259" y="195"/>
                      <a:pt x="261" y="195"/>
                    </a:cubicBezTo>
                    <a:cubicBezTo>
                      <a:pt x="263" y="192"/>
                      <a:pt x="268" y="191"/>
                      <a:pt x="271" y="187"/>
                    </a:cubicBezTo>
                    <a:cubicBezTo>
                      <a:pt x="273" y="186"/>
                      <a:pt x="271" y="182"/>
                      <a:pt x="273" y="180"/>
                    </a:cubicBezTo>
                    <a:cubicBezTo>
                      <a:pt x="284" y="172"/>
                      <a:pt x="295" y="182"/>
                      <a:pt x="305" y="178"/>
                    </a:cubicBezTo>
                    <a:cubicBezTo>
                      <a:pt x="309" y="176"/>
                      <a:pt x="309" y="171"/>
                      <a:pt x="313" y="170"/>
                    </a:cubicBezTo>
                    <a:cubicBezTo>
                      <a:pt x="313" y="169"/>
                      <a:pt x="332" y="172"/>
                      <a:pt x="332" y="172"/>
                    </a:cubicBezTo>
                    <a:cubicBezTo>
                      <a:pt x="334" y="171"/>
                      <a:pt x="331" y="169"/>
                      <a:pt x="330" y="167"/>
                    </a:cubicBezTo>
                    <a:cubicBezTo>
                      <a:pt x="329" y="161"/>
                      <a:pt x="331" y="158"/>
                      <a:pt x="335" y="157"/>
                    </a:cubicBezTo>
                    <a:cubicBezTo>
                      <a:pt x="345" y="146"/>
                      <a:pt x="350" y="144"/>
                      <a:pt x="355" y="135"/>
                    </a:cubicBezTo>
                    <a:cubicBezTo>
                      <a:pt x="356" y="133"/>
                      <a:pt x="346" y="121"/>
                      <a:pt x="349" y="116"/>
                    </a:cubicBezTo>
                    <a:cubicBezTo>
                      <a:pt x="353" y="108"/>
                      <a:pt x="362" y="116"/>
                      <a:pt x="361" y="105"/>
                    </a:cubicBezTo>
                    <a:cubicBezTo>
                      <a:pt x="361" y="95"/>
                      <a:pt x="344" y="96"/>
                      <a:pt x="347" y="94"/>
                    </a:cubicBezTo>
                    <a:cubicBezTo>
                      <a:pt x="355" y="87"/>
                      <a:pt x="375" y="96"/>
                      <a:pt x="379" y="90"/>
                    </a:cubicBezTo>
                    <a:cubicBezTo>
                      <a:pt x="379" y="87"/>
                      <a:pt x="371" y="69"/>
                      <a:pt x="379" y="66"/>
                    </a:cubicBezTo>
                    <a:cubicBezTo>
                      <a:pt x="373" y="58"/>
                      <a:pt x="367" y="51"/>
                      <a:pt x="362" y="43"/>
                    </a:cubicBezTo>
                    <a:cubicBezTo>
                      <a:pt x="357" y="35"/>
                      <a:pt x="374" y="23"/>
                      <a:pt x="362" y="15"/>
                    </a:cubicBezTo>
                    <a:cubicBezTo>
                      <a:pt x="360" y="14"/>
                      <a:pt x="358" y="17"/>
                      <a:pt x="356" y="17"/>
                    </a:cubicBezTo>
                    <a:cubicBezTo>
                      <a:pt x="353" y="17"/>
                      <a:pt x="348" y="9"/>
                      <a:pt x="344" y="10"/>
                    </a:cubicBezTo>
                    <a:cubicBezTo>
                      <a:pt x="341" y="11"/>
                      <a:pt x="340" y="16"/>
                      <a:pt x="336" y="18"/>
                    </a:cubicBezTo>
                    <a:cubicBezTo>
                      <a:pt x="334" y="18"/>
                      <a:pt x="331" y="17"/>
                      <a:pt x="329" y="17"/>
                    </a:cubicBezTo>
                    <a:cubicBezTo>
                      <a:pt x="314" y="15"/>
                      <a:pt x="301" y="3"/>
                      <a:pt x="284" y="3"/>
                    </a:cubicBezTo>
                    <a:cubicBezTo>
                      <a:pt x="282" y="3"/>
                      <a:pt x="279" y="6"/>
                      <a:pt x="276" y="6"/>
                    </a:cubicBezTo>
                    <a:cubicBezTo>
                      <a:pt x="275" y="6"/>
                      <a:pt x="276" y="3"/>
                      <a:pt x="275" y="2"/>
                    </a:cubicBezTo>
                    <a:cubicBezTo>
                      <a:pt x="273" y="1"/>
                      <a:pt x="270" y="0"/>
                      <a:pt x="268" y="2"/>
                    </a:cubicBezTo>
                    <a:cubicBezTo>
                      <a:pt x="267" y="3"/>
                      <a:pt x="269" y="19"/>
                      <a:pt x="267" y="21"/>
                    </a:cubicBezTo>
                    <a:cubicBezTo>
                      <a:pt x="266" y="22"/>
                      <a:pt x="262" y="18"/>
                      <a:pt x="260" y="20"/>
                    </a:cubicBezTo>
                    <a:cubicBezTo>
                      <a:pt x="255" y="35"/>
                      <a:pt x="255" y="35"/>
                      <a:pt x="255" y="35"/>
                    </a:cubicBezTo>
                    <a:cubicBezTo>
                      <a:pt x="252" y="36"/>
                      <a:pt x="248" y="31"/>
                      <a:pt x="244" y="31"/>
                    </a:cubicBezTo>
                    <a:cubicBezTo>
                      <a:pt x="241" y="31"/>
                      <a:pt x="242" y="35"/>
                      <a:pt x="240" y="36"/>
                    </a:cubicBezTo>
                    <a:cubicBezTo>
                      <a:pt x="228" y="40"/>
                      <a:pt x="221" y="28"/>
                      <a:pt x="212" y="24"/>
                    </a:cubicBezTo>
                    <a:cubicBezTo>
                      <a:pt x="211" y="24"/>
                      <a:pt x="211" y="24"/>
                      <a:pt x="211" y="24"/>
                    </a:cubicBezTo>
                    <a:cubicBezTo>
                      <a:pt x="212" y="26"/>
                      <a:pt x="212" y="27"/>
                      <a:pt x="212" y="29"/>
                    </a:cubicBezTo>
                    <a:cubicBezTo>
                      <a:pt x="212" y="44"/>
                      <a:pt x="209" y="41"/>
                      <a:pt x="197" y="38"/>
                    </a:cubicBezTo>
                    <a:cubicBezTo>
                      <a:pt x="196" y="38"/>
                      <a:pt x="194" y="39"/>
                      <a:pt x="194" y="40"/>
                    </a:cubicBezTo>
                    <a:cubicBezTo>
                      <a:pt x="193" y="45"/>
                      <a:pt x="196" y="52"/>
                      <a:pt x="190" y="56"/>
                    </a:cubicBezTo>
                    <a:cubicBezTo>
                      <a:pt x="185" y="60"/>
                      <a:pt x="162" y="66"/>
                      <a:pt x="161" y="75"/>
                    </a:cubicBezTo>
                    <a:cubicBezTo>
                      <a:pt x="161" y="75"/>
                      <a:pt x="175" y="94"/>
                      <a:pt x="175" y="94"/>
                    </a:cubicBezTo>
                    <a:cubicBezTo>
                      <a:pt x="175" y="95"/>
                      <a:pt x="167" y="101"/>
                      <a:pt x="170" y="104"/>
                    </a:cubicBezTo>
                    <a:cubicBezTo>
                      <a:pt x="176" y="109"/>
                      <a:pt x="182" y="101"/>
                      <a:pt x="177" y="120"/>
                    </a:cubicBezTo>
                    <a:cubicBezTo>
                      <a:pt x="177" y="121"/>
                      <a:pt x="176" y="122"/>
                      <a:pt x="175" y="122"/>
                    </a:cubicBezTo>
                    <a:cubicBezTo>
                      <a:pt x="157" y="117"/>
                      <a:pt x="171" y="108"/>
                      <a:pt x="163" y="108"/>
                    </a:cubicBezTo>
                    <a:cubicBezTo>
                      <a:pt x="158" y="108"/>
                      <a:pt x="154" y="112"/>
                      <a:pt x="150" y="111"/>
                    </a:cubicBezTo>
                    <a:cubicBezTo>
                      <a:pt x="147" y="111"/>
                      <a:pt x="148" y="107"/>
                      <a:pt x="146" y="106"/>
                    </a:cubicBezTo>
                    <a:cubicBezTo>
                      <a:pt x="143" y="105"/>
                      <a:pt x="139" y="108"/>
                      <a:pt x="137" y="107"/>
                    </a:cubicBezTo>
                    <a:cubicBezTo>
                      <a:pt x="136" y="106"/>
                      <a:pt x="138" y="103"/>
                      <a:pt x="137" y="103"/>
                    </a:cubicBezTo>
                    <a:cubicBezTo>
                      <a:pt x="130" y="103"/>
                      <a:pt x="136" y="112"/>
                      <a:pt x="134" y="113"/>
                    </a:cubicBezTo>
                    <a:cubicBezTo>
                      <a:pt x="126" y="115"/>
                      <a:pt x="113" y="112"/>
                      <a:pt x="106" y="114"/>
                    </a:cubicBezTo>
                    <a:cubicBezTo>
                      <a:pt x="104" y="116"/>
                      <a:pt x="105" y="120"/>
                      <a:pt x="103" y="121"/>
                    </a:cubicBezTo>
                    <a:cubicBezTo>
                      <a:pt x="100" y="122"/>
                      <a:pt x="98" y="120"/>
                      <a:pt x="95" y="121"/>
                    </a:cubicBezTo>
                    <a:cubicBezTo>
                      <a:pt x="94" y="122"/>
                      <a:pt x="96" y="125"/>
                      <a:pt x="95" y="126"/>
                    </a:cubicBezTo>
                    <a:cubicBezTo>
                      <a:pt x="94" y="126"/>
                      <a:pt x="75" y="131"/>
                      <a:pt x="73" y="130"/>
                    </a:cubicBezTo>
                    <a:cubicBezTo>
                      <a:pt x="72" y="129"/>
                      <a:pt x="73" y="126"/>
                      <a:pt x="72" y="125"/>
                    </a:cubicBezTo>
                    <a:cubicBezTo>
                      <a:pt x="71" y="124"/>
                      <a:pt x="68" y="124"/>
                      <a:pt x="68" y="123"/>
                    </a:cubicBezTo>
                    <a:cubicBezTo>
                      <a:pt x="67" y="122"/>
                      <a:pt x="70" y="122"/>
                      <a:pt x="70" y="121"/>
                    </a:cubicBezTo>
                    <a:cubicBezTo>
                      <a:pt x="68" y="114"/>
                      <a:pt x="52" y="123"/>
                      <a:pt x="47" y="118"/>
                    </a:cubicBezTo>
                    <a:cubicBezTo>
                      <a:pt x="47" y="118"/>
                      <a:pt x="48" y="117"/>
                      <a:pt x="48" y="117"/>
                    </a:cubicBezTo>
                    <a:cubicBezTo>
                      <a:pt x="45" y="114"/>
                      <a:pt x="48" y="124"/>
                      <a:pt x="47" y="128"/>
                    </a:cubicBezTo>
                    <a:cubicBezTo>
                      <a:pt x="47" y="130"/>
                      <a:pt x="37" y="143"/>
                      <a:pt x="33" y="139"/>
                    </a:cubicBezTo>
                    <a:cubicBezTo>
                      <a:pt x="30" y="137"/>
                      <a:pt x="37" y="134"/>
                      <a:pt x="35" y="131"/>
                    </a:cubicBezTo>
                    <a:cubicBezTo>
                      <a:pt x="34" y="131"/>
                      <a:pt x="33" y="133"/>
                      <a:pt x="31" y="133"/>
                    </a:cubicBezTo>
                    <a:cubicBezTo>
                      <a:pt x="30" y="133"/>
                      <a:pt x="29" y="133"/>
                      <a:pt x="28" y="131"/>
                    </a:cubicBezTo>
                    <a:cubicBezTo>
                      <a:pt x="27" y="130"/>
                      <a:pt x="31" y="127"/>
                      <a:pt x="28" y="125"/>
                    </a:cubicBezTo>
                    <a:cubicBezTo>
                      <a:pt x="26" y="124"/>
                      <a:pt x="25" y="121"/>
                      <a:pt x="22" y="120"/>
                    </a:cubicBezTo>
                    <a:cubicBezTo>
                      <a:pt x="21" y="118"/>
                      <a:pt x="18" y="121"/>
                      <a:pt x="16" y="121"/>
                    </a:cubicBezTo>
                    <a:cubicBezTo>
                      <a:pt x="15" y="120"/>
                      <a:pt x="16" y="117"/>
                      <a:pt x="15" y="116"/>
                    </a:cubicBezTo>
                    <a:cubicBezTo>
                      <a:pt x="12" y="113"/>
                      <a:pt x="13" y="124"/>
                      <a:pt x="4" y="121"/>
                    </a:cubicBezTo>
                    <a:cubicBezTo>
                      <a:pt x="3" y="120"/>
                      <a:pt x="3" y="120"/>
                      <a:pt x="2" y="120"/>
                    </a:cubicBezTo>
                    <a:lnTo>
                      <a:pt x="2" y="12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2" name="Czech Rep." descr="{&quot;Key&quot;:&quot;czech rep.&quot;,&quot;Name&quot;:&quot;Czech Rep.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B1620CA0-8381-7C37-286F-70A76AD59A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13452" y="7808133"/>
                <a:ext cx="553886" cy="361584"/>
              </a:xfrm>
              <a:custGeom>
                <a:avLst/>
                <a:gdLst>
                  <a:gd name="T0" fmla="*/ 291 w 332"/>
                  <a:gd name="T1" fmla="*/ 156 h 201"/>
                  <a:gd name="T2" fmla="*/ 299 w 332"/>
                  <a:gd name="T3" fmla="*/ 146 h 201"/>
                  <a:gd name="T4" fmla="*/ 332 w 332"/>
                  <a:gd name="T5" fmla="*/ 107 h 201"/>
                  <a:gd name="T6" fmla="*/ 320 w 332"/>
                  <a:gd name="T7" fmla="*/ 94 h 201"/>
                  <a:gd name="T8" fmla="*/ 302 w 332"/>
                  <a:gd name="T9" fmla="*/ 78 h 201"/>
                  <a:gd name="T10" fmla="*/ 289 w 332"/>
                  <a:gd name="T11" fmla="*/ 72 h 201"/>
                  <a:gd name="T12" fmla="*/ 277 w 332"/>
                  <a:gd name="T13" fmla="*/ 77 h 201"/>
                  <a:gd name="T14" fmla="*/ 267 w 332"/>
                  <a:gd name="T15" fmla="*/ 67 h 201"/>
                  <a:gd name="T16" fmla="*/ 270 w 332"/>
                  <a:gd name="T17" fmla="*/ 55 h 201"/>
                  <a:gd name="T18" fmla="*/ 262 w 332"/>
                  <a:gd name="T19" fmla="*/ 59 h 201"/>
                  <a:gd name="T20" fmla="*/ 231 w 332"/>
                  <a:gd name="T21" fmla="*/ 50 h 201"/>
                  <a:gd name="T22" fmla="*/ 229 w 332"/>
                  <a:gd name="T23" fmla="*/ 69 h 201"/>
                  <a:gd name="T24" fmla="*/ 212 w 332"/>
                  <a:gd name="T25" fmla="*/ 62 h 201"/>
                  <a:gd name="T26" fmla="*/ 204 w 332"/>
                  <a:gd name="T27" fmla="*/ 37 h 201"/>
                  <a:gd name="T28" fmla="*/ 187 w 332"/>
                  <a:gd name="T29" fmla="*/ 36 h 201"/>
                  <a:gd name="T30" fmla="*/ 181 w 332"/>
                  <a:gd name="T31" fmla="*/ 37 h 201"/>
                  <a:gd name="T32" fmla="*/ 155 w 332"/>
                  <a:gd name="T33" fmla="*/ 24 h 201"/>
                  <a:gd name="T34" fmla="*/ 134 w 332"/>
                  <a:gd name="T35" fmla="*/ 26 h 201"/>
                  <a:gd name="T36" fmla="*/ 105 w 332"/>
                  <a:gd name="T37" fmla="*/ 18 h 201"/>
                  <a:gd name="T38" fmla="*/ 88 w 332"/>
                  <a:gd name="T39" fmla="*/ 35 h 201"/>
                  <a:gd name="T40" fmla="*/ 73 w 332"/>
                  <a:gd name="T41" fmla="*/ 41 h 201"/>
                  <a:gd name="T42" fmla="*/ 65 w 332"/>
                  <a:gd name="T43" fmla="*/ 47 h 201"/>
                  <a:gd name="T44" fmla="*/ 49 w 332"/>
                  <a:gd name="T45" fmla="*/ 58 h 201"/>
                  <a:gd name="T46" fmla="*/ 37 w 332"/>
                  <a:gd name="T47" fmla="*/ 62 h 201"/>
                  <a:gd name="T48" fmla="*/ 13 w 332"/>
                  <a:gd name="T49" fmla="*/ 77 h 201"/>
                  <a:gd name="T50" fmla="*/ 22 w 332"/>
                  <a:gd name="T51" fmla="*/ 98 h 201"/>
                  <a:gd name="T52" fmla="*/ 20 w 332"/>
                  <a:gd name="T53" fmla="*/ 114 h 201"/>
                  <a:gd name="T54" fmla="*/ 52 w 332"/>
                  <a:gd name="T55" fmla="*/ 147 h 201"/>
                  <a:gd name="T56" fmla="*/ 92 w 332"/>
                  <a:gd name="T57" fmla="*/ 185 h 201"/>
                  <a:gd name="T58" fmla="*/ 121 w 332"/>
                  <a:gd name="T59" fmla="*/ 197 h 201"/>
                  <a:gd name="T60" fmla="*/ 136 w 332"/>
                  <a:gd name="T61" fmla="*/ 196 h 201"/>
                  <a:gd name="T62" fmla="*/ 148 w 332"/>
                  <a:gd name="T63" fmla="*/ 182 h 201"/>
                  <a:gd name="T64" fmla="*/ 156 w 332"/>
                  <a:gd name="T65" fmla="*/ 163 h 201"/>
                  <a:gd name="T66" fmla="*/ 165 w 332"/>
                  <a:gd name="T67" fmla="*/ 164 h 201"/>
                  <a:gd name="T68" fmla="*/ 217 w 332"/>
                  <a:gd name="T69" fmla="*/ 179 h 201"/>
                  <a:gd name="T70" fmla="*/ 237 w 332"/>
                  <a:gd name="T71" fmla="*/ 178 h 201"/>
                  <a:gd name="T72" fmla="*/ 247 w 332"/>
                  <a:gd name="T73" fmla="*/ 183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32" h="201">
                    <a:moveTo>
                      <a:pt x="247" y="183"/>
                    </a:moveTo>
                    <a:cubicBezTo>
                      <a:pt x="255" y="149"/>
                      <a:pt x="274" y="178"/>
                      <a:pt x="291" y="156"/>
                    </a:cubicBezTo>
                    <a:cubicBezTo>
                      <a:pt x="292" y="154"/>
                      <a:pt x="290" y="152"/>
                      <a:pt x="292" y="150"/>
                    </a:cubicBezTo>
                    <a:cubicBezTo>
                      <a:pt x="293" y="148"/>
                      <a:pt x="297" y="149"/>
                      <a:pt x="299" y="146"/>
                    </a:cubicBezTo>
                    <a:cubicBezTo>
                      <a:pt x="299" y="146"/>
                      <a:pt x="303" y="129"/>
                      <a:pt x="303" y="128"/>
                    </a:cubicBezTo>
                    <a:cubicBezTo>
                      <a:pt x="308" y="119"/>
                      <a:pt x="322" y="112"/>
                      <a:pt x="332" y="107"/>
                    </a:cubicBezTo>
                    <a:cubicBezTo>
                      <a:pt x="329" y="105"/>
                      <a:pt x="331" y="100"/>
                      <a:pt x="329" y="97"/>
                    </a:cubicBezTo>
                    <a:cubicBezTo>
                      <a:pt x="327" y="94"/>
                      <a:pt x="322" y="96"/>
                      <a:pt x="320" y="94"/>
                    </a:cubicBezTo>
                    <a:cubicBezTo>
                      <a:pt x="319" y="94"/>
                      <a:pt x="314" y="80"/>
                      <a:pt x="314" y="80"/>
                    </a:cubicBezTo>
                    <a:cubicBezTo>
                      <a:pt x="311" y="77"/>
                      <a:pt x="306" y="79"/>
                      <a:pt x="302" y="78"/>
                    </a:cubicBezTo>
                    <a:cubicBezTo>
                      <a:pt x="299" y="77"/>
                      <a:pt x="293" y="76"/>
                      <a:pt x="291" y="74"/>
                    </a:cubicBezTo>
                    <a:cubicBezTo>
                      <a:pt x="290" y="73"/>
                      <a:pt x="290" y="71"/>
                      <a:pt x="289" y="72"/>
                    </a:cubicBezTo>
                    <a:cubicBezTo>
                      <a:pt x="279" y="76"/>
                      <a:pt x="298" y="77"/>
                      <a:pt x="281" y="79"/>
                    </a:cubicBezTo>
                    <a:cubicBezTo>
                      <a:pt x="280" y="79"/>
                      <a:pt x="279" y="78"/>
                      <a:pt x="277" y="77"/>
                    </a:cubicBezTo>
                    <a:cubicBezTo>
                      <a:pt x="276" y="75"/>
                      <a:pt x="276" y="72"/>
                      <a:pt x="275" y="71"/>
                    </a:cubicBezTo>
                    <a:cubicBezTo>
                      <a:pt x="272" y="69"/>
                      <a:pt x="264" y="68"/>
                      <a:pt x="267" y="67"/>
                    </a:cubicBezTo>
                    <a:cubicBezTo>
                      <a:pt x="274" y="60"/>
                      <a:pt x="279" y="68"/>
                      <a:pt x="272" y="55"/>
                    </a:cubicBezTo>
                    <a:cubicBezTo>
                      <a:pt x="272" y="54"/>
                      <a:pt x="271" y="54"/>
                      <a:pt x="270" y="55"/>
                    </a:cubicBezTo>
                    <a:cubicBezTo>
                      <a:pt x="269" y="56"/>
                      <a:pt x="270" y="58"/>
                      <a:pt x="269" y="59"/>
                    </a:cubicBezTo>
                    <a:cubicBezTo>
                      <a:pt x="267" y="60"/>
                      <a:pt x="264" y="59"/>
                      <a:pt x="262" y="59"/>
                    </a:cubicBezTo>
                    <a:cubicBezTo>
                      <a:pt x="259" y="59"/>
                      <a:pt x="256" y="60"/>
                      <a:pt x="254" y="59"/>
                    </a:cubicBezTo>
                    <a:cubicBezTo>
                      <a:pt x="249" y="58"/>
                      <a:pt x="239" y="49"/>
                      <a:pt x="231" y="50"/>
                    </a:cubicBezTo>
                    <a:cubicBezTo>
                      <a:pt x="228" y="51"/>
                      <a:pt x="240" y="63"/>
                      <a:pt x="239" y="64"/>
                    </a:cubicBezTo>
                    <a:cubicBezTo>
                      <a:pt x="238" y="68"/>
                      <a:pt x="232" y="67"/>
                      <a:pt x="229" y="69"/>
                    </a:cubicBezTo>
                    <a:cubicBezTo>
                      <a:pt x="228" y="71"/>
                      <a:pt x="228" y="75"/>
                      <a:pt x="226" y="76"/>
                    </a:cubicBezTo>
                    <a:cubicBezTo>
                      <a:pt x="217" y="79"/>
                      <a:pt x="214" y="64"/>
                      <a:pt x="212" y="62"/>
                    </a:cubicBezTo>
                    <a:cubicBezTo>
                      <a:pt x="199" y="54"/>
                      <a:pt x="199" y="54"/>
                      <a:pt x="199" y="54"/>
                    </a:cubicBezTo>
                    <a:cubicBezTo>
                      <a:pt x="198" y="47"/>
                      <a:pt x="220" y="44"/>
                      <a:pt x="204" y="37"/>
                    </a:cubicBezTo>
                    <a:cubicBezTo>
                      <a:pt x="202" y="35"/>
                      <a:pt x="189" y="42"/>
                      <a:pt x="189" y="42"/>
                    </a:cubicBezTo>
                    <a:cubicBezTo>
                      <a:pt x="187" y="40"/>
                      <a:pt x="189" y="37"/>
                      <a:pt x="187" y="36"/>
                    </a:cubicBezTo>
                    <a:cubicBezTo>
                      <a:pt x="187" y="34"/>
                      <a:pt x="185" y="36"/>
                      <a:pt x="183" y="36"/>
                    </a:cubicBezTo>
                    <a:cubicBezTo>
                      <a:pt x="183" y="36"/>
                      <a:pt x="182" y="38"/>
                      <a:pt x="181" y="37"/>
                    </a:cubicBezTo>
                    <a:cubicBezTo>
                      <a:pt x="180" y="36"/>
                      <a:pt x="181" y="33"/>
                      <a:pt x="178" y="31"/>
                    </a:cubicBezTo>
                    <a:cubicBezTo>
                      <a:pt x="171" y="27"/>
                      <a:pt x="164" y="32"/>
                      <a:pt x="155" y="24"/>
                    </a:cubicBezTo>
                    <a:cubicBezTo>
                      <a:pt x="148" y="20"/>
                      <a:pt x="157" y="15"/>
                      <a:pt x="147" y="14"/>
                    </a:cubicBezTo>
                    <a:cubicBezTo>
                      <a:pt x="131" y="11"/>
                      <a:pt x="149" y="24"/>
                      <a:pt x="134" y="26"/>
                    </a:cubicBezTo>
                    <a:cubicBezTo>
                      <a:pt x="133" y="28"/>
                      <a:pt x="132" y="30"/>
                      <a:pt x="130" y="30"/>
                    </a:cubicBezTo>
                    <a:cubicBezTo>
                      <a:pt x="123" y="32"/>
                      <a:pt x="111" y="0"/>
                      <a:pt x="105" y="18"/>
                    </a:cubicBezTo>
                    <a:cubicBezTo>
                      <a:pt x="104" y="21"/>
                      <a:pt x="114" y="23"/>
                      <a:pt x="112" y="25"/>
                    </a:cubicBezTo>
                    <a:cubicBezTo>
                      <a:pt x="105" y="30"/>
                      <a:pt x="95" y="31"/>
                      <a:pt x="88" y="35"/>
                    </a:cubicBezTo>
                    <a:cubicBezTo>
                      <a:pt x="87" y="36"/>
                      <a:pt x="88" y="38"/>
                      <a:pt x="87" y="39"/>
                    </a:cubicBezTo>
                    <a:cubicBezTo>
                      <a:pt x="83" y="41"/>
                      <a:pt x="77" y="38"/>
                      <a:pt x="73" y="41"/>
                    </a:cubicBezTo>
                    <a:cubicBezTo>
                      <a:pt x="70" y="43"/>
                      <a:pt x="71" y="47"/>
                      <a:pt x="69" y="50"/>
                    </a:cubicBezTo>
                    <a:cubicBezTo>
                      <a:pt x="67" y="51"/>
                      <a:pt x="66" y="47"/>
                      <a:pt x="65" y="47"/>
                    </a:cubicBezTo>
                    <a:cubicBezTo>
                      <a:pt x="60" y="49"/>
                      <a:pt x="59" y="55"/>
                      <a:pt x="56" y="58"/>
                    </a:cubicBezTo>
                    <a:cubicBezTo>
                      <a:pt x="54" y="59"/>
                      <a:pt x="50" y="57"/>
                      <a:pt x="49" y="58"/>
                    </a:cubicBezTo>
                    <a:cubicBezTo>
                      <a:pt x="47" y="59"/>
                      <a:pt x="49" y="63"/>
                      <a:pt x="47" y="64"/>
                    </a:cubicBezTo>
                    <a:cubicBezTo>
                      <a:pt x="45" y="67"/>
                      <a:pt x="39" y="62"/>
                      <a:pt x="37" y="62"/>
                    </a:cubicBezTo>
                    <a:cubicBezTo>
                      <a:pt x="23" y="64"/>
                      <a:pt x="20" y="75"/>
                      <a:pt x="16" y="84"/>
                    </a:cubicBezTo>
                    <a:cubicBezTo>
                      <a:pt x="15" y="86"/>
                      <a:pt x="15" y="79"/>
                      <a:pt x="13" y="77"/>
                    </a:cubicBezTo>
                    <a:cubicBezTo>
                      <a:pt x="11" y="75"/>
                      <a:pt x="7" y="74"/>
                      <a:pt x="5" y="73"/>
                    </a:cubicBezTo>
                    <a:cubicBezTo>
                      <a:pt x="0" y="72"/>
                      <a:pt x="10" y="90"/>
                      <a:pt x="22" y="98"/>
                    </a:cubicBezTo>
                    <a:cubicBezTo>
                      <a:pt x="23" y="98"/>
                      <a:pt x="27" y="99"/>
                      <a:pt x="27" y="102"/>
                    </a:cubicBezTo>
                    <a:cubicBezTo>
                      <a:pt x="29" y="110"/>
                      <a:pt x="22" y="107"/>
                      <a:pt x="20" y="114"/>
                    </a:cubicBezTo>
                    <a:cubicBezTo>
                      <a:pt x="20" y="115"/>
                      <a:pt x="32" y="136"/>
                      <a:pt x="34" y="138"/>
                    </a:cubicBezTo>
                    <a:cubicBezTo>
                      <a:pt x="44" y="148"/>
                      <a:pt x="46" y="141"/>
                      <a:pt x="52" y="147"/>
                    </a:cubicBezTo>
                    <a:cubicBezTo>
                      <a:pt x="56" y="151"/>
                      <a:pt x="57" y="157"/>
                      <a:pt x="61" y="161"/>
                    </a:cubicBezTo>
                    <a:cubicBezTo>
                      <a:pt x="69" y="166"/>
                      <a:pt x="88" y="174"/>
                      <a:pt x="92" y="185"/>
                    </a:cubicBezTo>
                    <a:cubicBezTo>
                      <a:pt x="93" y="185"/>
                      <a:pt x="93" y="185"/>
                      <a:pt x="93" y="185"/>
                    </a:cubicBezTo>
                    <a:cubicBezTo>
                      <a:pt x="102" y="189"/>
                      <a:pt x="109" y="201"/>
                      <a:pt x="121" y="197"/>
                    </a:cubicBezTo>
                    <a:cubicBezTo>
                      <a:pt x="123" y="196"/>
                      <a:pt x="122" y="192"/>
                      <a:pt x="125" y="192"/>
                    </a:cubicBezTo>
                    <a:cubicBezTo>
                      <a:pt x="129" y="192"/>
                      <a:pt x="133" y="197"/>
                      <a:pt x="136" y="196"/>
                    </a:cubicBezTo>
                    <a:cubicBezTo>
                      <a:pt x="141" y="181"/>
                      <a:pt x="141" y="181"/>
                      <a:pt x="141" y="181"/>
                    </a:cubicBezTo>
                    <a:cubicBezTo>
                      <a:pt x="143" y="179"/>
                      <a:pt x="147" y="183"/>
                      <a:pt x="148" y="182"/>
                    </a:cubicBezTo>
                    <a:cubicBezTo>
                      <a:pt x="150" y="180"/>
                      <a:pt x="148" y="164"/>
                      <a:pt x="149" y="163"/>
                    </a:cubicBezTo>
                    <a:cubicBezTo>
                      <a:pt x="151" y="161"/>
                      <a:pt x="154" y="162"/>
                      <a:pt x="156" y="163"/>
                    </a:cubicBezTo>
                    <a:cubicBezTo>
                      <a:pt x="157" y="164"/>
                      <a:pt x="156" y="167"/>
                      <a:pt x="157" y="167"/>
                    </a:cubicBezTo>
                    <a:cubicBezTo>
                      <a:pt x="160" y="167"/>
                      <a:pt x="163" y="164"/>
                      <a:pt x="165" y="164"/>
                    </a:cubicBezTo>
                    <a:cubicBezTo>
                      <a:pt x="182" y="164"/>
                      <a:pt x="195" y="176"/>
                      <a:pt x="210" y="178"/>
                    </a:cubicBezTo>
                    <a:cubicBezTo>
                      <a:pt x="212" y="178"/>
                      <a:pt x="215" y="179"/>
                      <a:pt x="217" y="179"/>
                    </a:cubicBezTo>
                    <a:cubicBezTo>
                      <a:pt x="221" y="177"/>
                      <a:pt x="222" y="172"/>
                      <a:pt x="225" y="171"/>
                    </a:cubicBezTo>
                    <a:cubicBezTo>
                      <a:pt x="229" y="170"/>
                      <a:pt x="234" y="178"/>
                      <a:pt x="237" y="178"/>
                    </a:cubicBezTo>
                    <a:cubicBezTo>
                      <a:pt x="239" y="178"/>
                      <a:pt x="241" y="175"/>
                      <a:pt x="243" y="176"/>
                    </a:cubicBezTo>
                    <a:cubicBezTo>
                      <a:pt x="246" y="178"/>
                      <a:pt x="247" y="180"/>
                      <a:pt x="247" y="183"/>
                    </a:cubicBezTo>
                    <a:close/>
                  </a:path>
                </a:pathLst>
              </a:custGeom>
              <a:solidFill>
                <a:srgbClr val="D9D9D9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3" name="Slovakia" descr="{&quot;Key&quot;:&quot;slovakia&quot;,&quot;Name&quot;:&quot;Slovakia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0E532CD7-4FC3-74FD-2FC8-D45E82F931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11835" y="7975385"/>
                <a:ext cx="460581" cy="273973"/>
              </a:xfrm>
              <a:custGeom>
                <a:avLst/>
                <a:gdLst>
                  <a:gd name="T0" fmla="*/ 275 w 275"/>
                  <a:gd name="T1" fmla="*/ 20 h 152"/>
                  <a:gd name="T2" fmla="*/ 271 w 275"/>
                  <a:gd name="T3" fmla="*/ 39 h 152"/>
                  <a:gd name="T4" fmla="*/ 269 w 275"/>
                  <a:gd name="T5" fmla="*/ 51 h 152"/>
                  <a:gd name="T6" fmla="*/ 262 w 275"/>
                  <a:gd name="T7" fmla="*/ 60 h 152"/>
                  <a:gd name="T8" fmla="*/ 264 w 275"/>
                  <a:gd name="T9" fmla="*/ 72 h 152"/>
                  <a:gd name="T10" fmla="*/ 251 w 275"/>
                  <a:gd name="T11" fmla="*/ 78 h 152"/>
                  <a:gd name="T12" fmla="*/ 244 w 275"/>
                  <a:gd name="T13" fmla="*/ 80 h 152"/>
                  <a:gd name="T14" fmla="*/ 228 w 275"/>
                  <a:gd name="T15" fmla="*/ 65 h 152"/>
                  <a:gd name="T16" fmla="*/ 213 w 275"/>
                  <a:gd name="T17" fmla="*/ 74 h 152"/>
                  <a:gd name="T18" fmla="*/ 183 w 275"/>
                  <a:gd name="T19" fmla="*/ 76 h 152"/>
                  <a:gd name="T20" fmla="*/ 175 w 275"/>
                  <a:gd name="T21" fmla="*/ 99 h 152"/>
                  <a:gd name="T22" fmla="*/ 167 w 275"/>
                  <a:gd name="T23" fmla="*/ 98 h 152"/>
                  <a:gd name="T24" fmla="*/ 157 w 275"/>
                  <a:gd name="T25" fmla="*/ 110 h 152"/>
                  <a:gd name="T26" fmla="*/ 138 w 275"/>
                  <a:gd name="T27" fmla="*/ 106 h 152"/>
                  <a:gd name="T28" fmla="*/ 137 w 275"/>
                  <a:gd name="T29" fmla="*/ 116 h 152"/>
                  <a:gd name="T30" fmla="*/ 105 w 275"/>
                  <a:gd name="T31" fmla="*/ 124 h 152"/>
                  <a:gd name="T32" fmla="*/ 108 w 275"/>
                  <a:gd name="T33" fmla="*/ 140 h 152"/>
                  <a:gd name="T34" fmla="*/ 55 w 275"/>
                  <a:gd name="T35" fmla="*/ 151 h 152"/>
                  <a:gd name="T36" fmla="*/ 26 w 275"/>
                  <a:gd name="T37" fmla="*/ 133 h 152"/>
                  <a:gd name="T38" fmla="*/ 21 w 275"/>
                  <a:gd name="T39" fmla="*/ 134 h 152"/>
                  <a:gd name="T40" fmla="*/ 4 w 275"/>
                  <a:gd name="T41" fmla="*/ 111 h 152"/>
                  <a:gd name="T42" fmla="*/ 8 w 275"/>
                  <a:gd name="T43" fmla="*/ 90 h 152"/>
                  <a:gd name="T44" fmla="*/ 52 w 275"/>
                  <a:gd name="T45" fmla="*/ 63 h 152"/>
                  <a:gd name="T46" fmla="*/ 53 w 275"/>
                  <a:gd name="T47" fmla="*/ 57 h 152"/>
                  <a:gd name="T48" fmla="*/ 60 w 275"/>
                  <a:gd name="T49" fmla="*/ 53 h 152"/>
                  <a:gd name="T50" fmla="*/ 64 w 275"/>
                  <a:gd name="T51" fmla="*/ 35 h 152"/>
                  <a:gd name="T52" fmla="*/ 93 w 275"/>
                  <a:gd name="T53" fmla="*/ 14 h 152"/>
                  <a:gd name="T54" fmla="*/ 99 w 275"/>
                  <a:gd name="T55" fmla="*/ 15 h 152"/>
                  <a:gd name="T56" fmla="*/ 100 w 275"/>
                  <a:gd name="T57" fmla="*/ 22 h 152"/>
                  <a:gd name="T58" fmla="*/ 122 w 275"/>
                  <a:gd name="T59" fmla="*/ 5 h 152"/>
                  <a:gd name="T60" fmla="*/ 128 w 275"/>
                  <a:gd name="T61" fmla="*/ 15 h 152"/>
                  <a:gd name="T62" fmla="*/ 132 w 275"/>
                  <a:gd name="T63" fmla="*/ 14 h 152"/>
                  <a:gd name="T64" fmla="*/ 131 w 275"/>
                  <a:gd name="T65" fmla="*/ 18 h 152"/>
                  <a:gd name="T66" fmla="*/ 139 w 275"/>
                  <a:gd name="T67" fmla="*/ 17 h 152"/>
                  <a:gd name="T68" fmla="*/ 140 w 275"/>
                  <a:gd name="T69" fmla="*/ 31 h 152"/>
                  <a:gd name="T70" fmla="*/ 148 w 275"/>
                  <a:gd name="T71" fmla="*/ 29 h 152"/>
                  <a:gd name="T72" fmla="*/ 154 w 275"/>
                  <a:gd name="T73" fmla="*/ 31 h 152"/>
                  <a:gd name="T74" fmla="*/ 170 w 275"/>
                  <a:gd name="T75" fmla="*/ 12 h 152"/>
                  <a:gd name="T76" fmla="*/ 176 w 275"/>
                  <a:gd name="T77" fmla="*/ 13 h 152"/>
                  <a:gd name="T78" fmla="*/ 182 w 275"/>
                  <a:gd name="T79" fmla="*/ 10 h 152"/>
                  <a:gd name="T80" fmla="*/ 194 w 275"/>
                  <a:gd name="T81" fmla="*/ 17 h 152"/>
                  <a:gd name="T82" fmla="*/ 202 w 275"/>
                  <a:gd name="T83" fmla="*/ 10 h 152"/>
                  <a:gd name="T84" fmla="*/ 199 w 275"/>
                  <a:gd name="T85" fmla="*/ 8 h 152"/>
                  <a:gd name="T86" fmla="*/ 206 w 275"/>
                  <a:gd name="T87" fmla="*/ 7 h 152"/>
                  <a:gd name="T88" fmla="*/ 210 w 275"/>
                  <a:gd name="T89" fmla="*/ 3 h 152"/>
                  <a:gd name="T90" fmla="*/ 245 w 275"/>
                  <a:gd name="T91" fmla="*/ 7 h 152"/>
                  <a:gd name="T92" fmla="*/ 248 w 275"/>
                  <a:gd name="T93" fmla="*/ 14 h 152"/>
                  <a:gd name="T94" fmla="*/ 260 w 275"/>
                  <a:gd name="T95" fmla="*/ 17 h 152"/>
                  <a:gd name="T96" fmla="*/ 275 w 275"/>
                  <a:gd name="T97" fmla="*/ 20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75" h="152">
                    <a:moveTo>
                      <a:pt x="275" y="20"/>
                    </a:moveTo>
                    <a:cubicBezTo>
                      <a:pt x="275" y="26"/>
                      <a:pt x="271" y="34"/>
                      <a:pt x="271" y="39"/>
                    </a:cubicBezTo>
                    <a:cubicBezTo>
                      <a:pt x="270" y="43"/>
                      <a:pt x="271" y="47"/>
                      <a:pt x="269" y="51"/>
                    </a:cubicBezTo>
                    <a:cubicBezTo>
                      <a:pt x="268" y="55"/>
                      <a:pt x="262" y="56"/>
                      <a:pt x="262" y="60"/>
                    </a:cubicBezTo>
                    <a:cubicBezTo>
                      <a:pt x="261" y="64"/>
                      <a:pt x="264" y="68"/>
                      <a:pt x="264" y="72"/>
                    </a:cubicBezTo>
                    <a:cubicBezTo>
                      <a:pt x="264" y="77"/>
                      <a:pt x="255" y="77"/>
                      <a:pt x="251" y="78"/>
                    </a:cubicBezTo>
                    <a:cubicBezTo>
                      <a:pt x="248" y="78"/>
                      <a:pt x="246" y="81"/>
                      <a:pt x="244" y="80"/>
                    </a:cubicBezTo>
                    <a:cubicBezTo>
                      <a:pt x="234" y="77"/>
                      <a:pt x="242" y="66"/>
                      <a:pt x="228" y="65"/>
                    </a:cubicBezTo>
                    <a:cubicBezTo>
                      <a:pt x="222" y="65"/>
                      <a:pt x="219" y="73"/>
                      <a:pt x="213" y="74"/>
                    </a:cubicBezTo>
                    <a:cubicBezTo>
                      <a:pt x="204" y="76"/>
                      <a:pt x="191" y="65"/>
                      <a:pt x="183" y="76"/>
                    </a:cubicBezTo>
                    <a:cubicBezTo>
                      <a:pt x="179" y="81"/>
                      <a:pt x="182" y="96"/>
                      <a:pt x="175" y="99"/>
                    </a:cubicBezTo>
                    <a:cubicBezTo>
                      <a:pt x="173" y="99"/>
                      <a:pt x="170" y="97"/>
                      <a:pt x="167" y="98"/>
                    </a:cubicBezTo>
                    <a:cubicBezTo>
                      <a:pt x="158" y="104"/>
                      <a:pt x="171" y="108"/>
                      <a:pt x="157" y="110"/>
                    </a:cubicBezTo>
                    <a:cubicBezTo>
                      <a:pt x="153" y="111"/>
                      <a:pt x="142" y="98"/>
                      <a:pt x="138" y="106"/>
                    </a:cubicBezTo>
                    <a:cubicBezTo>
                      <a:pt x="136" y="109"/>
                      <a:pt x="139" y="114"/>
                      <a:pt x="137" y="116"/>
                    </a:cubicBezTo>
                    <a:cubicBezTo>
                      <a:pt x="131" y="122"/>
                      <a:pt x="113" y="119"/>
                      <a:pt x="105" y="124"/>
                    </a:cubicBezTo>
                    <a:cubicBezTo>
                      <a:pt x="98" y="129"/>
                      <a:pt x="106" y="137"/>
                      <a:pt x="108" y="140"/>
                    </a:cubicBezTo>
                    <a:cubicBezTo>
                      <a:pt x="110" y="144"/>
                      <a:pt x="62" y="152"/>
                      <a:pt x="55" y="151"/>
                    </a:cubicBezTo>
                    <a:cubicBezTo>
                      <a:pt x="45" y="149"/>
                      <a:pt x="37" y="134"/>
                      <a:pt x="26" y="133"/>
                    </a:cubicBezTo>
                    <a:cubicBezTo>
                      <a:pt x="24" y="133"/>
                      <a:pt x="23" y="133"/>
                      <a:pt x="21" y="134"/>
                    </a:cubicBezTo>
                    <a:cubicBezTo>
                      <a:pt x="15" y="126"/>
                      <a:pt x="9" y="119"/>
                      <a:pt x="4" y="111"/>
                    </a:cubicBezTo>
                    <a:cubicBezTo>
                      <a:pt x="0" y="105"/>
                      <a:pt x="9" y="97"/>
                      <a:pt x="8" y="90"/>
                    </a:cubicBezTo>
                    <a:cubicBezTo>
                      <a:pt x="16" y="56"/>
                      <a:pt x="35" y="84"/>
                      <a:pt x="52" y="63"/>
                    </a:cubicBezTo>
                    <a:cubicBezTo>
                      <a:pt x="53" y="61"/>
                      <a:pt x="51" y="59"/>
                      <a:pt x="53" y="57"/>
                    </a:cubicBezTo>
                    <a:cubicBezTo>
                      <a:pt x="54" y="55"/>
                      <a:pt x="58" y="56"/>
                      <a:pt x="60" y="53"/>
                    </a:cubicBezTo>
                    <a:cubicBezTo>
                      <a:pt x="60" y="53"/>
                      <a:pt x="64" y="36"/>
                      <a:pt x="64" y="35"/>
                    </a:cubicBezTo>
                    <a:cubicBezTo>
                      <a:pt x="69" y="26"/>
                      <a:pt x="83" y="19"/>
                      <a:pt x="93" y="14"/>
                    </a:cubicBezTo>
                    <a:cubicBezTo>
                      <a:pt x="94" y="16"/>
                      <a:pt x="98" y="13"/>
                      <a:pt x="99" y="15"/>
                    </a:cubicBezTo>
                    <a:cubicBezTo>
                      <a:pt x="101" y="17"/>
                      <a:pt x="98" y="21"/>
                      <a:pt x="100" y="22"/>
                    </a:cubicBezTo>
                    <a:cubicBezTo>
                      <a:pt x="109" y="30"/>
                      <a:pt x="116" y="1"/>
                      <a:pt x="122" y="5"/>
                    </a:cubicBezTo>
                    <a:cubicBezTo>
                      <a:pt x="126" y="7"/>
                      <a:pt x="126" y="12"/>
                      <a:pt x="128" y="15"/>
                    </a:cubicBezTo>
                    <a:cubicBezTo>
                      <a:pt x="129" y="16"/>
                      <a:pt x="131" y="14"/>
                      <a:pt x="132" y="14"/>
                    </a:cubicBezTo>
                    <a:cubicBezTo>
                      <a:pt x="132" y="16"/>
                      <a:pt x="130" y="18"/>
                      <a:pt x="131" y="18"/>
                    </a:cubicBezTo>
                    <a:cubicBezTo>
                      <a:pt x="134" y="19"/>
                      <a:pt x="137" y="16"/>
                      <a:pt x="139" y="17"/>
                    </a:cubicBezTo>
                    <a:cubicBezTo>
                      <a:pt x="143" y="19"/>
                      <a:pt x="140" y="30"/>
                      <a:pt x="140" y="31"/>
                    </a:cubicBezTo>
                    <a:cubicBezTo>
                      <a:pt x="140" y="34"/>
                      <a:pt x="145" y="29"/>
                      <a:pt x="148" y="29"/>
                    </a:cubicBezTo>
                    <a:cubicBezTo>
                      <a:pt x="150" y="28"/>
                      <a:pt x="152" y="33"/>
                      <a:pt x="154" y="31"/>
                    </a:cubicBezTo>
                    <a:cubicBezTo>
                      <a:pt x="155" y="31"/>
                      <a:pt x="162" y="13"/>
                      <a:pt x="170" y="12"/>
                    </a:cubicBezTo>
                    <a:cubicBezTo>
                      <a:pt x="172" y="11"/>
                      <a:pt x="174" y="13"/>
                      <a:pt x="176" y="13"/>
                    </a:cubicBezTo>
                    <a:cubicBezTo>
                      <a:pt x="179" y="13"/>
                      <a:pt x="180" y="9"/>
                      <a:pt x="182" y="10"/>
                    </a:cubicBezTo>
                    <a:cubicBezTo>
                      <a:pt x="187" y="10"/>
                      <a:pt x="189" y="17"/>
                      <a:pt x="194" y="17"/>
                    </a:cubicBezTo>
                    <a:cubicBezTo>
                      <a:pt x="197" y="17"/>
                      <a:pt x="200" y="13"/>
                      <a:pt x="202" y="10"/>
                    </a:cubicBezTo>
                    <a:cubicBezTo>
                      <a:pt x="202" y="9"/>
                      <a:pt x="199" y="9"/>
                      <a:pt x="199" y="8"/>
                    </a:cubicBezTo>
                    <a:cubicBezTo>
                      <a:pt x="201" y="0"/>
                      <a:pt x="204" y="8"/>
                      <a:pt x="206" y="7"/>
                    </a:cubicBezTo>
                    <a:cubicBezTo>
                      <a:pt x="208" y="7"/>
                      <a:pt x="208" y="3"/>
                      <a:pt x="210" y="3"/>
                    </a:cubicBezTo>
                    <a:cubicBezTo>
                      <a:pt x="218" y="1"/>
                      <a:pt x="238" y="1"/>
                      <a:pt x="245" y="7"/>
                    </a:cubicBezTo>
                    <a:cubicBezTo>
                      <a:pt x="247" y="9"/>
                      <a:pt x="246" y="13"/>
                      <a:pt x="248" y="14"/>
                    </a:cubicBezTo>
                    <a:cubicBezTo>
                      <a:pt x="252" y="16"/>
                      <a:pt x="256" y="16"/>
                      <a:pt x="260" y="17"/>
                    </a:cubicBezTo>
                    <a:cubicBezTo>
                      <a:pt x="265" y="19"/>
                      <a:pt x="270" y="20"/>
                      <a:pt x="275" y="20"/>
                    </a:cubicBez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4" name="Hungary" descr="{&quot;Key&quot;:&quot;hungary&quot;,&quot;Name&quot;:&quot;Hungary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4C1596C6-100A-8D01-55A5-8000E49462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3329" y="8091665"/>
                <a:ext cx="553886" cy="417333"/>
              </a:xfrm>
              <a:custGeom>
                <a:avLst/>
                <a:gdLst>
                  <a:gd name="T0" fmla="*/ 27 w 331"/>
                  <a:gd name="T1" fmla="*/ 186 h 232"/>
                  <a:gd name="T2" fmla="*/ 77 w 331"/>
                  <a:gd name="T3" fmla="*/ 222 h 232"/>
                  <a:gd name="T4" fmla="*/ 94 w 331"/>
                  <a:gd name="T5" fmla="*/ 229 h 232"/>
                  <a:gd name="T6" fmla="*/ 139 w 331"/>
                  <a:gd name="T7" fmla="*/ 216 h 232"/>
                  <a:gd name="T8" fmla="*/ 161 w 331"/>
                  <a:gd name="T9" fmla="*/ 207 h 232"/>
                  <a:gd name="T10" fmla="*/ 182 w 331"/>
                  <a:gd name="T11" fmla="*/ 192 h 232"/>
                  <a:gd name="T12" fmla="*/ 210 w 331"/>
                  <a:gd name="T13" fmla="*/ 188 h 232"/>
                  <a:gd name="T14" fmla="*/ 221 w 331"/>
                  <a:gd name="T15" fmla="*/ 188 h 232"/>
                  <a:gd name="T16" fmla="*/ 245 w 331"/>
                  <a:gd name="T17" fmla="*/ 174 h 232"/>
                  <a:gd name="T18" fmla="*/ 257 w 331"/>
                  <a:gd name="T19" fmla="*/ 176 h 232"/>
                  <a:gd name="T20" fmla="*/ 272 w 331"/>
                  <a:gd name="T21" fmla="*/ 142 h 232"/>
                  <a:gd name="T22" fmla="*/ 281 w 331"/>
                  <a:gd name="T23" fmla="*/ 115 h 232"/>
                  <a:gd name="T24" fmla="*/ 288 w 331"/>
                  <a:gd name="T25" fmla="*/ 87 h 232"/>
                  <a:gd name="T26" fmla="*/ 303 w 331"/>
                  <a:gd name="T27" fmla="*/ 55 h 232"/>
                  <a:gd name="T28" fmla="*/ 329 w 331"/>
                  <a:gd name="T29" fmla="*/ 35 h 232"/>
                  <a:gd name="T30" fmla="*/ 319 w 331"/>
                  <a:gd name="T31" fmla="*/ 24 h 232"/>
                  <a:gd name="T32" fmla="*/ 306 w 331"/>
                  <a:gd name="T33" fmla="*/ 16 h 232"/>
                  <a:gd name="T34" fmla="*/ 300 w 331"/>
                  <a:gd name="T35" fmla="*/ 17 h 232"/>
                  <a:gd name="T36" fmla="*/ 274 w 331"/>
                  <a:gd name="T37" fmla="*/ 13 h 232"/>
                  <a:gd name="T38" fmla="*/ 251 w 331"/>
                  <a:gd name="T39" fmla="*/ 0 h 232"/>
                  <a:gd name="T40" fmla="*/ 225 w 331"/>
                  <a:gd name="T41" fmla="*/ 8 h 232"/>
                  <a:gd name="T42" fmla="*/ 198 w 331"/>
                  <a:gd name="T43" fmla="*/ 34 h 232"/>
                  <a:gd name="T44" fmla="*/ 190 w 331"/>
                  <a:gd name="T45" fmla="*/ 33 h 232"/>
                  <a:gd name="T46" fmla="*/ 173 w 331"/>
                  <a:gd name="T47" fmla="*/ 42 h 232"/>
                  <a:gd name="T48" fmla="*/ 160 w 331"/>
                  <a:gd name="T49" fmla="*/ 51 h 232"/>
                  <a:gd name="T50" fmla="*/ 131 w 331"/>
                  <a:gd name="T51" fmla="*/ 75 h 232"/>
                  <a:gd name="T52" fmla="*/ 49 w 331"/>
                  <a:gd name="T53" fmla="*/ 68 h 232"/>
                  <a:gd name="T54" fmla="*/ 44 w 331"/>
                  <a:gd name="T55" fmla="*/ 93 h 232"/>
                  <a:gd name="T56" fmla="*/ 12 w 331"/>
                  <a:gd name="T57" fmla="*/ 97 h 232"/>
                  <a:gd name="T58" fmla="*/ 14 w 331"/>
                  <a:gd name="T59" fmla="*/ 119 h 232"/>
                  <a:gd name="T60" fmla="*/ 0 w 331"/>
                  <a:gd name="T61" fmla="*/ 160 h 232"/>
                  <a:gd name="T62" fmla="*/ 3 w 331"/>
                  <a:gd name="T63" fmla="*/ 159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31" h="232">
                    <a:moveTo>
                      <a:pt x="9" y="159"/>
                    </a:moveTo>
                    <a:cubicBezTo>
                      <a:pt x="11" y="159"/>
                      <a:pt x="16" y="176"/>
                      <a:pt x="27" y="186"/>
                    </a:cubicBezTo>
                    <a:cubicBezTo>
                      <a:pt x="43" y="198"/>
                      <a:pt x="56" y="205"/>
                      <a:pt x="68" y="220"/>
                    </a:cubicBezTo>
                    <a:cubicBezTo>
                      <a:pt x="69" y="222"/>
                      <a:pt x="74" y="222"/>
                      <a:pt x="77" y="222"/>
                    </a:cubicBezTo>
                    <a:cubicBezTo>
                      <a:pt x="80" y="221"/>
                      <a:pt x="81" y="221"/>
                      <a:pt x="82" y="222"/>
                    </a:cubicBezTo>
                    <a:cubicBezTo>
                      <a:pt x="86" y="223"/>
                      <a:pt x="90" y="227"/>
                      <a:pt x="94" y="229"/>
                    </a:cubicBezTo>
                    <a:cubicBezTo>
                      <a:pt x="102" y="232"/>
                      <a:pt x="126" y="232"/>
                      <a:pt x="134" y="226"/>
                    </a:cubicBezTo>
                    <a:cubicBezTo>
                      <a:pt x="135" y="224"/>
                      <a:pt x="135" y="216"/>
                      <a:pt x="139" y="216"/>
                    </a:cubicBezTo>
                    <a:cubicBezTo>
                      <a:pt x="150" y="215"/>
                      <a:pt x="149" y="217"/>
                      <a:pt x="158" y="206"/>
                    </a:cubicBezTo>
                    <a:cubicBezTo>
                      <a:pt x="159" y="206"/>
                      <a:pt x="160" y="206"/>
                      <a:pt x="161" y="207"/>
                    </a:cubicBezTo>
                    <a:cubicBezTo>
                      <a:pt x="162" y="208"/>
                      <a:pt x="164" y="209"/>
                      <a:pt x="167" y="206"/>
                    </a:cubicBezTo>
                    <a:cubicBezTo>
                      <a:pt x="172" y="202"/>
                      <a:pt x="176" y="196"/>
                      <a:pt x="182" y="192"/>
                    </a:cubicBezTo>
                    <a:cubicBezTo>
                      <a:pt x="195" y="184"/>
                      <a:pt x="184" y="192"/>
                      <a:pt x="194" y="193"/>
                    </a:cubicBezTo>
                    <a:cubicBezTo>
                      <a:pt x="194" y="193"/>
                      <a:pt x="209" y="188"/>
                      <a:pt x="210" y="188"/>
                    </a:cubicBezTo>
                    <a:cubicBezTo>
                      <a:pt x="212" y="188"/>
                      <a:pt x="215" y="191"/>
                      <a:pt x="218" y="191"/>
                    </a:cubicBezTo>
                    <a:cubicBezTo>
                      <a:pt x="219" y="190"/>
                      <a:pt x="220" y="188"/>
                      <a:pt x="221" y="188"/>
                    </a:cubicBezTo>
                    <a:cubicBezTo>
                      <a:pt x="224" y="187"/>
                      <a:pt x="241" y="185"/>
                      <a:pt x="242" y="181"/>
                    </a:cubicBezTo>
                    <a:cubicBezTo>
                      <a:pt x="244" y="179"/>
                      <a:pt x="235" y="176"/>
                      <a:pt x="245" y="174"/>
                    </a:cubicBezTo>
                    <a:cubicBezTo>
                      <a:pt x="247" y="174"/>
                      <a:pt x="249" y="175"/>
                      <a:pt x="251" y="175"/>
                    </a:cubicBezTo>
                    <a:cubicBezTo>
                      <a:pt x="253" y="176"/>
                      <a:pt x="255" y="177"/>
                      <a:pt x="257" y="176"/>
                    </a:cubicBezTo>
                    <a:cubicBezTo>
                      <a:pt x="267" y="172"/>
                      <a:pt x="264" y="152"/>
                      <a:pt x="267" y="146"/>
                    </a:cubicBezTo>
                    <a:cubicBezTo>
                      <a:pt x="268" y="144"/>
                      <a:pt x="271" y="144"/>
                      <a:pt x="272" y="142"/>
                    </a:cubicBezTo>
                    <a:cubicBezTo>
                      <a:pt x="278" y="123"/>
                      <a:pt x="278" y="123"/>
                      <a:pt x="278" y="123"/>
                    </a:cubicBezTo>
                    <a:cubicBezTo>
                      <a:pt x="279" y="120"/>
                      <a:pt x="281" y="117"/>
                      <a:pt x="281" y="115"/>
                    </a:cubicBezTo>
                    <a:cubicBezTo>
                      <a:pt x="281" y="114"/>
                      <a:pt x="278" y="114"/>
                      <a:pt x="278" y="112"/>
                    </a:cubicBezTo>
                    <a:cubicBezTo>
                      <a:pt x="279" y="107"/>
                      <a:pt x="285" y="91"/>
                      <a:pt x="288" y="87"/>
                    </a:cubicBezTo>
                    <a:cubicBezTo>
                      <a:pt x="289" y="86"/>
                      <a:pt x="292" y="87"/>
                      <a:pt x="292" y="85"/>
                    </a:cubicBezTo>
                    <a:cubicBezTo>
                      <a:pt x="294" y="74"/>
                      <a:pt x="291" y="67"/>
                      <a:pt x="303" y="55"/>
                    </a:cubicBezTo>
                    <a:cubicBezTo>
                      <a:pt x="307" y="50"/>
                      <a:pt x="311" y="53"/>
                      <a:pt x="318" y="51"/>
                    </a:cubicBezTo>
                    <a:cubicBezTo>
                      <a:pt x="324" y="48"/>
                      <a:pt x="324" y="39"/>
                      <a:pt x="329" y="35"/>
                    </a:cubicBezTo>
                    <a:cubicBezTo>
                      <a:pt x="322" y="29"/>
                      <a:pt x="331" y="30"/>
                      <a:pt x="324" y="25"/>
                    </a:cubicBezTo>
                    <a:cubicBezTo>
                      <a:pt x="323" y="25"/>
                      <a:pt x="321" y="24"/>
                      <a:pt x="319" y="24"/>
                    </a:cubicBezTo>
                    <a:cubicBezTo>
                      <a:pt x="317" y="24"/>
                      <a:pt x="315" y="27"/>
                      <a:pt x="313" y="26"/>
                    </a:cubicBezTo>
                    <a:cubicBezTo>
                      <a:pt x="310" y="24"/>
                      <a:pt x="309" y="18"/>
                      <a:pt x="306" y="16"/>
                    </a:cubicBezTo>
                    <a:cubicBezTo>
                      <a:pt x="305" y="16"/>
                      <a:pt x="304" y="16"/>
                      <a:pt x="303" y="17"/>
                    </a:cubicBezTo>
                    <a:cubicBezTo>
                      <a:pt x="302" y="17"/>
                      <a:pt x="301" y="18"/>
                      <a:pt x="300" y="17"/>
                    </a:cubicBezTo>
                    <a:cubicBezTo>
                      <a:pt x="291" y="14"/>
                      <a:pt x="300" y="8"/>
                      <a:pt x="287" y="7"/>
                    </a:cubicBezTo>
                    <a:cubicBezTo>
                      <a:pt x="287" y="12"/>
                      <a:pt x="278" y="12"/>
                      <a:pt x="274" y="13"/>
                    </a:cubicBezTo>
                    <a:cubicBezTo>
                      <a:pt x="271" y="13"/>
                      <a:pt x="269" y="16"/>
                      <a:pt x="267" y="15"/>
                    </a:cubicBezTo>
                    <a:cubicBezTo>
                      <a:pt x="257" y="12"/>
                      <a:pt x="265" y="1"/>
                      <a:pt x="251" y="0"/>
                    </a:cubicBezTo>
                    <a:cubicBezTo>
                      <a:pt x="245" y="0"/>
                      <a:pt x="242" y="8"/>
                      <a:pt x="236" y="9"/>
                    </a:cubicBezTo>
                    <a:cubicBezTo>
                      <a:pt x="233" y="9"/>
                      <a:pt x="229" y="9"/>
                      <a:pt x="225" y="8"/>
                    </a:cubicBezTo>
                    <a:cubicBezTo>
                      <a:pt x="218" y="6"/>
                      <a:pt x="211" y="4"/>
                      <a:pt x="206" y="11"/>
                    </a:cubicBezTo>
                    <a:cubicBezTo>
                      <a:pt x="202" y="16"/>
                      <a:pt x="205" y="31"/>
                      <a:pt x="198" y="34"/>
                    </a:cubicBezTo>
                    <a:cubicBezTo>
                      <a:pt x="197" y="34"/>
                      <a:pt x="196" y="34"/>
                      <a:pt x="195" y="33"/>
                    </a:cubicBezTo>
                    <a:cubicBezTo>
                      <a:pt x="193" y="33"/>
                      <a:pt x="192" y="33"/>
                      <a:pt x="190" y="33"/>
                    </a:cubicBezTo>
                    <a:cubicBezTo>
                      <a:pt x="181" y="39"/>
                      <a:pt x="194" y="43"/>
                      <a:pt x="180" y="45"/>
                    </a:cubicBezTo>
                    <a:cubicBezTo>
                      <a:pt x="178" y="45"/>
                      <a:pt x="176" y="44"/>
                      <a:pt x="173" y="42"/>
                    </a:cubicBezTo>
                    <a:cubicBezTo>
                      <a:pt x="169" y="39"/>
                      <a:pt x="164" y="36"/>
                      <a:pt x="161" y="41"/>
                    </a:cubicBezTo>
                    <a:cubicBezTo>
                      <a:pt x="159" y="44"/>
                      <a:pt x="162" y="49"/>
                      <a:pt x="160" y="51"/>
                    </a:cubicBezTo>
                    <a:cubicBezTo>
                      <a:pt x="154" y="58"/>
                      <a:pt x="136" y="54"/>
                      <a:pt x="128" y="59"/>
                    </a:cubicBezTo>
                    <a:cubicBezTo>
                      <a:pt x="121" y="64"/>
                      <a:pt x="129" y="72"/>
                      <a:pt x="131" y="75"/>
                    </a:cubicBezTo>
                    <a:cubicBezTo>
                      <a:pt x="133" y="79"/>
                      <a:pt x="85" y="87"/>
                      <a:pt x="78" y="86"/>
                    </a:cubicBezTo>
                    <a:cubicBezTo>
                      <a:pt x="68" y="84"/>
                      <a:pt x="60" y="69"/>
                      <a:pt x="49" y="68"/>
                    </a:cubicBezTo>
                    <a:cubicBezTo>
                      <a:pt x="47" y="68"/>
                      <a:pt x="46" y="68"/>
                      <a:pt x="44" y="69"/>
                    </a:cubicBezTo>
                    <a:cubicBezTo>
                      <a:pt x="36" y="72"/>
                      <a:pt x="44" y="90"/>
                      <a:pt x="44" y="93"/>
                    </a:cubicBezTo>
                    <a:cubicBezTo>
                      <a:pt x="42" y="96"/>
                      <a:pt x="36" y="95"/>
                      <a:pt x="30" y="94"/>
                    </a:cubicBezTo>
                    <a:cubicBezTo>
                      <a:pt x="23" y="94"/>
                      <a:pt x="16" y="93"/>
                      <a:pt x="12" y="97"/>
                    </a:cubicBezTo>
                    <a:cubicBezTo>
                      <a:pt x="9" y="99"/>
                      <a:pt x="26" y="98"/>
                      <a:pt x="26" y="108"/>
                    </a:cubicBezTo>
                    <a:cubicBezTo>
                      <a:pt x="27" y="119"/>
                      <a:pt x="18" y="111"/>
                      <a:pt x="14" y="119"/>
                    </a:cubicBezTo>
                    <a:cubicBezTo>
                      <a:pt x="11" y="124"/>
                      <a:pt x="21" y="136"/>
                      <a:pt x="20" y="138"/>
                    </a:cubicBezTo>
                    <a:cubicBezTo>
                      <a:pt x="15" y="147"/>
                      <a:pt x="10" y="149"/>
                      <a:pt x="0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1" y="160"/>
                      <a:pt x="1" y="159"/>
                      <a:pt x="3" y="159"/>
                    </a:cubicBezTo>
                    <a:cubicBezTo>
                      <a:pt x="9" y="159"/>
                      <a:pt x="9" y="159"/>
                      <a:pt x="9" y="159"/>
                    </a:cubicBezTo>
                  </a:path>
                </a:pathLst>
              </a:custGeom>
              <a:grpFill/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5" name="Lithuania" descr="{&quot;Key&quot;:&quot;lithuania&quot;,&quot;Name&quot;:&quot;Lithuania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5A2460DA-A0F7-A09F-9EA3-0C55809B060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14728" y="7000546"/>
                <a:ext cx="420596" cy="359990"/>
              </a:xfrm>
              <a:custGeom>
                <a:avLst/>
                <a:gdLst>
                  <a:gd name="T0" fmla="*/ 98 w 252"/>
                  <a:gd name="T1" fmla="*/ 167 h 200"/>
                  <a:gd name="T2" fmla="*/ 128 w 252"/>
                  <a:gd name="T3" fmla="*/ 183 h 200"/>
                  <a:gd name="T4" fmla="*/ 160 w 252"/>
                  <a:gd name="T5" fmla="*/ 189 h 200"/>
                  <a:gd name="T6" fmla="*/ 179 w 252"/>
                  <a:gd name="T7" fmla="*/ 183 h 200"/>
                  <a:gd name="T8" fmla="*/ 185 w 252"/>
                  <a:gd name="T9" fmla="*/ 172 h 200"/>
                  <a:gd name="T10" fmla="*/ 200 w 252"/>
                  <a:gd name="T11" fmla="*/ 158 h 200"/>
                  <a:gd name="T12" fmla="*/ 214 w 252"/>
                  <a:gd name="T13" fmla="*/ 161 h 200"/>
                  <a:gd name="T14" fmla="*/ 213 w 252"/>
                  <a:gd name="T15" fmla="*/ 148 h 200"/>
                  <a:gd name="T16" fmla="*/ 213 w 252"/>
                  <a:gd name="T17" fmla="*/ 114 h 200"/>
                  <a:gd name="T18" fmla="*/ 228 w 252"/>
                  <a:gd name="T19" fmla="*/ 96 h 200"/>
                  <a:gd name="T20" fmla="*/ 245 w 252"/>
                  <a:gd name="T21" fmla="*/ 81 h 200"/>
                  <a:gd name="T22" fmla="*/ 250 w 252"/>
                  <a:gd name="T23" fmla="*/ 69 h 200"/>
                  <a:gd name="T24" fmla="*/ 235 w 252"/>
                  <a:gd name="T25" fmla="*/ 42 h 200"/>
                  <a:gd name="T26" fmla="*/ 230 w 252"/>
                  <a:gd name="T27" fmla="*/ 42 h 200"/>
                  <a:gd name="T28" fmla="*/ 167 w 252"/>
                  <a:gd name="T29" fmla="*/ 18 h 200"/>
                  <a:gd name="T30" fmla="*/ 141 w 252"/>
                  <a:gd name="T31" fmla="*/ 16 h 200"/>
                  <a:gd name="T32" fmla="*/ 125 w 252"/>
                  <a:gd name="T33" fmla="*/ 21 h 200"/>
                  <a:gd name="T34" fmla="*/ 98 w 252"/>
                  <a:gd name="T35" fmla="*/ 21 h 200"/>
                  <a:gd name="T36" fmla="*/ 82 w 252"/>
                  <a:gd name="T37" fmla="*/ 27 h 200"/>
                  <a:gd name="T38" fmla="*/ 67 w 252"/>
                  <a:gd name="T39" fmla="*/ 25 h 200"/>
                  <a:gd name="T40" fmla="*/ 12 w 252"/>
                  <a:gd name="T41" fmla="*/ 45 h 200"/>
                  <a:gd name="T42" fmla="*/ 2 w 252"/>
                  <a:gd name="T43" fmla="*/ 58 h 200"/>
                  <a:gd name="T44" fmla="*/ 6 w 252"/>
                  <a:gd name="T45" fmla="*/ 80 h 200"/>
                  <a:gd name="T46" fmla="*/ 11 w 252"/>
                  <a:gd name="T47" fmla="*/ 89 h 200"/>
                  <a:gd name="T48" fmla="*/ 16 w 252"/>
                  <a:gd name="T49" fmla="*/ 112 h 200"/>
                  <a:gd name="T50" fmla="*/ 21 w 252"/>
                  <a:gd name="T51" fmla="*/ 115 h 200"/>
                  <a:gd name="T52" fmla="*/ 25 w 252"/>
                  <a:gd name="T53" fmla="*/ 114 h 200"/>
                  <a:gd name="T54" fmla="*/ 54 w 252"/>
                  <a:gd name="T55" fmla="*/ 124 h 200"/>
                  <a:gd name="T56" fmla="*/ 79 w 252"/>
                  <a:gd name="T57" fmla="*/ 121 h 200"/>
                  <a:gd name="T58" fmla="*/ 85 w 252"/>
                  <a:gd name="T59" fmla="*/ 128 h 200"/>
                  <a:gd name="T60" fmla="*/ 96 w 252"/>
                  <a:gd name="T61" fmla="*/ 171 h 200"/>
                  <a:gd name="T62" fmla="*/ 7 w 252"/>
                  <a:gd name="T63" fmla="*/ 84 h 200"/>
                  <a:gd name="T64" fmla="*/ 7 w 252"/>
                  <a:gd name="T65" fmla="*/ 116 h 200"/>
                  <a:gd name="T66" fmla="*/ 11 w 252"/>
                  <a:gd name="T67" fmla="*/ 105 h 200"/>
                  <a:gd name="T68" fmla="*/ 8 w 252"/>
                  <a:gd name="T69" fmla="*/ 83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52" h="200">
                    <a:moveTo>
                      <a:pt x="96" y="171"/>
                    </a:moveTo>
                    <a:cubicBezTo>
                      <a:pt x="97" y="170"/>
                      <a:pt x="97" y="167"/>
                      <a:pt x="98" y="167"/>
                    </a:cubicBezTo>
                    <a:cubicBezTo>
                      <a:pt x="107" y="164"/>
                      <a:pt x="103" y="171"/>
                      <a:pt x="109" y="174"/>
                    </a:cubicBezTo>
                    <a:cubicBezTo>
                      <a:pt x="124" y="180"/>
                      <a:pt x="118" y="168"/>
                      <a:pt x="128" y="183"/>
                    </a:cubicBezTo>
                    <a:cubicBezTo>
                      <a:pt x="132" y="187"/>
                      <a:pt x="128" y="193"/>
                      <a:pt x="132" y="196"/>
                    </a:cubicBezTo>
                    <a:cubicBezTo>
                      <a:pt x="139" y="200"/>
                      <a:pt x="155" y="191"/>
                      <a:pt x="160" y="189"/>
                    </a:cubicBezTo>
                    <a:cubicBezTo>
                      <a:pt x="164" y="187"/>
                      <a:pt x="166" y="197"/>
                      <a:pt x="171" y="193"/>
                    </a:cubicBezTo>
                    <a:cubicBezTo>
                      <a:pt x="175" y="190"/>
                      <a:pt x="175" y="185"/>
                      <a:pt x="179" y="183"/>
                    </a:cubicBezTo>
                    <a:cubicBezTo>
                      <a:pt x="182" y="181"/>
                      <a:pt x="185" y="183"/>
                      <a:pt x="188" y="182"/>
                    </a:cubicBezTo>
                    <a:cubicBezTo>
                      <a:pt x="191" y="181"/>
                      <a:pt x="183" y="175"/>
                      <a:pt x="185" y="172"/>
                    </a:cubicBezTo>
                    <a:cubicBezTo>
                      <a:pt x="188" y="169"/>
                      <a:pt x="193" y="170"/>
                      <a:pt x="197" y="168"/>
                    </a:cubicBezTo>
                    <a:cubicBezTo>
                      <a:pt x="206" y="163"/>
                      <a:pt x="194" y="164"/>
                      <a:pt x="200" y="158"/>
                    </a:cubicBezTo>
                    <a:cubicBezTo>
                      <a:pt x="202" y="155"/>
                      <a:pt x="215" y="149"/>
                      <a:pt x="216" y="157"/>
                    </a:cubicBezTo>
                    <a:cubicBezTo>
                      <a:pt x="217" y="158"/>
                      <a:pt x="214" y="159"/>
                      <a:pt x="214" y="161"/>
                    </a:cubicBezTo>
                    <a:cubicBezTo>
                      <a:pt x="213" y="166"/>
                      <a:pt x="225" y="162"/>
                      <a:pt x="226" y="159"/>
                    </a:cubicBezTo>
                    <a:cubicBezTo>
                      <a:pt x="231" y="147"/>
                      <a:pt x="213" y="150"/>
                      <a:pt x="213" y="148"/>
                    </a:cubicBezTo>
                    <a:cubicBezTo>
                      <a:pt x="213" y="146"/>
                      <a:pt x="218" y="130"/>
                      <a:pt x="218" y="129"/>
                    </a:cubicBezTo>
                    <a:cubicBezTo>
                      <a:pt x="213" y="114"/>
                      <a:pt x="213" y="114"/>
                      <a:pt x="213" y="114"/>
                    </a:cubicBezTo>
                    <a:cubicBezTo>
                      <a:pt x="213" y="113"/>
                      <a:pt x="216" y="113"/>
                      <a:pt x="216" y="112"/>
                    </a:cubicBezTo>
                    <a:cubicBezTo>
                      <a:pt x="222" y="91"/>
                      <a:pt x="217" y="113"/>
                      <a:pt x="228" y="96"/>
                    </a:cubicBezTo>
                    <a:cubicBezTo>
                      <a:pt x="231" y="93"/>
                      <a:pt x="228" y="87"/>
                      <a:pt x="230" y="83"/>
                    </a:cubicBezTo>
                    <a:cubicBezTo>
                      <a:pt x="233" y="79"/>
                      <a:pt x="242" y="85"/>
                      <a:pt x="245" y="81"/>
                    </a:cubicBezTo>
                    <a:cubicBezTo>
                      <a:pt x="247" y="78"/>
                      <a:pt x="244" y="75"/>
                      <a:pt x="245" y="73"/>
                    </a:cubicBezTo>
                    <a:cubicBezTo>
                      <a:pt x="246" y="71"/>
                      <a:pt x="249" y="71"/>
                      <a:pt x="250" y="69"/>
                    </a:cubicBezTo>
                    <a:cubicBezTo>
                      <a:pt x="252" y="61"/>
                      <a:pt x="233" y="72"/>
                      <a:pt x="234" y="67"/>
                    </a:cubicBezTo>
                    <a:cubicBezTo>
                      <a:pt x="234" y="58"/>
                      <a:pt x="238" y="51"/>
                      <a:pt x="235" y="42"/>
                    </a:cubicBezTo>
                    <a:cubicBezTo>
                      <a:pt x="235" y="42"/>
                      <a:pt x="235" y="42"/>
                      <a:pt x="235" y="42"/>
                    </a:cubicBezTo>
                    <a:cubicBezTo>
                      <a:pt x="233" y="42"/>
                      <a:pt x="231" y="42"/>
                      <a:pt x="230" y="42"/>
                    </a:cubicBezTo>
                    <a:cubicBezTo>
                      <a:pt x="217" y="40"/>
                      <a:pt x="200" y="19"/>
                      <a:pt x="189" y="16"/>
                    </a:cubicBezTo>
                    <a:cubicBezTo>
                      <a:pt x="182" y="14"/>
                      <a:pt x="174" y="18"/>
                      <a:pt x="167" y="18"/>
                    </a:cubicBezTo>
                    <a:cubicBezTo>
                      <a:pt x="160" y="18"/>
                      <a:pt x="157" y="0"/>
                      <a:pt x="152" y="2"/>
                    </a:cubicBezTo>
                    <a:cubicBezTo>
                      <a:pt x="145" y="3"/>
                      <a:pt x="145" y="12"/>
                      <a:pt x="141" y="16"/>
                    </a:cubicBezTo>
                    <a:cubicBezTo>
                      <a:pt x="137" y="23"/>
                      <a:pt x="137" y="15"/>
                      <a:pt x="132" y="16"/>
                    </a:cubicBezTo>
                    <a:cubicBezTo>
                      <a:pt x="129" y="16"/>
                      <a:pt x="128" y="20"/>
                      <a:pt x="125" y="21"/>
                    </a:cubicBezTo>
                    <a:cubicBezTo>
                      <a:pt x="124" y="21"/>
                      <a:pt x="107" y="17"/>
                      <a:pt x="107" y="17"/>
                    </a:cubicBezTo>
                    <a:cubicBezTo>
                      <a:pt x="104" y="17"/>
                      <a:pt x="102" y="21"/>
                      <a:pt x="98" y="21"/>
                    </a:cubicBezTo>
                    <a:cubicBezTo>
                      <a:pt x="92" y="22"/>
                      <a:pt x="90" y="16"/>
                      <a:pt x="85" y="21"/>
                    </a:cubicBezTo>
                    <a:cubicBezTo>
                      <a:pt x="83" y="23"/>
                      <a:pt x="84" y="26"/>
                      <a:pt x="82" y="27"/>
                    </a:cubicBezTo>
                    <a:cubicBezTo>
                      <a:pt x="80" y="30"/>
                      <a:pt x="77" y="20"/>
                      <a:pt x="74" y="20"/>
                    </a:cubicBezTo>
                    <a:cubicBezTo>
                      <a:pt x="71" y="20"/>
                      <a:pt x="70" y="24"/>
                      <a:pt x="67" y="25"/>
                    </a:cubicBezTo>
                    <a:cubicBezTo>
                      <a:pt x="63" y="26"/>
                      <a:pt x="45" y="25"/>
                      <a:pt x="41" y="26"/>
                    </a:cubicBezTo>
                    <a:cubicBezTo>
                      <a:pt x="34" y="28"/>
                      <a:pt x="16" y="39"/>
                      <a:pt x="12" y="45"/>
                    </a:cubicBezTo>
                    <a:cubicBezTo>
                      <a:pt x="10" y="48"/>
                      <a:pt x="10" y="53"/>
                      <a:pt x="8" y="56"/>
                    </a:cubicBezTo>
                    <a:cubicBezTo>
                      <a:pt x="6" y="58"/>
                      <a:pt x="4" y="58"/>
                      <a:pt x="2" y="58"/>
                    </a:cubicBezTo>
                    <a:cubicBezTo>
                      <a:pt x="2" y="59"/>
                      <a:pt x="2" y="59"/>
                      <a:pt x="3" y="60"/>
                    </a:cubicBezTo>
                    <a:cubicBezTo>
                      <a:pt x="7" y="74"/>
                      <a:pt x="0" y="65"/>
                      <a:pt x="6" y="80"/>
                    </a:cubicBezTo>
                    <a:cubicBezTo>
                      <a:pt x="6" y="81"/>
                      <a:pt x="7" y="82"/>
                      <a:pt x="8" y="83"/>
                    </a:cubicBezTo>
                    <a:cubicBezTo>
                      <a:pt x="9" y="85"/>
                      <a:pt x="10" y="87"/>
                      <a:pt x="11" y="89"/>
                    </a:cubicBezTo>
                    <a:cubicBezTo>
                      <a:pt x="14" y="93"/>
                      <a:pt x="16" y="97"/>
                      <a:pt x="17" y="102"/>
                    </a:cubicBezTo>
                    <a:cubicBezTo>
                      <a:pt x="18" y="105"/>
                      <a:pt x="15" y="108"/>
                      <a:pt x="16" y="112"/>
                    </a:cubicBezTo>
                    <a:cubicBezTo>
                      <a:pt x="16" y="113"/>
                      <a:pt x="17" y="109"/>
                      <a:pt x="18" y="109"/>
                    </a:cubicBezTo>
                    <a:cubicBezTo>
                      <a:pt x="20" y="108"/>
                      <a:pt x="20" y="113"/>
                      <a:pt x="21" y="115"/>
                    </a:cubicBezTo>
                    <a:cubicBezTo>
                      <a:pt x="21" y="116"/>
                      <a:pt x="21" y="116"/>
                      <a:pt x="21" y="117"/>
                    </a:cubicBezTo>
                    <a:cubicBezTo>
                      <a:pt x="23" y="116"/>
                      <a:pt x="23" y="114"/>
                      <a:pt x="25" y="114"/>
                    </a:cubicBezTo>
                    <a:cubicBezTo>
                      <a:pt x="27" y="115"/>
                      <a:pt x="27" y="117"/>
                      <a:pt x="28" y="119"/>
                    </a:cubicBezTo>
                    <a:cubicBezTo>
                      <a:pt x="35" y="123"/>
                      <a:pt x="46" y="122"/>
                      <a:pt x="54" y="124"/>
                    </a:cubicBezTo>
                    <a:cubicBezTo>
                      <a:pt x="55" y="125"/>
                      <a:pt x="53" y="127"/>
                      <a:pt x="54" y="127"/>
                    </a:cubicBezTo>
                    <a:cubicBezTo>
                      <a:pt x="63" y="127"/>
                      <a:pt x="71" y="119"/>
                      <a:pt x="79" y="121"/>
                    </a:cubicBezTo>
                    <a:cubicBezTo>
                      <a:pt x="81" y="122"/>
                      <a:pt x="80" y="127"/>
                      <a:pt x="82" y="128"/>
                    </a:cubicBezTo>
                    <a:cubicBezTo>
                      <a:pt x="83" y="129"/>
                      <a:pt x="84" y="127"/>
                      <a:pt x="85" y="128"/>
                    </a:cubicBezTo>
                    <a:cubicBezTo>
                      <a:pt x="88" y="129"/>
                      <a:pt x="90" y="131"/>
                      <a:pt x="92" y="133"/>
                    </a:cubicBezTo>
                    <a:cubicBezTo>
                      <a:pt x="95" y="138"/>
                      <a:pt x="83" y="154"/>
                      <a:pt x="96" y="171"/>
                    </a:cubicBezTo>
                    <a:close/>
                    <a:moveTo>
                      <a:pt x="8" y="83"/>
                    </a:moveTo>
                    <a:cubicBezTo>
                      <a:pt x="7" y="84"/>
                      <a:pt x="7" y="84"/>
                      <a:pt x="7" y="84"/>
                    </a:cubicBezTo>
                    <a:cubicBezTo>
                      <a:pt x="6" y="89"/>
                      <a:pt x="10" y="93"/>
                      <a:pt x="10" y="98"/>
                    </a:cubicBezTo>
                    <a:cubicBezTo>
                      <a:pt x="11" y="103"/>
                      <a:pt x="10" y="110"/>
                      <a:pt x="7" y="116"/>
                    </a:cubicBezTo>
                    <a:cubicBezTo>
                      <a:pt x="8" y="116"/>
                      <a:pt x="8" y="116"/>
                      <a:pt x="8" y="116"/>
                    </a:cubicBezTo>
                    <a:cubicBezTo>
                      <a:pt x="10" y="113"/>
                      <a:pt x="10" y="110"/>
                      <a:pt x="11" y="105"/>
                    </a:cubicBezTo>
                    <a:cubicBezTo>
                      <a:pt x="11" y="103"/>
                      <a:pt x="11" y="95"/>
                      <a:pt x="11" y="89"/>
                    </a:cubicBezTo>
                    <a:cubicBezTo>
                      <a:pt x="11" y="81"/>
                      <a:pt x="11" y="76"/>
                      <a:pt x="8" y="83"/>
                    </a:cubicBez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6" name="Latvia" descr="{&quot;Key&quot;:&quot;latvia&quot;,&quot;Name&quot;:&quot;Latvia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A708065A-4DCE-BAF1-8C94-DE22F54B1A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96956" y="6783914"/>
                <a:ext cx="507973" cy="321761"/>
              </a:xfrm>
              <a:custGeom>
                <a:avLst/>
                <a:gdLst>
                  <a:gd name="T0" fmla="*/ 13 w 304"/>
                  <a:gd name="T1" fmla="*/ 179 h 179"/>
                  <a:gd name="T2" fmla="*/ 19 w 304"/>
                  <a:gd name="T3" fmla="*/ 177 h 179"/>
                  <a:gd name="T4" fmla="*/ 23 w 304"/>
                  <a:gd name="T5" fmla="*/ 166 h 179"/>
                  <a:gd name="T6" fmla="*/ 52 w 304"/>
                  <a:gd name="T7" fmla="*/ 147 h 179"/>
                  <a:gd name="T8" fmla="*/ 78 w 304"/>
                  <a:gd name="T9" fmla="*/ 146 h 179"/>
                  <a:gd name="T10" fmla="*/ 85 w 304"/>
                  <a:gd name="T11" fmla="*/ 141 h 179"/>
                  <a:gd name="T12" fmla="*/ 93 w 304"/>
                  <a:gd name="T13" fmla="*/ 148 h 179"/>
                  <a:gd name="T14" fmla="*/ 96 w 304"/>
                  <a:gd name="T15" fmla="*/ 142 h 179"/>
                  <a:gd name="T16" fmla="*/ 109 w 304"/>
                  <a:gd name="T17" fmla="*/ 142 h 179"/>
                  <a:gd name="T18" fmla="*/ 118 w 304"/>
                  <a:gd name="T19" fmla="*/ 138 h 179"/>
                  <a:gd name="T20" fmla="*/ 136 w 304"/>
                  <a:gd name="T21" fmla="*/ 142 h 179"/>
                  <a:gd name="T22" fmla="*/ 143 w 304"/>
                  <a:gd name="T23" fmla="*/ 137 h 179"/>
                  <a:gd name="T24" fmla="*/ 152 w 304"/>
                  <a:gd name="T25" fmla="*/ 137 h 179"/>
                  <a:gd name="T26" fmla="*/ 163 w 304"/>
                  <a:gd name="T27" fmla="*/ 123 h 179"/>
                  <a:gd name="T28" fmla="*/ 178 w 304"/>
                  <a:gd name="T29" fmla="*/ 139 h 179"/>
                  <a:gd name="T30" fmla="*/ 200 w 304"/>
                  <a:gd name="T31" fmla="*/ 137 h 179"/>
                  <a:gd name="T32" fmla="*/ 241 w 304"/>
                  <a:gd name="T33" fmla="*/ 163 h 179"/>
                  <a:gd name="T34" fmla="*/ 264 w 304"/>
                  <a:gd name="T35" fmla="*/ 145 h 179"/>
                  <a:gd name="T36" fmla="*/ 271 w 304"/>
                  <a:gd name="T37" fmla="*/ 148 h 179"/>
                  <a:gd name="T38" fmla="*/ 272 w 304"/>
                  <a:gd name="T39" fmla="*/ 143 h 179"/>
                  <a:gd name="T40" fmla="*/ 283 w 304"/>
                  <a:gd name="T41" fmla="*/ 143 h 179"/>
                  <a:gd name="T42" fmla="*/ 287 w 304"/>
                  <a:gd name="T43" fmla="*/ 125 h 179"/>
                  <a:gd name="T44" fmla="*/ 299 w 304"/>
                  <a:gd name="T45" fmla="*/ 112 h 179"/>
                  <a:gd name="T46" fmla="*/ 277 w 304"/>
                  <a:gd name="T47" fmla="*/ 73 h 179"/>
                  <a:gd name="T48" fmla="*/ 274 w 304"/>
                  <a:gd name="T49" fmla="*/ 64 h 179"/>
                  <a:gd name="T50" fmla="*/ 266 w 304"/>
                  <a:gd name="T51" fmla="*/ 67 h 179"/>
                  <a:gd name="T52" fmla="*/ 266 w 304"/>
                  <a:gd name="T53" fmla="*/ 64 h 179"/>
                  <a:gd name="T54" fmla="*/ 266 w 304"/>
                  <a:gd name="T55" fmla="*/ 62 h 179"/>
                  <a:gd name="T56" fmla="*/ 267 w 304"/>
                  <a:gd name="T57" fmla="*/ 50 h 179"/>
                  <a:gd name="T58" fmla="*/ 262 w 304"/>
                  <a:gd name="T59" fmla="*/ 47 h 179"/>
                  <a:gd name="T60" fmla="*/ 257 w 304"/>
                  <a:gd name="T61" fmla="*/ 29 h 179"/>
                  <a:gd name="T62" fmla="*/ 250 w 304"/>
                  <a:gd name="T63" fmla="*/ 26 h 179"/>
                  <a:gd name="T64" fmla="*/ 249 w 304"/>
                  <a:gd name="T65" fmla="*/ 19 h 179"/>
                  <a:gd name="T66" fmla="*/ 241 w 304"/>
                  <a:gd name="T67" fmla="*/ 21 h 179"/>
                  <a:gd name="T68" fmla="*/ 221 w 304"/>
                  <a:gd name="T69" fmla="*/ 18 h 179"/>
                  <a:gd name="T70" fmla="*/ 210 w 304"/>
                  <a:gd name="T71" fmla="*/ 30 h 179"/>
                  <a:gd name="T72" fmla="*/ 186 w 304"/>
                  <a:gd name="T73" fmla="*/ 15 h 179"/>
                  <a:gd name="T74" fmla="*/ 185 w 304"/>
                  <a:gd name="T75" fmla="*/ 10 h 179"/>
                  <a:gd name="T76" fmla="*/ 175 w 304"/>
                  <a:gd name="T77" fmla="*/ 11 h 179"/>
                  <a:gd name="T78" fmla="*/ 172 w 304"/>
                  <a:gd name="T79" fmla="*/ 7 h 179"/>
                  <a:gd name="T80" fmla="*/ 167 w 304"/>
                  <a:gd name="T81" fmla="*/ 9 h 179"/>
                  <a:gd name="T82" fmla="*/ 152 w 304"/>
                  <a:gd name="T83" fmla="*/ 0 h 179"/>
                  <a:gd name="T84" fmla="*/ 152 w 304"/>
                  <a:gd name="T85" fmla="*/ 3 h 179"/>
                  <a:gd name="T86" fmla="*/ 153 w 304"/>
                  <a:gd name="T87" fmla="*/ 4 h 179"/>
                  <a:gd name="T88" fmla="*/ 145 w 304"/>
                  <a:gd name="T89" fmla="*/ 3 h 179"/>
                  <a:gd name="T90" fmla="*/ 118 w 304"/>
                  <a:gd name="T91" fmla="*/ 24 h 179"/>
                  <a:gd name="T92" fmla="*/ 117 w 304"/>
                  <a:gd name="T93" fmla="*/ 23 h 179"/>
                  <a:gd name="T94" fmla="*/ 117 w 304"/>
                  <a:gd name="T95" fmla="*/ 28 h 179"/>
                  <a:gd name="T96" fmla="*/ 131 w 304"/>
                  <a:gd name="T97" fmla="*/ 69 h 179"/>
                  <a:gd name="T98" fmla="*/ 107 w 304"/>
                  <a:gd name="T99" fmla="*/ 95 h 179"/>
                  <a:gd name="T100" fmla="*/ 99 w 304"/>
                  <a:gd name="T101" fmla="*/ 91 h 179"/>
                  <a:gd name="T102" fmla="*/ 88 w 304"/>
                  <a:gd name="T103" fmla="*/ 88 h 179"/>
                  <a:gd name="T104" fmla="*/ 79 w 304"/>
                  <a:gd name="T105" fmla="*/ 70 h 179"/>
                  <a:gd name="T106" fmla="*/ 57 w 304"/>
                  <a:gd name="T107" fmla="*/ 57 h 179"/>
                  <a:gd name="T108" fmla="*/ 53 w 304"/>
                  <a:gd name="T109" fmla="*/ 46 h 179"/>
                  <a:gd name="T110" fmla="*/ 40 w 304"/>
                  <a:gd name="T111" fmla="*/ 54 h 179"/>
                  <a:gd name="T112" fmla="*/ 21 w 304"/>
                  <a:gd name="T113" fmla="*/ 65 h 179"/>
                  <a:gd name="T114" fmla="*/ 14 w 304"/>
                  <a:gd name="T115" fmla="*/ 110 h 179"/>
                  <a:gd name="T116" fmla="*/ 4 w 304"/>
                  <a:gd name="T117" fmla="*/ 124 h 179"/>
                  <a:gd name="T118" fmla="*/ 5 w 304"/>
                  <a:gd name="T119" fmla="*/ 134 h 179"/>
                  <a:gd name="T120" fmla="*/ 5 w 304"/>
                  <a:gd name="T121" fmla="*/ 146 h 179"/>
                  <a:gd name="T122" fmla="*/ 6 w 304"/>
                  <a:gd name="T123" fmla="*/ 147 h 179"/>
                  <a:gd name="T124" fmla="*/ 13 w 304"/>
                  <a:gd name="T125" fmla="*/ 179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04" h="179">
                    <a:moveTo>
                      <a:pt x="13" y="179"/>
                    </a:moveTo>
                    <a:cubicBezTo>
                      <a:pt x="15" y="179"/>
                      <a:pt x="17" y="179"/>
                      <a:pt x="19" y="177"/>
                    </a:cubicBezTo>
                    <a:cubicBezTo>
                      <a:pt x="21" y="174"/>
                      <a:pt x="21" y="169"/>
                      <a:pt x="23" y="166"/>
                    </a:cubicBezTo>
                    <a:cubicBezTo>
                      <a:pt x="27" y="160"/>
                      <a:pt x="45" y="149"/>
                      <a:pt x="52" y="147"/>
                    </a:cubicBezTo>
                    <a:cubicBezTo>
                      <a:pt x="56" y="146"/>
                      <a:pt x="74" y="147"/>
                      <a:pt x="78" y="146"/>
                    </a:cubicBezTo>
                    <a:cubicBezTo>
                      <a:pt x="81" y="145"/>
                      <a:pt x="82" y="141"/>
                      <a:pt x="85" y="141"/>
                    </a:cubicBezTo>
                    <a:cubicBezTo>
                      <a:pt x="88" y="141"/>
                      <a:pt x="91" y="151"/>
                      <a:pt x="93" y="148"/>
                    </a:cubicBezTo>
                    <a:cubicBezTo>
                      <a:pt x="95" y="147"/>
                      <a:pt x="94" y="144"/>
                      <a:pt x="96" y="142"/>
                    </a:cubicBezTo>
                    <a:cubicBezTo>
                      <a:pt x="101" y="137"/>
                      <a:pt x="103" y="143"/>
                      <a:pt x="109" y="142"/>
                    </a:cubicBezTo>
                    <a:cubicBezTo>
                      <a:pt x="113" y="142"/>
                      <a:pt x="115" y="138"/>
                      <a:pt x="118" y="138"/>
                    </a:cubicBezTo>
                    <a:cubicBezTo>
                      <a:pt x="118" y="138"/>
                      <a:pt x="135" y="142"/>
                      <a:pt x="136" y="142"/>
                    </a:cubicBezTo>
                    <a:cubicBezTo>
                      <a:pt x="139" y="141"/>
                      <a:pt x="140" y="137"/>
                      <a:pt x="143" y="137"/>
                    </a:cubicBezTo>
                    <a:cubicBezTo>
                      <a:pt x="148" y="136"/>
                      <a:pt x="148" y="144"/>
                      <a:pt x="152" y="137"/>
                    </a:cubicBezTo>
                    <a:cubicBezTo>
                      <a:pt x="156" y="133"/>
                      <a:pt x="156" y="124"/>
                      <a:pt x="163" y="123"/>
                    </a:cubicBezTo>
                    <a:cubicBezTo>
                      <a:pt x="168" y="121"/>
                      <a:pt x="171" y="139"/>
                      <a:pt x="178" y="139"/>
                    </a:cubicBezTo>
                    <a:cubicBezTo>
                      <a:pt x="185" y="139"/>
                      <a:pt x="193" y="135"/>
                      <a:pt x="200" y="137"/>
                    </a:cubicBezTo>
                    <a:cubicBezTo>
                      <a:pt x="211" y="140"/>
                      <a:pt x="228" y="161"/>
                      <a:pt x="241" y="163"/>
                    </a:cubicBezTo>
                    <a:cubicBezTo>
                      <a:pt x="255" y="166"/>
                      <a:pt x="255" y="144"/>
                      <a:pt x="264" y="145"/>
                    </a:cubicBezTo>
                    <a:cubicBezTo>
                      <a:pt x="267" y="145"/>
                      <a:pt x="268" y="148"/>
                      <a:pt x="271" y="148"/>
                    </a:cubicBezTo>
                    <a:cubicBezTo>
                      <a:pt x="272" y="148"/>
                      <a:pt x="271" y="144"/>
                      <a:pt x="272" y="143"/>
                    </a:cubicBezTo>
                    <a:cubicBezTo>
                      <a:pt x="276" y="142"/>
                      <a:pt x="280" y="146"/>
                      <a:pt x="283" y="143"/>
                    </a:cubicBezTo>
                    <a:cubicBezTo>
                      <a:pt x="283" y="143"/>
                      <a:pt x="286" y="126"/>
                      <a:pt x="287" y="125"/>
                    </a:cubicBezTo>
                    <a:cubicBezTo>
                      <a:pt x="288" y="121"/>
                      <a:pt x="299" y="113"/>
                      <a:pt x="299" y="112"/>
                    </a:cubicBezTo>
                    <a:cubicBezTo>
                      <a:pt x="304" y="96"/>
                      <a:pt x="287" y="81"/>
                      <a:pt x="277" y="73"/>
                    </a:cubicBezTo>
                    <a:cubicBezTo>
                      <a:pt x="274" y="70"/>
                      <a:pt x="281" y="65"/>
                      <a:pt x="274" y="64"/>
                    </a:cubicBezTo>
                    <a:cubicBezTo>
                      <a:pt x="271" y="63"/>
                      <a:pt x="268" y="68"/>
                      <a:pt x="266" y="67"/>
                    </a:cubicBezTo>
                    <a:cubicBezTo>
                      <a:pt x="264" y="67"/>
                      <a:pt x="266" y="65"/>
                      <a:pt x="266" y="64"/>
                    </a:cubicBezTo>
                    <a:cubicBezTo>
                      <a:pt x="266" y="64"/>
                      <a:pt x="266" y="63"/>
                      <a:pt x="266" y="62"/>
                    </a:cubicBezTo>
                    <a:cubicBezTo>
                      <a:pt x="266" y="58"/>
                      <a:pt x="267" y="54"/>
                      <a:pt x="267" y="50"/>
                    </a:cubicBezTo>
                    <a:cubicBezTo>
                      <a:pt x="266" y="48"/>
                      <a:pt x="262" y="49"/>
                      <a:pt x="262" y="47"/>
                    </a:cubicBezTo>
                    <a:cubicBezTo>
                      <a:pt x="262" y="40"/>
                      <a:pt x="276" y="35"/>
                      <a:pt x="257" y="29"/>
                    </a:cubicBezTo>
                    <a:cubicBezTo>
                      <a:pt x="255" y="28"/>
                      <a:pt x="251" y="28"/>
                      <a:pt x="250" y="26"/>
                    </a:cubicBezTo>
                    <a:cubicBezTo>
                      <a:pt x="248" y="24"/>
                      <a:pt x="251" y="20"/>
                      <a:pt x="249" y="19"/>
                    </a:cubicBezTo>
                    <a:cubicBezTo>
                      <a:pt x="246" y="17"/>
                      <a:pt x="244" y="20"/>
                      <a:pt x="241" y="21"/>
                    </a:cubicBezTo>
                    <a:cubicBezTo>
                      <a:pt x="241" y="23"/>
                      <a:pt x="224" y="17"/>
                      <a:pt x="221" y="18"/>
                    </a:cubicBezTo>
                    <a:cubicBezTo>
                      <a:pt x="221" y="18"/>
                      <a:pt x="211" y="30"/>
                      <a:pt x="210" y="30"/>
                    </a:cubicBezTo>
                    <a:cubicBezTo>
                      <a:pt x="206" y="30"/>
                      <a:pt x="188" y="18"/>
                      <a:pt x="186" y="15"/>
                    </a:cubicBezTo>
                    <a:cubicBezTo>
                      <a:pt x="185" y="14"/>
                      <a:pt x="187" y="10"/>
                      <a:pt x="185" y="10"/>
                    </a:cubicBezTo>
                    <a:cubicBezTo>
                      <a:pt x="182" y="9"/>
                      <a:pt x="178" y="12"/>
                      <a:pt x="175" y="11"/>
                    </a:cubicBezTo>
                    <a:cubicBezTo>
                      <a:pt x="173" y="10"/>
                      <a:pt x="174" y="7"/>
                      <a:pt x="172" y="7"/>
                    </a:cubicBezTo>
                    <a:cubicBezTo>
                      <a:pt x="171" y="7"/>
                      <a:pt x="169" y="10"/>
                      <a:pt x="167" y="9"/>
                    </a:cubicBezTo>
                    <a:cubicBezTo>
                      <a:pt x="164" y="8"/>
                      <a:pt x="158" y="0"/>
                      <a:pt x="152" y="0"/>
                    </a:cubicBezTo>
                    <a:cubicBezTo>
                      <a:pt x="151" y="0"/>
                      <a:pt x="152" y="1"/>
                      <a:pt x="152" y="3"/>
                    </a:cubicBezTo>
                    <a:cubicBezTo>
                      <a:pt x="152" y="3"/>
                      <a:pt x="153" y="3"/>
                      <a:pt x="153" y="4"/>
                    </a:cubicBezTo>
                    <a:cubicBezTo>
                      <a:pt x="155" y="11"/>
                      <a:pt x="148" y="0"/>
                      <a:pt x="145" y="3"/>
                    </a:cubicBezTo>
                    <a:cubicBezTo>
                      <a:pt x="140" y="7"/>
                      <a:pt x="122" y="23"/>
                      <a:pt x="118" y="24"/>
                    </a:cubicBezTo>
                    <a:cubicBezTo>
                      <a:pt x="117" y="23"/>
                      <a:pt x="117" y="23"/>
                      <a:pt x="117" y="23"/>
                    </a:cubicBezTo>
                    <a:cubicBezTo>
                      <a:pt x="117" y="25"/>
                      <a:pt x="117" y="26"/>
                      <a:pt x="117" y="28"/>
                    </a:cubicBezTo>
                    <a:cubicBezTo>
                      <a:pt x="120" y="40"/>
                      <a:pt x="134" y="56"/>
                      <a:pt x="131" y="69"/>
                    </a:cubicBezTo>
                    <a:cubicBezTo>
                      <a:pt x="129" y="77"/>
                      <a:pt x="116" y="94"/>
                      <a:pt x="107" y="95"/>
                    </a:cubicBezTo>
                    <a:cubicBezTo>
                      <a:pt x="104" y="95"/>
                      <a:pt x="102" y="92"/>
                      <a:pt x="99" y="91"/>
                    </a:cubicBezTo>
                    <a:cubicBezTo>
                      <a:pt x="93" y="90"/>
                      <a:pt x="92" y="94"/>
                      <a:pt x="88" y="88"/>
                    </a:cubicBezTo>
                    <a:cubicBezTo>
                      <a:pt x="85" y="82"/>
                      <a:pt x="85" y="74"/>
                      <a:pt x="79" y="70"/>
                    </a:cubicBezTo>
                    <a:cubicBezTo>
                      <a:pt x="74" y="65"/>
                      <a:pt x="62" y="63"/>
                      <a:pt x="57" y="57"/>
                    </a:cubicBezTo>
                    <a:cubicBezTo>
                      <a:pt x="53" y="55"/>
                      <a:pt x="57" y="47"/>
                      <a:pt x="53" y="46"/>
                    </a:cubicBezTo>
                    <a:cubicBezTo>
                      <a:pt x="48" y="43"/>
                      <a:pt x="44" y="51"/>
                      <a:pt x="40" y="54"/>
                    </a:cubicBezTo>
                    <a:cubicBezTo>
                      <a:pt x="34" y="59"/>
                      <a:pt x="26" y="60"/>
                      <a:pt x="21" y="65"/>
                    </a:cubicBezTo>
                    <a:cubicBezTo>
                      <a:pt x="8" y="80"/>
                      <a:pt x="19" y="96"/>
                      <a:pt x="14" y="110"/>
                    </a:cubicBezTo>
                    <a:cubicBezTo>
                      <a:pt x="13" y="116"/>
                      <a:pt x="5" y="118"/>
                      <a:pt x="4" y="124"/>
                    </a:cubicBezTo>
                    <a:cubicBezTo>
                      <a:pt x="2" y="127"/>
                      <a:pt x="5" y="130"/>
                      <a:pt x="5" y="134"/>
                    </a:cubicBezTo>
                    <a:cubicBezTo>
                      <a:pt x="5" y="138"/>
                      <a:pt x="4" y="142"/>
                      <a:pt x="5" y="146"/>
                    </a:cubicBezTo>
                    <a:cubicBezTo>
                      <a:pt x="5" y="146"/>
                      <a:pt x="5" y="147"/>
                      <a:pt x="6" y="147"/>
                    </a:cubicBezTo>
                    <a:cubicBezTo>
                      <a:pt x="0" y="154"/>
                      <a:pt x="9" y="171"/>
                      <a:pt x="13" y="179"/>
                    </a:cubicBezTo>
                    <a:close/>
                  </a:path>
                </a:pathLst>
              </a:custGeom>
              <a:solidFill>
                <a:srgbClr val="D9D9D9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7" name="Moldova" descr="{&quot;Key&quot;:&quot;moldova&quot;,&quot;Name&quot;:&quot;Moldova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2F6DDE8A-331D-2FCB-0892-49500775BE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20445" y="7992907"/>
                <a:ext cx="340623" cy="383884"/>
              </a:xfrm>
              <a:custGeom>
                <a:avLst/>
                <a:gdLst>
                  <a:gd name="T0" fmla="*/ 0 w 204"/>
                  <a:gd name="T1" fmla="*/ 28 h 213"/>
                  <a:gd name="T2" fmla="*/ 19 w 204"/>
                  <a:gd name="T3" fmla="*/ 33 h 213"/>
                  <a:gd name="T4" fmla="*/ 43 w 204"/>
                  <a:gd name="T5" fmla="*/ 65 h 213"/>
                  <a:gd name="T6" fmla="*/ 107 w 204"/>
                  <a:gd name="T7" fmla="*/ 129 h 213"/>
                  <a:gd name="T8" fmla="*/ 109 w 204"/>
                  <a:gd name="T9" fmla="*/ 174 h 213"/>
                  <a:gd name="T10" fmla="*/ 120 w 204"/>
                  <a:gd name="T11" fmla="*/ 200 h 213"/>
                  <a:gd name="T12" fmla="*/ 116 w 204"/>
                  <a:gd name="T13" fmla="*/ 205 h 213"/>
                  <a:gd name="T14" fmla="*/ 122 w 204"/>
                  <a:gd name="T15" fmla="*/ 208 h 213"/>
                  <a:gd name="T16" fmla="*/ 126 w 204"/>
                  <a:gd name="T17" fmla="*/ 213 h 213"/>
                  <a:gd name="T18" fmla="*/ 129 w 204"/>
                  <a:gd name="T19" fmla="*/ 206 h 213"/>
                  <a:gd name="T20" fmla="*/ 138 w 204"/>
                  <a:gd name="T21" fmla="*/ 206 h 213"/>
                  <a:gd name="T22" fmla="*/ 139 w 204"/>
                  <a:gd name="T23" fmla="*/ 185 h 213"/>
                  <a:gd name="T24" fmla="*/ 146 w 204"/>
                  <a:gd name="T25" fmla="*/ 178 h 213"/>
                  <a:gd name="T26" fmla="*/ 146 w 204"/>
                  <a:gd name="T27" fmla="*/ 168 h 213"/>
                  <a:gd name="T28" fmla="*/ 153 w 204"/>
                  <a:gd name="T29" fmla="*/ 163 h 213"/>
                  <a:gd name="T30" fmla="*/ 151 w 204"/>
                  <a:gd name="T31" fmla="*/ 156 h 213"/>
                  <a:gd name="T32" fmla="*/ 153 w 204"/>
                  <a:gd name="T33" fmla="*/ 148 h 213"/>
                  <a:gd name="T34" fmla="*/ 146 w 204"/>
                  <a:gd name="T35" fmla="*/ 129 h 213"/>
                  <a:gd name="T36" fmla="*/ 156 w 204"/>
                  <a:gd name="T37" fmla="*/ 122 h 213"/>
                  <a:gd name="T38" fmla="*/ 159 w 204"/>
                  <a:gd name="T39" fmla="*/ 129 h 213"/>
                  <a:gd name="T40" fmla="*/ 158 w 204"/>
                  <a:gd name="T41" fmla="*/ 132 h 213"/>
                  <a:gd name="T42" fmla="*/ 160 w 204"/>
                  <a:gd name="T43" fmla="*/ 133 h 213"/>
                  <a:gd name="T44" fmla="*/ 164 w 204"/>
                  <a:gd name="T45" fmla="*/ 124 h 213"/>
                  <a:gd name="T46" fmla="*/ 166 w 204"/>
                  <a:gd name="T47" fmla="*/ 127 h 213"/>
                  <a:gd name="T48" fmla="*/ 169 w 204"/>
                  <a:gd name="T49" fmla="*/ 122 h 213"/>
                  <a:gd name="T50" fmla="*/ 179 w 204"/>
                  <a:gd name="T51" fmla="*/ 128 h 213"/>
                  <a:gd name="T52" fmla="*/ 182 w 204"/>
                  <a:gd name="T53" fmla="*/ 118 h 213"/>
                  <a:gd name="T54" fmla="*/ 192 w 204"/>
                  <a:gd name="T55" fmla="*/ 126 h 213"/>
                  <a:gd name="T56" fmla="*/ 194 w 204"/>
                  <a:gd name="T57" fmla="*/ 122 h 213"/>
                  <a:gd name="T58" fmla="*/ 204 w 204"/>
                  <a:gd name="T59" fmla="*/ 117 h 213"/>
                  <a:gd name="T60" fmla="*/ 190 w 204"/>
                  <a:gd name="T61" fmla="*/ 111 h 213"/>
                  <a:gd name="T62" fmla="*/ 192 w 204"/>
                  <a:gd name="T63" fmla="*/ 109 h 213"/>
                  <a:gd name="T64" fmla="*/ 187 w 204"/>
                  <a:gd name="T65" fmla="*/ 91 h 213"/>
                  <a:gd name="T66" fmla="*/ 166 w 204"/>
                  <a:gd name="T67" fmla="*/ 85 h 213"/>
                  <a:gd name="T68" fmla="*/ 162 w 204"/>
                  <a:gd name="T69" fmla="*/ 76 h 213"/>
                  <a:gd name="T70" fmla="*/ 158 w 204"/>
                  <a:gd name="T71" fmla="*/ 59 h 213"/>
                  <a:gd name="T72" fmla="*/ 152 w 204"/>
                  <a:gd name="T73" fmla="*/ 64 h 213"/>
                  <a:gd name="T74" fmla="*/ 134 w 204"/>
                  <a:gd name="T75" fmla="*/ 50 h 213"/>
                  <a:gd name="T76" fmla="*/ 126 w 204"/>
                  <a:gd name="T77" fmla="*/ 17 h 213"/>
                  <a:gd name="T78" fmla="*/ 119 w 204"/>
                  <a:gd name="T79" fmla="*/ 24 h 213"/>
                  <a:gd name="T80" fmla="*/ 95 w 204"/>
                  <a:gd name="T81" fmla="*/ 12 h 213"/>
                  <a:gd name="T82" fmla="*/ 91 w 204"/>
                  <a:gd name="T83" fmla="*/ 20 h 213"/>
                  <a:gd name="T84" fmla="*/ 88 w 204"/>
                  <a:gd name="T85" fmla="*/ 13 h 213"/>
                  <a:gd name="T86" fmla="*/ 83 w 204"/>
                  <a:gd name="T87" fmla="*/ 16 h 213"/>
                  <a:gd name="T88" fmla="*/ 83 w 204"/>
                  <a:gd name="T89" fmla="*/ 9 h 213"/>
                  <a:gd name="T90" fmla="*/ 70 w 204"/>
                  <a:gd name="T91" fmla="*/ 13 h 213"/>
                  <a:gd name="T92" fmla="*/ 69 w 204"/>
                  <a:gd name="T93" fmla="*/ 8 h 213"/>
                  <a:gd name="T94" fmla="*/ 50 w 204"/>
                  <a:gd name="T95" fmla="*/ 2 h 213"/>
                  <a:gd name="T96" fmla="*/ 28 w 204"/>
                  <a:gd name="T97" fmla="*/ 14 h 213"/>
                  <a:gd name="T98" fmla="*/ 5 w 204"/>
                  <a:gd name="T99" fmla="*/ 18 h 213"/>
                  <a:gd name="T100" fmla="*/ 8 w 204"/>
                  <a:gd name="T101" fmla="*/ 24 h 213"/>
                  <a:gd name="T102" fmla="*/ 2 w 204"/>
                  <a:gd name="T103" fmla="*/ 21 h 213"/>
                  <a:gd name="T104" fmla="*/ 0 w 204"/>
                  <a:gd name="T105" fmla="*/ 28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04" h="213">
                    <a:moveTo>
                      <a:pt x="0" y="28"/>
                    </a:moveTo>
                    <a:cubicBezTo>
                      <a:pt x="8" y="24"/>
                      <a:pt x="13" y="28"/>
                      <a:pt x="19" y="33"/>
                    </a:cubicBezTo>
                    <a:cubicBezTo>
                      <a:pt x="31" y="41"/>
                      <a:pt x="33" y="55"/>
                      <a:pt x="43" y="65"/>
                    </a:cubicBezTo>
                    <a:cubicBezTo>
                      <a:pt x="59" y="80"/>
                      <a:pt x="102" y="107"/>
                      <a:pt x="107" y="129"/>
                    </a:cubicBezTo>
                    <a:cubicBezTo>
                      <a:pt x="111" y="144"/>
                      <a:pt x="106" y="159"/>
                      <a:pt x="109" y="174"/>
                    </a:cubicBezTo>
                    <a:cubicBezTo>
                      <a:pt x="110" y="180"/>
                      <a:pt x="121" y="194"/>
                      <a:pt x="120" y="200"/>
                    </a:cubicBezTo>
                    <a:cubicBezTo>
                      <a:pt x="120" y="202"/>
                      <a:pt x="116" y="203"/>
                      <a:pt x="116" y="205"/>
                    </a:cubicBezTo>
                    <a:cubicBezTo>
                      <a:pt x="117" y="208"/>
                      <a:pt x="120" y="206"/>
                      <a:pt x="122" y="208"/>
                    </a:cubicBezTo>
                    <a:cubicBezTo>
                      <a:pt x="123" y="209"/>
                      <a:pt x="123" y="213"/>
                      <a:pt x="126" y="213"/>
                    </a:cubicBezTo>
                    <a:cubicBezTo>
                      <a:pt x="129" y="213"/>
                      <a:pt x="126" y="206"/>
                      <a:pt x="129" y="206"/>
                    </a:cubicBezTo>
                    <a:cubicBezTo>
                      <a:pt x="132" y="205"/>
                      <a:pt x="135" y="206"/>
                      <a:pt x="138" y="206"/>
                    </a:cubicBezTo>
                    <a:cubicBezTo>
                      <a:pt x="142" y="205"/>
                      <a:pt x="134" y="193"/>
                      <a:pt x="139" y="185"/>
                    </a:cubicBezTo>
                    <a:cubicBezTo>
                      <a:pt x="140" y="183"/>
                      <a:pt x="144" y="181"/>
                      <a:pt x="146" y="178"/>
                    </a:cubicBezTo>
                    <a:cubicBezTo>
                      <a:pt x="149" y="174"/>
                      <a:pt x="141" y="172"/>
                      <a:pt x="146" y="168"/>
                    </a:cubicBezTo>
                    <a:cubicBezTo>
                      <a:pt x="148" y="166"/>
                      <a:pt x="152" y="166"/>
                      <a:pt x="153" y="163"/>
                    </a:cubicBezTo>
                    <a:cubicBezTo>
                      <a:pt x="155" y="161"/>
                      <a:pt x="151" y="159"/>
                      <a:pt x="151" y="156"/>
                    </a:cubicBezTo>
                    <a:cubicBezTo>
                      <a:pt x="151" y="153"/>
                      <a:pt x="154" y="150"/>
                      <a:pt x="153" y="148"/>
                    </a:cubicBezTo>
                    <a:cubicBezTo>
                      <a:pt x="152" y="143"/>
                      <a:pt x="138" y="139"/>
                      <a:pt x="146" y="129"/>
                    </a:cubicBezTo>
                    <a:cubicBezTo>
                      <a:pt x="149" y="126"/>
                      <a:pt x="154" y="118"/>
                      <a:pt x="156" y="122"/>
                    </a:cubicBezTo>
                    <a:cubicBezTo>
                      <a:pt x="157" y="124"/>
                      <a:pt x="159" y="127"/>
                      <a:pt x="159" y="129"/>
                    </a:cubicBezTo>
                    <a:cubicBezTo>
                      <a:pt x="159" y="131"/>
                      <a:pt x="158" y="131"/>
                      <a:pt x="158" y="132"/>
                    </a:cubicBezTo>
                    <a:cubicBezTo>
                      <a:pt x="159" y="133"/>
                      <a:pt x="160" y="133"/>
                      <a:pt x="160" y="133"/>
                    </a:cubicBezTo>
                    <a:cubicBezTo>
                      <a:pt x="162" y="131"/>
                      <a:pt x="161" y="127"/>
                      <a:pt x="164" y="124"/>
                    </a:cubicBezTo>
                    <a:cubicBezTo>
                      <a:pt x="165" y="123"/>
                      <a:pt x="165" y="128"/>
                      <a:pt x="166" y="127"/>
                    </a:cubicBezTo>
                    <a:cubicBezTo>
                      <a:pt x="169" y="127"/>
                      <a:pt x="168" y="123"/>
                      <a:pt x="169" y="122"/>
                    </a:cubicBezTo>
                    <a:cubicBezTo>
                      <a:pt x="169" y="122"/>
                      <a:pt x="177" y="127"/>
                      <a:pt x="179" y="128"/>
                    </a:cubicBezTo>
                    <a:cubicBezTo>
                      <a:pt x="182" y="128"/>
                      <a:pt x="179" y="118"/>
                      <a:pt x="182" y="118"/>
                    </a:cubicBezTo>
                    <a:cubicBezTo>
                      <a:pt x="187" y="118"/>
                      <a:pt x="190" y="128"/>
                      <a:pt x="192" y="126"/>
                    </a:cubicBezTo>
                    <a:cubicBezTo>
                      <a:pt x="193" y="124"/>
                      <a:pt x="192" y="123"/>
                      <a:pt x="194" y="122"/>
                    </a:cubicBezTo>
                    <a:cubicBezTo>
                      <a:pt x="196" y="120"/>
                      <a:pt x="200" y="119"/>
                      <a:pt x="204" y="117"/>
                    </a:cubicBezTo>
                    <a:cubicBezTo>
                      <a:pt x="204" y="116"/>
                      <a:pt x="191" y="115"/>
                      <a:pt x="190" y="111"/>
                    </a:cubicBezTo>
                    <a:cubicBezTo>
                      <a:pt x="189" y="110"/>
                      <a:pt x="192" y="110"/>
                      <a:pt x="192" y="109"/>
                    </a:cubicBezTo>
                    <a:cubicBezTo>
                      <a:pt x="187" y="91"/>
                      <a:pt x="187" y="91"/>
                      <a:pt x="187" y="91"/>
                    </a:cubicBezTo>
                    <a:cubicBezTo>
                      <a:pt x="183" y="88"/>
                      <a:pt x="169" y="88"/>
                      <a:pt x="166" y="85"/>
                    </a:cubicBezTo>
                    <a:cubicBezTo>
                      <a:pt x="164" y="83"/>
                      <a:pt x="165" y="74"/>
                      <a:pt x="162" y="76"/>
                    </a:cubicBezTo>
                    <a:cubicBezTo>
                      <a:pt x="155" y="80"/>
                      <a:pt x="168" y="64"/>
                      <a:pt x="158" y="59"/>
                    </a:cubicBezTo>
                    <a:cubicBezTo>
                      <a:pt x="150" y="54"/>
                      <a:pt x="159" y="67"/>
                      <a:pt x="152" y="64"/>
                    </a:cubicBezTo>
                    <a:cubicBezTo>
                      <a:pt x="148" y="63"/>
                      <a:pt x="134" y="53"/>
                      <a:pt x="134" y="50"/>
                    </a:cubicBezTo>
                    <a:cubicBezTo>
                      <a:pt x="130" y="38"/>
                      <a:pt x="139" y="26"/>
                      <a:pt x="126" y="17"/>
                    </a:cubicBezTo>
                    <a:cubicBezTo>
                      <a:pt x="121" y="15"/>
                      <a:pt x="125" y="26"/>
                      <a:pt x="119" y="24"/>
                    </a:cubicBezTo>
                    <a:cubicBezTo>
                      <a:pt x="105" y="18"/>
                      <a:pt x="114" y="7"/>
                      <a:pt x="95" y="12"/>
                    </a:cubicBezTo>
                    <a:cubicBezTo>
                      <a:pt x="91" y="13"/>
                      <a:pt x="93" y="23"/>
                      <a:pt x="91" y="20"/>
                    </a:cubicBezTo>
                    <a:cubicBezTo>
                      <a:pt x="89" y="19"/>
                      <a:pt x="89" y="16"/>
                      <a:pt x="88" y="13"/>
                    </a:cubicBezTo>
                    <a:cubicBezTo>
                      <a:pt x="87" y="12"/>
                      <a:pt x="84" y="21"/>
                      <a:pt x="83" y="16"/>
                    </a:cubicBezTo>
                    <a:cubicBezTo>
                      <a:pt x="82" y="14"/>
                      <a:pt x="85" y="8"/>
                      <a:pt x="83" y="9"/>
                    </a:cubicBezTo>
                    <a:cubicBezTo>
                      <a:pt x="78" y="10"/>
                      <a:pt x="74" y="13"/>
                      <a:pt x="70" y="13"/>
                    </a:cubicBezTo>
                    <a:cubicBezTo>
                      <a:pt x="69" y="13"/>
                      <a:pt x="70" y="10"/>
                      <a:pt x="69" y="8"/>
                    </a:cubicBezTo>
                    <a:cubicBezTo>
                      <a:pt x="63" y="4"/>
                      <a:pt x="57" y="2"/>
                      <a:pt x="50" y="2"/>
                    </a:cubicBezTo>
                    <a:cubicBezTo>
                      <a:pt x="35" y="0"/>
                      <a:pt x="39" y="9"/>
                      <a:pt x="28" y="14"/>
                    </a:cubicBezTo>
                    <a:cubicBezTo>
                      <a:pt x="27" y="15"/>
                      <a:pt x="5" y="17"/>
                      <a:pt x="5" y="18"/>
                    </a:cubicBezTo>
                    <a:cubicBezTo>
                      <a:pt x="5" y="20"/>
                      <a:pt x="8" y="21"/>
                      <a:pt x="8" y="24"/>
                    </a:cubicBezTo>
                    <a:cubicBezTo>
                      <a:pt x="9" y="26"/>
                      <a:pt x="3" y="20"/>
                      <a:pt x="2" y="21"/>
                    </a:cubicBezTo>
                    <a:cubicBezTo>
                      <a:pt x="0" y="23"/>
                      <a:pt x="1" y="26"/>
                      <a:pt x="0" y="28"/>
                    </a:cubicBez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8" name="Romania" descr="{&quot;Key&quot;:&quot;romania&quot;,&quot;Name&quot;:&quot;Romania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F59DC860-862C-7306-F91B-4ACDD6DBC5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39130" y="8035915"/>
                <a:ext cx="827865" cy="670602"/>
              </a:xfrm>
              <a:custGeom>
                <a:avLst/>
                <a:gdLst>
                  <a:gd name="T0" fmla="*/ 430 w 496"/>
                  <a:gd name="T1" fmla="*/ 306 h 372"/>
                  <a:gd name="T2" fmla="*/ 419 w 496"/>
                  <a:gd name="T3" fmla="*/ 301 h 372"/>
                  <a:gd name="T4" fmla="*/ 409 w 496"/>
                  <a:gd name="T5" fmla="*/ 298 h 372"/>
                  <a:gd name="T6" fmla="*/ 390 w 496"/>
                  <a:gd name="T7" fmla="*/ 300 h 372"/>
                  <a:gd name="T8" fmla="*/ 330 w 496"/>
                  <a:gd name="T9" fmla="*/ 323 h 372"/>
                  <a:gd name="T10" fmla="*/ 275 w 496"/>
                  <a:gd name="T11" fmla="*/ 354 h 372"/>
                  <a:gd name="T12" fmla="*/ 240 w 496"/>
                  <a:gd name="T13" fmla="*/ 362 h 372"/>
                  <a:gd name="T14" fmla="*/ 190 w 496"/>
                  <a:gd name="T15" fmla="*/ 361 h 372"/>
                  <a:gd name="T16" fmla="*/ 166 w 496"/>
                  <a:gd name="T17" fmla="*/ 348 h 372"/>
                  <a:gd name="T18" fmla="*/ 146 w 496"/>
                  <a:gd name="T19" fmla="*/ 315 h 372"/>
                  <a:gd name="T20" fmla="*/ 105 w 496"/>
                  <a:gd name="T21" fmla="*/ 317 h 372"/>
                  <a:gd name="T22" fmla="*/ 85 w 496"/>
                  <a:gd name="T23" fmla="*/ 318 h 372"/>
                  <a:gd name="T24" fmla="*/ 72 w 496"/>
                  <a:gd name="T25" fmla="*/ 310 h 372"/>
                  <a:gd name="T26" fmla="*/ 79 w 496"/>
                  <a:gd name="T27" fmla="*/ 298 h 372"/>
                  <a:gd name="T28" fmla="*/ 73 w 496"/>
                  <a:gd name="T29" fmla="*/ 281 h 372"/>
                  <a:gd name="T30" fmla="*/ 31 w 496"/>
                  <a:gd name="T31" fmla="*/ 245 h 372"/>
                  <a:gd name="T32" fmla="*/ 27 w 496"/>
                  <a:gd name="T33" fmla="*/ 246 h 372"/>
                  <a:gd name="T34" fmla="*/ 7 w 496"/>
                  <a:gd name="T35" fmla="*/ 231 h 372"/>
                  <a:gd name="T36" fmla="*/ 3 w 496"/>
                  <a:gd name="T37" fmla="*/ 219 h 372"/>
                  <a:gd name="T38" fmla="*/ 27 w 496"/>
                  <a:gd name="T39" fmla="*/ 205 h 372"/>
                  <a:gd name="T40" fmla="*/ 39 w 496"/>
                  <a:gd name="T41" fmla="*/ 207 h 372"/>
                  <a:gd name="T42" fmla="*/ 54 w 496"/>
                  <a:gd name="T43" fmla="*/ 173 h 372"/>
                  <a:gd name="T44" fmla="*/ 63 w 496"/>
                  <a:gd name="T45" fmla="*/ 146 h 372"/>
                  <a:gd name="T46" fmla="*/ 70 w 496"/>
                  <a:gd name="T47" fmla="*/ 118 h 372"/>
                  <a:gd name="T48" fmla="*/ 85 w 496"/>
                  <a:gd name="T49" fmla="*/ 86 h 372"/>
                  <a:gd name="T50" fmla="*/ 111 w 496"/>
                  <a:gd name="T51" fmla="*/ 66 h 372"/>
                  <a:gd name="T52" fmla="*/ 122 w 496"/>
                  <a:gd name="T53" fmla="*/ 51 h 372"/>
                  <a:gd name="T54" fmla="*/ 142 w 496"/>
                  <a:gd name="T55" fmla="*/ 55 h 372"/>
                  <a:gd name="T56" fmla="*/ 177 w 496"/>
                  <a:gd name="T57" fmla="*/ 57 h 372"/>
                  <a:gd name="T58" fmla="*/ 212 w 496"/>
                  <a:gd name="T59" fmla="*/ 63 h 372"/>
                  <a:gd name="T60" fmla="*/ 270 w 496"/>
                  <a:gd name="T61" fmla="*/ 30 h 372"/>
                  <a:gd name="T62" fmla="*/ 286 w 496"/>
                  <a:gd name="T63" fmla="*/ 6 h 372"/>
                  <a:gd name="T64" fmla="*/ 289 w 496"/>
                  <a:gd name="T65" fmla="*/ 0 h 372"/>
                  <a:gd name="T66" fmla="*/ 307 w 496"/>
                  <a:gd name="T67" fmla="*/ 9 h 372"/>
                  <a:gd name="T68" fmla="*/ 395 w 496"/>
                  <a:gd name="T69" fmla="*/ 105 h 372"/>
                  <a:gd name="T70" fmla="*/ 408 w 496"/>
                  <a:gd name="T71" fmla="*/ 176 h 372"/>
                  <a:gd name="T72" fmla="*/ 410 w 496"/>
                  <a:gd name="T73" fmla="*/ 184 h 372"/>
                  <a:gd name="T74" fmla="*/ 415 w 496"/>
                  <a:gd name="T75" fmla="*/ 189 h 372"/>
                  <a:gd name="T76" fmla="*/ 421 w 496"/>
                  <a:gd name="T77" fmla="*/ 196 h 372"/>
                  <a:gd name="T78" fmla="*/ 445 w 496"/>
                  <a:gd name="T79" fmla="*/ 191 h 372"/>
                  <a:gd name="T80" fmla="*/ 470 w 496"/>
                  <a:gd name="T81" fmla="*/ 175 h 372"/>
                  <a:gd name="T82" fmla="*/ 489 w 496"/>
                  <a:gd name="T83" fmla="*/ 186 h 372"/>
                  <a:gd name="T84" fmla="*/ 493 w 496"/>
                  <a:gd name="T85" fmla="*/ 189 h 372"/>
                  <a:gd name="T86" fmla="*/ 496 w 496"/>
                  <a:gd name="T87" fmla="*/ 213 h 372"/>
                  <a:gd name="T88" fmla="*/ 467 w 496"/>
                  <a:gd name="T89" fmla="*/ 234 h 372"/>
                  <a:gd name="T90" fmla="*/ 456 w 496"/>
                  <a:gd name="T91" fmla="*/ 216 h 372"/>
                  <a:gd name="T92" fmla="*/ 457 w 496"/>
                  <a:gd name="T93" fmla="*/ 239 h 372"/>
                  <a:gd name="T94" fmla="*/ 466 w 496"/>
                  <a:gd name="T95" fmla="*/ 238 h 372"/>
                  <a:gd name="T96" fmla="*/ 465 w 496"/>
                  <a:gd name="T97" fmla="*/ 240 h 372"/>
                  <a:gd name="T98" fmla="*/ 463 w 496"/>
                  <a:gd name="T99" fmla="*/ 307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96" h="372">
                    <a:moveTo>
                      <a:pt x="462" y="307"/>
                    </a:moveTo>
                    <a:cubicBezTo>
                      <a:pt x="453" y="309"/>
                      <a:pt x="439" y="314"/>
                      <a:pt x="430" y="306"/>
                    </a:cubicBezTo>
                    <a:cubicBezTo>
                      <a:pt x="427" y="304"/>
                      <a:pt x="427" y="296"/>
                      <a:pt x="423" y="298"/>
                    </a:cubicBezTo>
                    <a:cubicBezTo>
                      <a:pt x="422" y="298"/>
                      <a:pt x="420" y="301"/>
                      <a:pt x="419" y="301"/>
                    </a:cubicBezTo>
                    <a:cubicBezTo>
                      <a:pt x="410" y="306"/>
                      <a:pt x="414" y="303"/>
                      <a:pt x="415" y="301"/>
                    </a:cubicBezTo>
                    <a:cubicBezTo>
                      <a:pt x="415" y="299"/>
                      <a:pt x="414" y="298"/>
                      <a:pt x="409" y="298"/>
                    </a:cubicBezTo>
                    <a:cubicBezTo>
                      <a:pt x="404" y="298"/>
                      <a:pt x="401" y="303"/>
                      <a:pt x="396" y="304"/>
                    </a:cubicBezTo>
                    <a:cubicBezTo>
                      <a:pt x="392" y="304"/>
                      <a:pt x="391" y="302"/>
                      <a:pt x="390" y="300"/>
                    </a:cubicBezTo>
                    <a:cubicBezTo>
                      <a:pt x="388" y="298"/>
                      <a:pt x="385" y="295"/>
                      <a:pt x="369" y="301"/>
                    </a:cubicBezTo>
                    <a:cubicBezTo>
                      <a:pt x="358" y="305"/>
                      <a:pt x="338" y="314"/>
                      <a:pt x="330" y="323"/>
                    </a:cubicBezTo>
                    <a:cubicBezTo>
                      <a:pt x="320" y="332"/>
                      <a:pt x="319" y="344"/>
                      <a:pt x="306" y="352"/>
                    </a:cubicBezTo>
                    <a:cubicBezTo>
                      <a:pt x="295" y="359"/>
                      <a:pt x="286" y="354"/>
                      <a:pt x="275" y="354"/>
                    </a:cubicBezTo>
                    <a:cubicBezTo>
                      <a:pt x="266" y="353"/>
                      <a:pt x="256" y="353"/>
                      <a:pt x="248" y="356"/>
                    </a:cubicBezTo>
                    <a:cubicBezTo>
                      <a:pt x="245" y="357"/>
                      <a:pt x="243" y="361"/>
                      <a:pt x="240" y="362"/>
                    </a:cubicBezTo>
                    <a:cubicBezTo>
                      <a:pt x="231" y="366"/>
                      <a:pt x="221" y="364"/>
                      <a:pt x="211" y="362"/>
                    </a:cubicBezTo>
                    <a:cubicBezTo>
                      <a:pt x="204" y="361"/>
                      <a:pt x="196" y="360"/>
                      <a:pt x="190" y="361"/>
                    </a:cubicBezTo>
                    <a:cubicBezTo>
                      <a:pt x="177" y="362"/>
                      <a:pt x="173" y="372"/>
                      <a:pt x="160" y="366"/>
                    </a:cubicBezTo>
                    <a:cubicBezTo>
                      <a:pt x="150" y="362"/>
                      <a:pt x="172" y="350"/>
                      <a:pt x="166" y="348"/>
                    </a:cubicBezTo>
                    <a:cubicBezTo>
                      <a:pt x="157" y="344"/>
                      <a:pt x="130" y="338"/>
                      <a:pt x="132" y="323"/>
                    </a:cubicBezTo>
                    <a:cubicBezTo>
                      <a:pt x="132" y="318"/>
                      <a:pt x="151" y="318"/>
                      <a:pt x="146" y="315"/>
                    </a:cubicBezTo>
                    <a:cubicBezTo>
                      <a:pt x="86" y="285"/>
                      <a:pt x="139" y="312"/>
                      <a:pt x="115" y="326"/>
                    </a:cubicBezTo>
                    <a:cubicBezTo>
                      <a:pt x="111" y="329"/>
                      <a:pt x="109" y="319"/>
                      <a:pt x="105" y="317"/>
                    </a:cubicBezTo>
                    <a:cubicBezTo>
                      <a:pt x="102" y="315"/>
                      <a:pt x="98" y="317"/>
                      <a:pt x="95" y="317"/>
                    </a:cubicBezTo>
                    <a:cubicBezTo>
                      <a:pt x="92" y="317"/>
                      <a:pt x="88" y="319"/>
                      <a:pt x="85" y="318"/>
                    </a:cubicBezTo>
                    <a:cubicBezTo>
                      <a:pt x="83" y="317"/>
                      <a:pt x="84" y="314"/>
                      <a:pt x="83" y="311"/>
                    </a:cubicBezTo>
                    <a:cubicBezTo>
                      <a:pt x="82" y="309"/>
                      <a:pt x="77" y="309"/>
                      <a:pt x="72" y="310"/>
                    </a:cubicBezTo>
                    <a:cubicBezTo>
                      <a:pt x="66" y="310"/>
                      <a:pt x="62" y="311"/>
                      <a:pt x="70" y="305"/>
                    </a:cubicBezTo>
                    <a:cubicBezTo>
                      <a:pt x="73" y="303"/>
                      <a:pt x="82" y="301"/>
                      <a:pt x="79" y="298"/>
                    </a:cubicBezTo>
                    <a:cubicBezTo>
                      <a:pt x="76" y="297"/>
                      <a:pt x="70" y="298"/>
                      <a:pt x="69" y="295"/>
                    </a:cubicBezTo>
                    <a:cubicBezTo>
                      <a:pt x="69" y="292"/>
                      <a:pt x="80" y="285"/>
                      <a:pt x="73" y="281"/>
                    </a:cubicBezTo>
                    <a:cubicBezTo>
                      <a:pt x="62" y="275"/>
                      <a:pt x="40" y="277"/>
                      <a:pt x="33" y="264"/>
                    </a:cubicBezTo>
                    <a:cubicBezTo>
                      <a:pt x="31" y="262"/>
                      <a:pt x="31" y="248"/>
                      <a:pt x="31" y="245"/>
                    </a:cubicBezTo>
                    <a:cubicBezTo>
                      <a:pt x="31" y="244"/>
                      <a:pt x="31" y="244"/>
                      <a:pt x="31" y="244"/>
                    </a:cubicBezTo>
                    <a:cubicBezTo>
                      <a:pt x="30" y="244"/>
                      <a:pt x="28" y="247"/>
                      <a:pt x="27" y="246"/>
                    </a:cubicBezTo>
                    <a:cubicBezTo>
                      <a:pt x="23" y="244"/>
                      <a:pt x="23" y="238"/>
                      <a:pt x="19" y="235"/>
                    </a:cubicBezTo>
                    <a:cubicBezTo>
                      <a:pt x="16" y="233"/>
                      <a:pt x="11" y="233"/>
                      <a:pt x="7" y="231"/>
                    </a:cubicBezTo>
                    <a:cubicBezTo>
                      <a:pt x="4" y="229"/>
                      <a:pt x="2" y="225"/>
                      <a:pt x="0" y="222"/>
                    </a:cubicBezTo>
                    <a:cubicBezTo>
                      <a:pt x="1" y="221"/>
                      <a:pt x="2" y="219"/>
                      <a:pt x="3" y="219"/>
                    </a:cubicBezTo>
                    <a:cubicBezTo>
                      <a:pt x="6" y="218"/>
                      <a:pt x="23" y="216"/>
                      <a:pt x="24" y="212"/>
                    </a:cubicBezTo>
                    <a:cubicBezTo>
                      <a:pt x="26" y="210"/>
                      <a:pt x="17" y="207"/>
                      <a:pt x="27" y="205"/>
                    </a:cubicBezTo>
                    <a:cubicBezTo>
                      <a:pt x="29" y="205"/>
                      <a:pt x="31" y="206"/>
                      <a:pt x="33" y="206"/>
                    </a:cubicBezTo>
                    <a:cubicBezTo>
                      <a:pt x="35" y="207"/>
                      <a:pt x="37" y="208"/>
                      <a:pt x="39" y="207"/>
                    </a:cubicBezTo>
                    <a:cubicBezTo>
                      <a:pt x="49" y="203"/>
                      <a:pt x="46" y="183"/>
                      <a:pt x="49" y="177"/>
                    </a:cubicBezTo>
                    <a:cubicBezTo>
                      <a:pt x="50" y="175"/>
                      <a:pt x="53" y="175"/>
                      <a:pt x="54" y="173"/>
                    </a:cubicBezTo>
                    <a:cubicBezTo>
                      <a:pt x="60" y="154"/>
                      <a:pt x="60" y="154"/>
                      <a:pt x="60" y="154"/>
                    </a:cubicBezTo>
                    <a:cubicBezTo>
                      <a:pt x="61" y="151"/>
                      <a:pt x="63" y="148"/>
                      <a:pt x="63" y="146"/>
                    </a:cubicBezTo>
                    <a:cubicBezTo>
                      <a:pt x="63" y="145"/>
                      <a:pt x="60" y="145"/>
                      <a:pt x="60" y="143"/>
                    </a:cubicBezTo>
                    <a:cubicBezTo>
                      <a:pt x="61" y="138"/>
                      <a:pt x="67" y="122"/>
                      <a:pt x="70" y="118"/>
                    </a:cubicBezTo>
                    <a:cubicBezTo>
                      <a:pt x="71" y="117"/>
                      <a:pt x="74" y="118"/>
                      <a:pt x="74" y="116"/>
                    </a:cubicBezTo>
                    <a:cubicBezTo>
                      <a:pt x="76" y="105"/>
                      <a:pt x="73" y="98"/>
                      <a:pt x="85" y="86"/>
                    </a:cubicBezTo>
                    <a:cubicBezTo>
                      <a:pt x="89" y="81"/>
                      <a:pt x="93" y="84"/>
                      <a:pt x="100" y="82"/>
                    </a:cubicBezTo>
                    <a:cubicBezTo>
                      <a:pt x="106" y="79"/>
                      <a:pt x="106" y="70"/>
                      <a:pt x="111" y="66"/>
                    </a:cubicBezTo>
                    <a:cubicBezTo>
                      <a:pt x="113" y="67"/>
                      <a:pt x="116" y="65"/>
                      <a:pt x="120" y="54"/>
                    </a:cubicBezTo>
                    <a:cubicBezTo>
                      <a:pt x="121" y="53"/>
                      <a:pt x="121" y="51"/>
                      <a:pt x="122" y="51"/>
                    </a:cubicBezTo>
                    <a:cubicBezTo>
                      <a:pt x="123" y="51"/>
                      <a:pt x="138" y="58"/>
                      <a:pt x="139" y="58"/>
                    </a:cubicBezTo>
                    <a:cubicBezTo>
                      <a:pt x="140" y="58"/>
                      <a:pt x="141" y="55"/>
                      <a:pt x="142" y="55"/>
                    </a:cubicBezTo>
                    <a:cubicBezTo>
                      <a:pt x="146" y="53"/>
                      <a:pt x="153" y="54"/>
                      <a:pt x="160" y="56"/>
                    </a:cubicBezTo>
                    <a:cubicBezTo>
                      <a:pt x="166" y="57"/>
                      <a:pt x="173" y="58"/>
                      <a:pt x="177" y="57"/>
                    </a:cubicBezTo>
                    <a:cubicBezTo>
                      <a:pt x="182" y="55"/>
                      <a:pt x="186" y="51"/>
                      <a:pt x="191" y="50"/>
                    </a:cubicBezTo>
                    <a:cubicBezTo>
                      <a:pt x="200" y="49"/>
                      <a:pt x="206" y="61"/>
                      <a:pt x="212" y="63"/>
                    </a:cubicBezTo>
                    <a:cubicBezTo>
                      <a:pt x="221" y="66"/>
                      <a:pt x="224" y="50"/>
                      <a:pt x="226" y="48"/>
                    </a:cubicBezTo>
                    <a:cubicBezTo>
                      <a:pt x="236" y="37"/>
                      <a:pt x="262" y="38"/>
                      <a:pt x="270" y="30"/>
                    </a:cubicBezTo>
                    <a:cubicBezTo>
                      <a:pt x="285" y="16"/>
                      <a:pt x="263" y="28"/>
                      <a:pt x="274" y="14"/>
                    </a:cubicBezTo>
                    <a:cubicBezTo>
                      <a:pt x="277" y="10"/>
                      <a:pt x="281" y="8"/>
                      <a:pt x="286" y="6"/>
                    </a:cubicBezTo>
                    <a:cubicBezTo>
                      <a:pt x="286" y="5"/>
                      <a:pt x="286" y="5"/>
                      <a:pt x="286" y="5"/>
                    </a:cubicBezTo>
                    <a:cubicBezTo>
                      <a:pt x="289" y="0"/>
                      <a:pt x="289" y="0"/>
                      <a:pt x="289" y="0"/>
                    </a:cubicBezTo>
                    <a:cubicBezTo>
                      <a:pt x="288" y="1"/>
                      <a:pt x="288" y="3"/>
                      <a:pt x="288" y="4"/>
                    </a:cubicBezTo>
                    <a:cubicBezTo>
                      <a:pt x="296" y="0"/>
                      <a:pt x="301" y="4"/>
                      <a:pt x="307" y="9"/>
                    </a:cubicBezTo>
                    <a:cubicBezTo>
                      <a:pt x="319" y="17"/>
                      <a:pt x="321" y="31"/>
                      <a:pt x="331" y="41"/>
                    </a:cubicBezTo>
                    <a:cubicBezTo>
                      <a:pt x="347" y="56"/>
                      <a:pt x="390" y="83"/>
                      <a:pt x="395" y="105"/>
                    </a:cubicBezTo>
                    <a:cubicBezTo>
                      <a:pt x="399" y="120"/>
                      <a:pt x="394" y="135"/>
                      <a:pt x="397" y="150"/>
                    </a:cubicBezTo>
                    <a:cubicBezTo>
                      <a:pt x="398" y="156"/>
                      <a:pt x="409" y="170"/>
                      <a:pt x="408" y="176"/>
                    </a:cubicBezTo>
                    <a:cubicBezTo>
                      <a:pt x="408" y="178"/>
                      <a:pt x="404" y="179"/>
                      <a:pt x="404" y="181"/>
                    </a:cubicBezTo>
                    <a:cubicBezTo>
                      <a:pt x="405" y="184"/>
                      <a:pt x="408" y="182"/>
                      <a:pt x="410" y="184"/>
                    </a:cubicBezTo>
                    <a:cubicBezTo>
                      <a:pt x="411" y="185"/>
                      <a:pt x="411" y="189"/>
                      <a:pt x="414" y="189"/>
                    </a:cubicBezTo>
                    <a:cubicBezTo>
                      <a:pt x="414" y="189"/>
                      <a:pt x="415" y="189"/>
                      <a:pt x="415" y="189"/>
                    </a:cubicBezTo>
                    <a:cubicBezTo>
                      <a:pt x="416" y="189"/>
                      <a:pt x="417" y="189"/>
                      <a:pt x="418" y="189"/>
                    </a:cubicBezTo>
                    <a:cubicBezTo>
                      <a:pt x="419" y="191"/>
                      <a:pt x="419" y="194"/>
                      <a:pt x="421" y="196"/>
                    </a:cubicBezTo>
                    <a:cubicBezTo>
                      <a:pt x="423" y="198"/>
                      <a:pt x="448" y="199"/>
                      <a:pt x="447" y="197"/>
                    </a:cubicBezTo>
                    <a:cubicBezTo>
                      <a:pt x="447" y="196"/>
                      <a:pt x="439" y="194"/>
                      <a:pt x="445" y="191"/>
                    </a:cubicBezTo>
                    <a:cubicBezTo>
                      <a:pt x="448" y="189"/>
                      <a:pt x="452" y="190"/>
                      <a:pt x="456" y="188"/>
                    </a:cubicBezTo>
                    <a:cubicBezTo>
                      <a:pt x="461" y="185"/>
                      <a:pt x="463" y="177"/>
                      <a:pt x="470" y="175"/>
                    </a:cubicBezTo>
                    <a:cubicBezTo>
                      <a:pt x="482" y="171"/>
                      <a:pt x="488" y="175"/>
                      <a:pt x="491" y="186"/>
                    </a:cubicBezTo>
                    <a:cubicBezTo>
                      <a:pt x="491" y="186"/>
                      <a:pt x="489" y="186"/>
                      <a:pt x="489" y="186"/>
                    </a:cubicBezTo>
                    <a:cubicBezTo>
                      <a:pt x="489" y="188"/>
                      <a:pt x="490" y="189"/>
                      <a:pt x="491" y="190"/>
                    </a:cubicBezTo>
                    <a:cubicBezTo>
                      <a:pt x="492" y="190"/>
                      <a:pt x="492" y="190"/>
                      <a:pt x="493" y="189"/>
                    </a:cubicBezTo>
                    <a:cubicBezTo>
                      <a:pt x="493" y="189"/>
                      <a:pt x="494" y="189"/>
                      <a:pt x="494" y="189"/>
                    </a:cubicBezTo>
                    <a:cubicBezTo>
                      <a:pt x="495" y="191"/>
                      <a:pt x="496" y="211"/>
                      <a:pt x="496" y="213"/>
                    </a:cubicBezTo>
                    <a:cubicBezTo>
                      <a:pt x="495" y="220"/>
                      <a:pt x="478" y="221"/>
                      <a:pt x="474" y="224"/>
                    </a:cubicBezTo>
                    <a:cubicBezTo>
                      <a:pt x="471" y="227"/>
                      <a:pt x="471" y="234"/>
                      <a:pt x="467" y="234"/>
                    </a:cubicBezTo>
                    <a:cubicBezTo>
                      <a:pt x="467" y="233"/>
                      <a:pt x="471" y="215"/>
                      <a:pt x="463" y="210"/>
                    </a:cubicBezTo>
                    <a:cubicBezTo>
                      <a:pt x="461" y="209"/>
                      <a:pt x="457" y="214"/>
                      <a:pt x="456" y="216"/>
                    </a:cubicBezTo>
                    <a:cubicBezTo>
                      <a:pt x="453" y="220"/>
                      <a:pt x="463" y="224"/>
                      <a:pt x="463" y="228"/>
                    </a:cubicBezTo>
                    <a:cubicBezTo>
                      <a:pt x="463" y="233"/>
                      <a:pt x="454" y="236"/>
                      <a:pt x="457" y="239"/>
                    </a:cubicBezTo>
                    <a:cubicBezTo>
                      <a:pt x="459" y="242"/>
                      <a:pt x="463" y="234"/>
                      <a:pt x="467" y="234"/>
                    </a:cubicBezTo>
                    <a:cubicBezTo>
                      <a:pt x="469" y="233"/>
                      <a:pt x="467" y="237"/>
                      <a:pt x="466" y="238"/>
                    </a:cubicBezTo>
                    <a:cubicBezTo>
                      <a:pt x="465" y="238"/>
                      <a:pt x="465" y="239"/>
                      <a:pt x="463" y="240"/>
                    </a:cubicBezTo>
                    <a:cubicBezTo>
                      <a:pt x="464" y="239"/>
                      <a:pt x="465" y="239"/>
                      <a:pt x="465" y="240"/>
                    </a:cubicBezTo>
                    <a:cubicBezTo>
                      <a:pt x="469" y="242"/>
                      <a:pt x="455" y="264"/>
                      <a:pt x="455" y="265"/>
                    </a:cubicBezTo>
                    <a:cubicBezTo>
                      <a:pt x="456" y="269"/>
                      <a:pt x="461" y="289"/>
                      <a:pt x="463" y="307"/>
                    </a:cubicBezTo>
                    <a:cubicBezTo>
                      <a:pt x="462" y="307"/>
                      <a:pt x="462" y="307"/>
                      <a:pt x="462" y="307"/>
                    </a:cubicBezTo>
                  </a:path>
                </a:pathLst>
              </a:custGeom>
              <a:solidFill>
                <a:srgbClr val="D9D9D9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9" name="Bulgaria" descr="{&quot;Key&quot;:&quot;bulgaria&quot;,&quot;Name&quot;:&quot;Bulgaria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9208F42D-87F1-FEEE-B393-39690BF1CD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56833" y="8567935"/>
                <a:ext cx="562770" cy="458748"/>
              </a:xfrm>
              <a:custGeom>
                <a:avLst/>
                <a:gdLst>
                  <a:gd name="T0" fmla="*/ 238 w 336"/>
                  <a:gd name="T1" fmla="*/ 187 h 255"/>
                  <a:gd name="T2" fmla="*/ 221 w 336"/>
                  <a:gd name="T3" fmla="*/ 223 h 255"/>
                  <a:gd name="T4" fmla="*/ 190 w 336"/>
                  <a:gd name="T5" fmla="*/ 232 h 255"/>
                  <a:gd name="T6" fmla="*/ 166 w 336"/>
                  <a:gd name="T7" fmla="*/ 233 h 255"/>
                  <a:gd name="T8" fmla="*/ 160 w 336"/>
                  <a:gd name="T9" fmla="*/ 230 h 255"/>
                  <a:gd name="T10" fmla="*/ 149 w 336"/>
                  <a:gd name="T11" fmla="*/ 221 h 255"/>
                  <a:gd name="T12" fmla="*/ 137 w 336"/>
                  <a:gd name="T13" fmla="*/ 225 h 255"/>
                  <a:gd name="T14" fmla="*/ 103 w 336"/>
                  <a:gd name="T15" fmla="*/ 242 h 255"/>
                  <a:gd name="T16" fmla="*/ 77 w 336"/>
                  <a:gd name="T17" fmla="*/ 253 h 255"/>
                  <a:gd name="T18" fmla="*/ 63 w 336"/>
                  <a:gd name="T19" fmla="*/ 253 h 255"/>
                  <a:gd name="T20" fmla="*/ 63 w 336"/>
                  <a:gd name="T21" fmla="*/ 222 h 255"/>
                  <a:gd name="T22" fmla="*/ 37 w 336"/>
                  <a:gd name="T23" fmla="*/ 201 h 255"/>
                  <a:gd name="T24" fmla="*/ 29 w 336"/>
                  <a:gd name="T25" fmla="*/ 174 h 255"/>
                  <a:gd name="T26" fmla="*/ 23 w 336"/>
                  <a:gd name="T27" fmla="*/ 170 h 255"/>
                  <a:gd name="T28" fmla="*/ 21 w 336"/>
                  <a:gd name="T29" fmla="*/ 161 h 255"/>
                  <a:gd name="T30" fmla="*/ 26 w 336"/>
                  <a:gd name="T31" fmla="*/ 143 h 255"/>
                  <a:gd name="T32" fmla="*/ 45 w 336"/>
                  <a:gd name="T33" fmla="*/ 117 h 255"/>
                  <a:gd name="T34" fmla="*/ 4 w 336"/>
                  <a:gd name="T35" fmla="*/ 65 h 255"/>
                  <a:gd name="T36" fmla="*/ 15 w 336"/>
                  <a:gd name="T37" fmla="*/ 45 h 255"/>
                  <a:gd name="T38" fmla="*/ 29 w 336"/>
                  <a:gd name="T39" fmla="*/ 71 h 255"/>
                  <a:gd name="T40" fmla="*/ 80 w 336"/>
                  <a:gd name="T41" fmla="*/ 67 h 255"/>
                  <a:gd name="T42" fmla="*/ 117 w 336"/>
                  <a:gd name="T43" fmla="*/ 61 h 255"/>
                  <a:gd name="T44" fmla="*/ 175 w 336"/>
                  <a:gd name="T45" fmla="*/ 57 h 255"/>
                  <a:gd name="T46" fmla="*/ 238 w 336"/>
                  <a:gd name="T47" fmla="*/ 6 h 255"/>
                  <a:gd name="T48" fmla="*/ 265 w 336"/>
                  <a:gd name="T49" fmla="*/ 9 h 255"/>
                  <a:gd name="T50" fmla="*/ 284 w 336"/>
                  <a:gd name="T51" fmla="*/ 6 h 255"/>
                  <a:gd name="T52" fmla="*/ 292 w 336"/>
                  <a:gd name="T53" fmla="*/ 3 h 255"/>
                  <a:gd name="T54" fmla="*/ 331 w 336"/>
                  <a:gd name="T55" fmla="*/ 12 h 255"/>
                  <a:gd name="T56" fmla="*/ 332 w 336"/>
                  <a:gd name="T57" fmla="*/ 41 h 255"/>
                  <a:gd name="T58" fmla="*/ 324 w 336"/>
                  <a:gd name="T59" fmla="*/ 39 h 255"/>
                  <a:gd name="T60" fmla="*/ 305 w 336"/>
                  <a:gd name="T61" fmla="*/ 61 h 255"/>
                  <a:gd name="T62" fmla="*/ 311 w 336"/>
                  <a:gd name="T63" fmla="*/ 86 h 255"/>
                  <a:gd name="T64" fmla="*/ 304 w 336"/>
                  <a:gd name="T65" fmla="*/ 100 h 255"/>
                  <a:gd name="T66" fmla="*/ 301 w 336"/>
                  <a:gd name="T67" fmla="*/ 106 h 255"/>
                  <a:gd name="T68" fmla="*/ 293 w 336"/>
                  <a:gd name="T69" fmla="*/ 119 h 255"/>
                  <a:gd name="T70" fmla="*/ 314 w 336"/>
                  <a:gd name="T71" fmla="*/ 127 h 255"/>
                  <a:gd name="T72" fmla="*/ 329 w 336"/>
                  <a:gd name="T73" fmla="*/ 141 h 255"/>
                  <a:gd name="T74" fmla="*/ 331 w 336"/>
                  <a:gd name="T75" fmla="*/ 147 h 255"/>
                  <a:gd name="T76" fmla="*/ 309 w 336"/>
                  <a:gd name="T77" fmla="*/ 157 h 255"/>
                  <a:gd name="T78" fmla="*/ 279 w 336"/>
                  <a:gd name="T79" fmla="*/ 153 h 255"/>
                  <a:gd name="T80" fmla="*/ 263 w 336"/>
                  <a:gd name="T81" fmla="*/ 164 h 255"/>
                  <a:gd name="T82" fmla="*/ 255 w 336"/>
                  <a:gd name="T83" fmla="*/ 177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36" h="255">
                    <a:moveTo>
                      <a:pt x="245" y="188"/>
                    </a:moveTo>
                    <a:cubicBezTo>
                      <a:pt x="243" y="187"/>
                      <a:pt x="240" y="187"/>
                      <a:pt x="238" y="187"/>
                    </a:cubicBezTo>
                    <a:cubicBezTo>
                      <a:pt x="216" y="192"/>
                      <a:pt x="252" y="208"/>
                      <a:pt x="239" y="217"/>
                    </a:cubicBezTo>
                    <a:cubicBezTo>
                      <a:pt x="239" y="217"/>
                      <a:pt x="222" y="223"/>
                      <a:pt x="221" y="223"/>
                    </a:cubicBezTo>
                    <a:cubicBezTo>
                      <a:pt x="213" y="226"/>
                      <a:pt x="200" y="236"/>
                      <a:pt x="192" y="235"/>
                    </a:cubicBezTo>
                    <a:cubicBezTo>
                      <a:pt x="190" y="235"/>
                      <a:pt x="191" y="233"/>
                      <a:pt x="190" y="232"/>
                    </a:cubicBezTo>
                    <a:cubicBezTo>
                      <a:pt x="184" y="229"/>
                      <a:pt x="177" y="226"/>
                      <a:pt x="171" y="227"/>
                    </a:cubicBezTo>
                    <a:cubicBezTo>
                      <a:pt x="168" y="228"/>
                      <a:pt x="168" y="233"/>
                      <a:pt x="166" y="233"/>
                    </a:cubicBezTo>
                    <a:cubicBezTo>
                      <a:pt x="164" y="234"/>
                      <a:pt x="163" y="230"/>
                      <a:pt x="162" y="229"/>
                    </a:cubicBezTo>
                    <a:cubicBezTo>
                      <a:pt x="161" y="229"/>
                      <a:pt x="160" y="229"/>
                      <a:pt x="160" y="230"/>
                    </a:cubicBezTo>
                    <a:cubicBezTo>
                      <a:pt x="159" y="230"/>
                      <a:pt x="159" y="230"/>
                      <a:pt x="158" y="230"/>
                    </a:cubicBezTo>
                    <a:cubicBezTo>
                      <a:pt x="154" y="227"/>
                      <a:pt x="153" y="221"/>
                      <a:pt x="149" y="221"/>
                    </a:cubicBezTo>
                    <a:cubicBezTo>
                      <a:pt x="145" y="220"/>
                      <a:pt x="144" y="225"/>
                      <a:pt x="140" y="226"/>
                    </a:cubicBezTo>
                    <a:cubicBezTo>
                      <a:pt x="139" y="226"/>
                      <a:pt x="138" y="225"/>
                      <a:pt x="137" y="225"/>
                    </a:cubicBezTo>
                    <a:cubicBezTo>
                      <a:pt x="135" y="224"/>
                      <a:pt x="134" y="223"/>
                      <a:pt x="133" y="224"/>
                    </a:cubicBezTo>
                    <a:cubicBezTo>
                      <a:pt x="123" y="230"/>
                      <a:pt x="119" y="237"/>
                      <a:pt x="103" y="242"/>
                    </a:cubicBezTo>
                    <a:cubicBezTo>
                      <a:pt x="97" y="244"/>
                      <a:pt x="88" y="242"/>
                      <a:pt x="82" y="246"/>
                    </a:cubicBezTo>
                    <a:cubicBezTo>
                      <a:pt x="80" y="247"/>
                      <a:pt x="80" y="252"/>
                      <a:pt x="77" y="253"/>
                    </a:cubicBezTo>
                    <a:cubicBezTo>
                      <a:pt x="76" y="255"/>
                      <a:pt x="73" y="253"/>
                      <a:pt x="71" y="253"/>
                    </a:cubicBezTo>
                    <a:cubicBezTo>
                      <a:pt x="68" y="253"/>
                      <a:pt x="65" y="253"/>
                      <a:pt x="63" y="253"/>
                    </a:cubicBezTo>
                    <a:cubicBezTo>
                      <a:pt x="63" y="254"/>
                      <a:pt x="63" y="255"/>
                      <a:pt x="63" y="255"/>
                    </a:cubicBezTo>
                    <a:cubicBezTo>
                      <a:pt x="64" y="251"/>
                      <a:pt x="63" y="222"/>
                      <a:pt x="63" y="222"/>
                    </a:cubicBezTo>
                    <a:cubicBezTo>
                      <a:pt x="59" y="218"/>
                      <a:pt x="52" y="207"/>
                      <a:pt x="47" y="203"/>
                    </a:cubicBezTo>
                    <a:cubicBezTo>
                      <a:pt x="45" y="201"/>
                      <a:pt x="41" y="203"/>
                      <a:pt x="37" y="201"/>
                    </a:cubicBezTo>
                    <a:cubicBezTo>
                      <a:pt x="36" y="201"/>
                      <a:pt x="21" y="189"/>
                      <a:pt x="21" y="188"/>
                    </a:cubicBezTo>
                    <a:cubicBezTo>
                      <a:pt x="24" y="183"/>
                      <a:pt x="31" y="182"/>
                      <a:pt x="29" y="174"/>
                    </a:cubicBezTo>
                    <a:cubicBezTo>
                      <a:pt x="28" y="172"/>
                      <a:pt x="26" y="171"/>
                      <a:pt x="25" y="170"/>
                    </a:cubicBezTo>
                    <a:cubicBezTo>
                      <a:pt x="24" y="170"/>
                      <a:pt x="24" y="170"/>
                      <a:pt x="23" y="170"/>
                    </a:cubicBezTo>
                    <a:cubicBezTo>
                      <a:pt x="22" y="170"/>
                      <a:pt x="22" y="170"/>
                      <a:pt x="21" y="169"/>
                    </a:cubicBezTo>
                    <a:cubicBezTo>
                      <a:pt x="21" y="166"/>
                      <a:pt x="21" y="164"/>
                      <a:pt x="21" y="161"/>
                    </a:cubicBezTo>
                    <a:cubicBezTo>
                      <a:pt x="21" y="157"/>
                      <a:pt x="17" y="154"/>
                      <a:pt x="18" y="151"/>
                    </a:cubicBezTo>
                    <a:cubicBezTo>
                      <a:pt x="28" y="136"/>
                      <a:pt x="26" y="140"/>
                      <a:pt x="26" y="143"/>
                    </a:cubicBezTo>
                    <a:cubicBezTo>
                      <a:pt x="26" y="146"/>
                      <a:pt x="26" y="149"/>
                      <a:pt x="34" y="143"/>
                    </a:cubicBezTo>
                    <a:cubicBezTo>
                      <a:pt x="36" y="141"/>
                      <a:pt x="48" y="121"/>
                      <a:pt x="45" y="117"/>
                    </a:cubicBezTo>
                    <a:cubicBezTo>
                      <a:pt x="40" y="114"/>
                      <a:pt x="18" y="104"/>
                      <a:pt x="17" y="102"/>
                    </a:cubicBezTo>
                    <a:cubicBezTo>
                      <a:pt x="11" y="97"/>
                      <a:pt x="0" y="73"/>
                      <a:pt x="4" y="65"/>
                    </a:cubicBezTo>
                    <a:cubicBezTo>
                      <a:pt x="5" y="61"/>
                      <a:pt x="12" y="61"/>
                      <a:pt x="14" y="58"/>
                    </a:cubicBezTo>
                    <a:cubicBezTo>
                      <a:pt x="16" y="54"/>
                      <a:pt x="13" y="49"/>
                      <a:pt x="15" y="45"/>
                    </a:cubicBezTo>
                    <a:cubicBezTo>
                      <a:pt x="22" y="48"/>
                      <a:pt x="31" y="50"/>
                      <a:pt x="35" y="53"/>
                    </a:cubicBezTo>
                    <a:cubicBezTo>
                      <a:pt x="41" y="55"/>
                      <a:pt x="19" y="67"/>
                      <a:pt x="29" y="71"/>
                    </a:cubicBezTo>
                    <a:cubicBezTo>
                      <a:pt x="42" y="77"/>
                      <a:pt x="46" y="67"/>
                      <a:pt x="59" y="66"/>
                    </a:cubicBezTo>
                    <a:cubicBezTo>
                      <a:pt x="65" y="65"/>
                      <a:pt x="73" y="66"/>
                      <a:pt x="80" y="67"/>
                    </a:cubicBezTo>
                    <a:cubicBezTo>
                      <a:pt x="90" y="69"/>
                      <a:pt x="100" y="71"/>
                      <a:pt x="109" y="67"/>
                    </a:cubicBezTo>
                    <a:cubicBezTo>
                      <a:pt x="112" y="66"/>
                      <a:pt x="114" y="62"/>
                      <a:pt x="117" y="61"/>
                    </a:cubicBezTo>
                    <a:cubicBezTo>
                      <a:pt x="125" y="58"/>
                      <a:pt x="135" y="58"/>
                      <a:pt x="144" y="59"/>
                    </a:cubicBezTo>
                    <a:cubicBezTo>
                      <a:pt x="155" y="59"/>
                      <a:pt x="164" y="64"/>
                      <a:pt x="175" y="57"/>
                    </a:cubicBezTo>
                    <a:cubicBezTo>
                      <a:pt x="188" y="49"/>
                      <a:pt x="189" y="37"/>
                      <a:pt x="199" y="28"/>
                    </a:cubicBezTo>
                    <a:cubicBezTo>
                      <a:pt x="207" y="19"/>
                      <a:pt x="227" y="10"/>
                      <a:pt x="238" y="6"/>
                    </a:cubicBezTo>
                    <a:cubicBezTo>
                      <a:pt x="254" y="0"/>
                      <a:pt x="257" y="3"/>
                      <a:pt x="259" y="5"/>
                    </a:cubicBezTo>
                    <a:cubicBezTo>
                      <a:pt x="260" y="7"/>
                      <a:pt x="261" y="9"/>
                      <a:pt x="265" y="9"/>
                    </a:cubicBezTo>
                    <a:cubicBezTo>
                      <a:pt x="270" y="8"/>
                      <a:pt x="273" y="3"/>
                      <a:pt x="278" y="3"/>
                    </a:cubicBezTo>
                    <a:cubicBezTo>
                      <a:pt x="283" y="3"/>
                      <a:pt x="284" y="4"/>
                      <a:pt x="284" y="6"/>
                    </a:cubicBezTo>
                    <a:cubicBezTo>
                      <a:pt x="283" y="8"/>
                      <a:pt x="279" y="11"/>
                      <a:pt x="288" y="6"/>
                    </a:cubicBezTo>
                    <a:cubicBezTo>
                      <a:pt x="289" y="6"/>
                      <a:pt x="291" y="3"/>
                      <a:pt x="292" y="3"/>
                    </a:cubicBezTo>
                    <a:cubicBezTo>
                      <a:pt x="296" y="1"/>
                      <a:pt x="296" y="9"/>
                      <a:pt x="299" y="11"/>
                    </a:cubicBezTo>
                    <a:cubicBezTo>
                      <a:pt x="308" y="19"/>
                      <a:pt x="322" y="14"/>
                      <a:pt x="331" y="12"/>
                    </a:cubicBezTo>
                    <a:cubicBezTo>
                      <a:pt x="332" y="12"/>
                      <a:pt x="332" y="12"/>
                      <a:pt x="332" y="12"/>
                    </a:cubicBezTo>
                    <a:cubicBezTo>
                      <a:pt x="335" y="26"/>
                      <a:pt x="336" y="39"/>
                      <a:pt x="332" y="41"/>
                    </a:cubicBezTo>
                    <a:cubicBezTo>
                      <a:pt x="331" y="42"/>
                      <a:pt x="329" y="41"/>
                      <a:pt x="328" y="40"/>
                    </a:cubicBezTo>
                    <a:cubicBezTo>
                      <a:pt x="327" y="40"/>
                      <a:pt x="325" y="39"/>
                      <a:pt x="324" y="39"/>
                    </a:cubicBezTo>
                    <a:cubicBezTo>
                      <a:pt x="303" y="45"/>
                      <a:pt x="317" y="44"/>
                      <a:pt x="310" y="57"/>
                    </a:cubicBezTo>
                    <a:cubicBezTo>
                      <a:pt x="310" y="59"/>
                      <a:pt x="306" y="59"/>
                      <a:pt x="305" y="61"/>
                    </a:cubicBezTo>
                    <a:cubicBezTo>
                      <a:pt x="305" y="62"/>
                      <a:pt x="308" y="61"/>
                      <a:pt x="308" y="62"/>
                    </a:cubicBezTo>
                    <a:cubicBezTo>
                      <a:pt x="309" y="71"/>
                      <a:pt x="309" y="77"/>
                      <a:pt x="311" y="86"/>
                    </a:cubicBezTo>
                    <a:cubicBezTo>
                      <a:pt x="312" y="89"/>
                      <a:pt x="315" y="94"/>
                      <a:pt x="313" y="97"/>
                    </a:cubicBezTo>
                    <a:cubicBezTo>
                      <a:pt x="312" y="100"/>
                      <a:pt x="306" y="98"/>
                      <a:pt x="304" y="100"/>
                    </a:cubicBezTo>
                    <a:cubicBezTo>
                      <a:pt x="303" y="100"/>
                      <a:pt x="305" y="101"/>
                      <a:pt x="305" y="101"/>
                    </a:cubicBezTo>
                    <a:cubicBezTo>
                      <a:pt x="304" y="104"/>
                      <a:pt x="301" y="104"/>
                      <a:pt x="301" y="106"/>
                    </a:cubicBezTo>
                    <a:cubicBezTo>
                      <a:pt x="300" y="108"/>
                      <a:pt x="304" y="110"/>
                      <a:pt x="303" y="111"/>
                    </a:cubicBezTo>
                    <a:cubicBezTo>
                      <a:pt x="300" y="114"/>
                      <a:pt x="295" y="115"/>
                      <a:pt x="293" y="119"/>
                    </a:cubicBezTo>
                    <a:cubicBezTo>
                      <a:pt x="288" y="125"/>
                      <a:pt x="291" y="124"/>
                      <a:pt x="297" y="123"/>
                    </a:cubicBezTo>
                    <a:cubicBezTo>
                      <a:pt x="303" y="121"/>
                      <a:pt x="311" y="120"/>
                      <a:pt x="314" y="127"/>
                    </a:cubicBezTo>
                    <a:cubicBezTo>
                      <a:pt x="314" y="128"/>
                      <a:pt x="313" y="130"/>
                      <a:pt x="313" y="131"/>
                    </a:cubicBezTo>
                    <a:cubicBezTo>
                      <a:pt x="313" y="132"/>
                      <a:pt x="326" y="139"/>
                      <a:pt x="329" y="141"/>
                    </a:cubicBezTo>
                    <a:cubicBezTo>
                      <a:pt x="330" y="144"/>
                      <a:pt x="332" y="145"/>
                      <a:pt x="332" y="147"/>
                    </a:cubicBezTo>
                    <a:cubicBezTo>
                      <a:pt x="331" y="147"/>
                      <a:pt x="331" y="147"/>
                      <a:pt x="331" y="147"/>
                    </a:cubicBezTo>
                    <a:cubicBezTo>
                      <a:pt x="328" y="148"/>
                      <a:pt x="325" y="147"/>
                      <a:pt x="321" y="148"/>
                    </a:cubicBezTo>
                    <a:cubicBezTo>
                      <a:pt x="317" y="150"/>
                      <a:pt x="313" y="154"/>
                      <a:pt x="309" y="157"/>
                    </a:cubicBezTo>
                    <a:cubicBezTo>
                      <a:pt x="308" y="157"/>
                      <a:pt x="309" y="160"/>
                      <a:pt x="309" y="159"/>
                    </a:cubicBezTo>
                    <a:cubicBezTo>
                      <a:pt x="296" y="156"/>
                      <a:pt x="292" y="146"/>
                      <a:pt x="279" y="153"/>
                    </a:cubicBezTo>
                    <a:cubicBezTo>
                      <a:pt x="269" y="164"/>
                      <a:pt x="269" y="164"/>
                      <a:pt x="269" y="164"/>
                    </a:cubicBezTo>
                    <a:cubicBezTo>
                      <a:pt x="267" y="164"/>
                      <a:pt x="265" y="164"/>
                      <a:pt x="263" y="164"/>
                    </a:cubicBezTo>
                    <a:cubicBezTo>
                      <a:pt x="261" y="164"/>
                      <a:pt x="259" y="164"/>
                      <a:pt x="257" y="165"/>
                    </a:cubicBezTo>
                    <a:cubicBezTo>
                      <a:pt x="254" y="168"/>
                      <a:pt x="257" y="174"/>
                      <a:pt x="255" y="177"/>
                    </a:cubicBezTo>
                    <a:cubicBezTo>
                      <a:pt x="252" y="181"/>
                      <a:pt x="240" y="179"/>
                      <a:pt x="245" y="188"/>
                    </a:cubicBezTo>
                  </a:path>
                </a:pathLst>
              </a:custGeom>
              <a:solidFill>
                <a:srgbClr val="D9D9D9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0" name="Albania" descr="{&quot;Key&quot;:&quot;albania&quot;,&quot;Name&quot;:&quot;Albania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70381F9A-3C0E-48AD-5D79-7BA3FD8AAF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10992" y="8899252"/>
                <a:ext cx="192527" cy="391847"/>
              </a:xfrm>
              <a:custGeom>
                <a:avLst/>
                <a:gdLst>
                  <a:gd name="T0" fmla="*/ 107 w 115"/>
                  <a:gd name="T1" fmla="*/ 124 h 218"/>
                  <a:gd name="T2" fmla="*/ 113 w 115"/>
                  <a:gd name="T3" fmla="*/ 140 h 218"/>
                  <a:gd name="T4" fmla="*/ 106 w 115"/>
                  <a:gd name="T5" fmla="*/ 152 h 218"/>
                  <a:gd name="T6" fmla="*/ 100 w 115"/>
                  <a:gd name="T7" fmla="*/ 158 h 218"/>
                  <a:gd name="T8" fmla="*/ 97 w 115"/>
                  <a:gd name="T9" fmla="*/ 182 h 218"/>
                  <a:gd name="T10" fmla="*/ 78 w 115"/>
                  <a:gd name="T11" fmla="*/ 193 h 218"/>
                  <a:gd name="T12" fmla="*/ 85 w 115"/>
                  <a:gd name="T13" fmla="*/ 204 h 218"/>
                  <a:gd name="T14" fmla="*/ 82 w 115"/>
                  <a:gd name="T15" fmla="*/ 206 h 218"/>
                  <a:gd name="T16" fmla="*/ 79 w 115"/>
                  <a:gd name="T17" fmla="*/ 208 h 218"/>
                  <a:gd name="T18" fmla="*/ 71 w 115"/>
                  <a:gd name="T19" fmla="*/ 216 h 218"/>
                  <a:gd name="T20" fmla="*/ 64 w 115"/>
                  <a:gd name="T21" fmla="*/ 216 h 218"/>
                  <a:gd name="T22" fmla="*/ 64 w 115"/>
                  <a:gd name="T23" fmla="*/ 217 h 218"/>
                  <a:gd name="T24" fmla="*/ 62 w 115"/>
                  <a:gd name="T25" fmla="*/ 218 h 218"/>
                  <a:gd name="T26" fmla="*/ 61 w 115"/>
                  <a:gd name="T27" fmla="*/ 216 h 218"/>
                  <a:gd name="T28" fmla="*/ 61 w 115"/>
                  <a:gd name="T29" fmla="*/ 213 h 218"/>
                  <a:gd name="T30" fmla="*/ 62 w 115"/>
                  <a:gd name="T31" fmla="*/ 204 h 218"/>
                  <a:gd name="T32" fmla="*/ 56 w 115"/>
                  <a:gd name="T33" fmla="*/ 202 h 218"/>
                  <a:gd name="T34" fmla="*/ 52 w 115"/>
                  <a:gd name="T35" fmla="*/ 193 h 218"/>
                  <a:gd name="T36" fmla="*/ 16 w 115"/>
                  <a:gd name="T37" fmla="*/ 169 h 218"/>
                  <a:gd name="T38" fmla="*/ 21 w 115"/>
                  <a:gd name="T39" fmla="*/ 167 h 218"/>
                  <a:gd name="T40" fmla="*/ 27 w 115"/>
                  <a:gd name="T41" fmla="*/ 166 h 218"/>
                  <a:gd name="T42" fmla="*/ 14 w 115"/>
                  <a:gd name="T43" fmla="*/ 152 h 218"/>
                  <a:gd name="T44" fmla="*/ 17 w 115"/>
                  <a:gd name="T45" fmla="*/ 148 h 218"/>
                  <a:gd name="T46" fmla="*/ 17 w 115"/>
                  <a:gd name="T47" fmla="*/ 140 h 218"/>
                  <a:gd name="T48" fmla="*/ 17 w 115"/>
                  <a:gd name="T49" fmla="*/ 133 h 218"/>
                  <a:gd name="T50" fmla="*/ 25 w 115"/>
                  <a:gd name="T51" fmla="*/ 131 h 218"/>
                  <a:gd name="T52" fmla="*/ 23 w 115"/>
                  <a:gd name="T53" fmla="*/ 124 h 218"/>
                  <a:gd name="T54" fmla="*/ 21 w 115"/>
                  <a:gd name="T55" fmla="*/ 131 h 218"/>
                  <a:gd name="T56" fmla="*/ 21 w 115"/>
                  <a:gd name="T57" fmla="*/ 106 h 218"/>
                  <a:gd name="T58" fmla="*/ 13 w 115"/>
                  <a:gd name="T59" fmla="*/ 96 h 218"/>
                  <a:gd name="T60" fmla="*/ 15 w 115"/>
                  <a:gd name="T61" fmla="*/ 82 h 218"/>
                  <a:gd name="T62" fmla="*/ 24 w 115"/>
                  <a:gd name="T63" fmla="*/ 80 h 218"/>
                  <a:gd name="T64" fmla="*/ 21 w 115"/>
                  <a:gd name="T65" fmla="*/ 76 h 218"/>
                  <a:gd name="T66" fmla="*/ 21 w 115"/>
                  <a:gd name="T67" fmla="*/ 64 h 218"/>
                  <a:gd name="T68" fmla="*/ 14 w 115"/>
                  <a:gd name="T69" fmla="*/ 63 h 218"/>
                  <a:gd name="T70" fmla="*/ 8 w 115"/>
                  <a:gd name="T71" fmla="*/ 63 h 218"/>
                  <a:gd name="T72" fmla="*/ 8 w 115"/>
                  <a:gd name="T73" fmla="*/ 52 h 218"/>
                  <a:gd name="T74" fmla="*/ 8 w 115"/>
                  <a:gd name="T75" fmla="*/ 45 h 218"/>
                  <a:gd name="T76" fmla="*/ 0 w 115"/>
                  <a:gd name="T77" fmla="*/ 39 h 218"/>
                  <a:gd name="T78" fmla="*/ 20 w 115"/>
                  <a:gd name="T79" fmla="*/ 0 h 218"/>
                  <a:gd name="T80" fmla="*/ 28 w 115"/>
                  <a:gd name="T81" fmla="*/ 15 h 218"/>
                  <a:gd name="T82" fmla="*/ 40 w 115"/>
                  <a:gd name="T83" fmla="*/ 5 h 218"/>
                  <a:gd name="T84" fmla="*/ 52 w 115"/>
                  <a:gd name="T85" fmla="*/ 22 h 218"/>
                  <a:gd name="T86" fmla="*/ 55 w 115"/>
                  <a:gd name="T87" fmla="*/ 22 h 218"/>
                  <a:gd name="T88" fmla="*/ 58 w 115"/>
                  <a:gd name="T89" fmla="*/ 21 h 218"/>
                  <a:gd name="T90" fmla="*/ 69 w 115"/>
                  <a:gd name="T91" fmla="*/ 27 h 218"/>
                  <a:gd name="T92" fmla="*/ 73 w 115"/>
                  <a:gd name="T93" fmla="*/ 63 h 218"/>
                  <a:gd name="T94" fmla="*/ 76 w 115"/>
                  <a:gd name="T95" fmla="*/ 73 h 218"/>
                  <a:gd name="T96" fmla="*/ 72 w 115"/>
                  <a:gd name="T97" fmla="*/ 77 h 218"/>
                  <a:gd name="T98" fmla="*/ 78 w 115"/>
                  <a:gd name="T99" fmla="*/ 87 h 218"/>
                  <a:gd name="T100" fmla="*/ 76 w 115"/>
                  <a:gd name="T101" fmla="*/ 92 h 218"/>
                  <a:gd name="T102" fmla="*/ 92 w 115"/>
                  <a:gd name="T103" fmla="*/ 121 h 218"/>
                  <a:gd name="T104" fmla="*/ 100 w 115"/>
                  <a:gd name="T105" fmla="*/ 119 h 218"/>
                  <a:gd name="T106" fmla="*/ 107 w 115"/>
                  <a:gd name="T107" fmla="*/ 120 h 218"/>
                  <a:gd name="T108" fmla="*/ 107 w 115"/>
                  <a:gd name="T109" fmla="*/ 124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5" h="218">
                    <a:moveTo>
                      <a:pt x="107" y="124"/>
                    </a:moveTo>
                    <a:cubicBezTo>
                      <a:pt x="107" y="131"/>
                      <a:pt x="115" y="133"/>
                      <a:pt x="113" y="140"/>
                    </a:cubicBezTo>
                    <a:cubicBezTo>
                      <a:pt x="110" y="152"/>
                      <a:pt x="108" y="152"/>
                      <a:pt x="106" y="152"/>
                    </a:cubicBezTo>
                    <a:cubicBezTo>
                      <a:pt x="104" y="151"/>
                      <a:pt x="102" y="151"/>
                      <a:pt x="100" y="158"/>
                    </a:cubicBezTo>
                    <a:cubicBezTo>
                      <a:pt x="100" y="158"/>
                      <a:pt x="97" y="181"/>
                      <a:pt x="97" y="182"/>
                    </a:cubicBezTo>
                    <a:cubicBezTo>
                      <a:pt x="96" y="183"/>
                      <a:pt x="78" y="189"/>
                      <a:pt x="78" y="193"/>
                    </a:cubicBezTo>
                    <a:cubicBezTo>
                      <a:pt x="85" y="204"/>
                      <a:pt x="85" y="204"/>
                      <a:pt x="85" y="204"/>
                    </a:cubicBezTo>
                    <a:cubicBezTo>
                      <a:pt x="86" y="207"/>
                      <a:pt x="84" y="207"/>
                      <a:pt x="82" y="206"/>
                    </a:cubicBezTo>
                    <a:cubicBezTo>
                      <a:pt x="81" y="206"/>
                      <a:pt x="79" y="206"/>
                      <a:pt x="79" y="208"/>
                    </a:cubicBezTo>
                    <a:cubicBezTo>
                      <a:pt x="79" y="218"/>
                      <a:pt x="76" y="217"/>
                      <a:pt x="71" y="216"/>
                    </a:cubicBezTo>
                    <a:cubicBezTo>
                      <a:pt x="69" y="216"/>
                      <a:pt x="66" y="216"/>
                      <a:pt x="64" y="216"/>
                    </a:cubicBezTo>
                    <a:cubicBezTo>
                      <a:pt x="63" y="216"/>
                      <a:pt x="64" y="217"/>
                      <a:pt x="64" y="217"/>
                    </a:cubicBezTo>
                    <a:cubicBezTo>
                      <a:pt x="63" y="218"/>
                      <a:pt x="63" y="218"/>
                      <a:pt x="62" y="218"/>
                    </a:cubicBezTo>
                    <a:cubicBezTo>
                      <a:pt x="62" y="218"/>
                      <a:pt x="62" y="217"/>
                      <a:pt x="61" y="216"/>
                    </a:cubicBezTo>
                    <a:cubicBezTo>
                      <a:pt x="61" y="215"/>
                      <a:pt x="61" y="214"/>
                      <a:pt x="61" y="213"/>
                    </a:cubicBezTo>
                    <a:cubicBezTo>
                      <a:pt x="61" y="209"/>
                      <a:pt x="63" y="206"/>
                      <a:pt x="62" y="204"/>
                    </a:cubicBezTo>
                    <a:cubicBezTo>
                      <a:pt x="61" y="202"/>
                      <a:pt x="57" y="204"/>
                      <a:pt x="56" y="202"/>
                    </a:cubicBezTo>
                    <a:cubicBezTo>
                      <a:pt x="53" y="200"/>
                      <a:pt x="54" y="195"/>
                      <a:pt x="52" y="193"/>
                    </a:cubicBezTo>
                    <a:cubicBezTo>
                      <a:pt x="48" y="188"/>
                      <a:pt x="12" y="178"/>
                      <a:pt x="16" y="169"/>
                    </a:cubicBezTo>
                    <a:cubicBezTo>
                      <a:pt x="16" y="167"/>
                      <a:pt x="19" y="167"/>
                      <a:pt x="21" y="167"/>
                    </a:cubicBezTo>
                    <a:cubicBezTo>
                      <a:pt x="24" y="168"/>
                      <a:pt x="26" y="168"/>
                      <a:pt x="27" y="166"/>
                    </a:cubicBezTo>
                    <a:cubicBezTo>
                      <a:pt x="27" y="165"/>
                      <a:pt x="16" y="158"/>
                      <a:pt x="14" y="152"/>
                    </a:cubicBezTo>
                    <a:cubicBezTo>
                      <a:pt x="14" y="150"/>
                      <a:pt x="17" y="149"/>
                      <a:pt x="17" y="148"/>
                    </a:cubicBezTo>
                    <a:cubicBezTo>
                      <a:pt x="17" y="145"/>
                      <a:pt x="17" y="142"/>
                      <a:pt x="17" y="140"/>
                    </a:cubicBezTo>
                    <a:cubicBezTo>
                      <a:pt x="17" y="137"/>
                      <a:pt x="16" y="135"/>
                      <a:pt x="17" y="133"/>
                    </a:cubicBezTo>
                    <a:cubicBezTo>
                      <a:pt x="18" y="131"/>
                      <a:pt x="23" y="132"/>
                      <a:pt x="25" y="131"/>
                    </a:cubicBezTo>
                    <a:cubicBezTo>
                      <a:pt x="26" y="129"/>
                      <a:pt x="25" y="124"/>
                      <a:pt x="23" y="124"/>
                    </a:cubicBezTo>
                    <a:cubicBezTo>
                      <a:pt x="21" y="125"/>
                      <a:pt x="22" y="129"/>
                      <a:pt x="21" y="131"/>
                    </a:cubicBezTo>
                    <a:cubicBezTo>
                      <a:pt x="17" y="134"/>
                      <a:pt x="21" y="112"/>
                      <a:pt x="21" y="106"/>
                    </a:cubicBezTo>
                    <a:cubicBezTo>
                      <a:pt x="22" y="99"/>
                      <a:pt x="13" y="103"/>
                      <a:pt x="13" y="96"/>
                    </a:cubicBezTo>
                    <a:cubicBezTo>
                      <a:pt x="13" y="91"/>
                      <a:pt x="12" y="86"/>
                      <a:pt x="15" y="82"/>
                    </a:cubicBezTo>
                    <a:cubicBezTo>
                      <a:pt x="17" y="80"/>
                      <a:pt x="22" y="82"/>
                      <a:pt x="24" y="80"/>
                    </a:cubicBezTo>
                    <a:cubicBezTo>
                      <a:pt x="25" y="79"/>
                      <a:pt x="21" y="78"/>
                      <a:pt x="21" y="76"/>
                    </a:cubicBezTo>
                    <a:cubicBezTo>
                      <a:pt x="20" y="72"/>
                      <a:pt x="24" y="67"/>
                      <a:pt x="21" y="64"/>
                    </a:cubicBezTo>
                    <a:cubicBezTo>
                      <a:pt x="19" y="62"/>
                      <a:pt x="16" y="62"/>
                      <a:pt x="14" y="63"/>
                    </a:cubicBezTo>
                    <a:cubicBezTo>
                      <a:pt x="12" y="63"/>
                      <a:pt x="9" y="64"/>
                      <a:pt x="8" y="63"/>
                    </a:cubicBezTo>
                    <a:cubicBezTo>
                      <a:pt x="8" y="59"/>
                      <a:pt x="8" y="55"/>
                      <a:pt x="8" y="52"/>
                    </a:cubicBezTo>
                    <a:cubicBezTo>
                      <a:pt x="8" y="50"/>
                      <a:pt x="9" y="47"/>
                      <a:pt x="8" y="45"/>
                    </a:cubicBezTo>
                    <a:cubicBezTo>
                      <a:pt x="6" y="42"/>
                      <a:pt x="1" y="42"/>
                      <a:pt x="0" y="39"/>
                    </a:cubicBezTo>
                    <a:cubicBezTo>
                      <a:pt x="0" y="38"/>
                      <a:pt x="18" y="2"/>
                      <a:pt x="20" y="0"/>
                    </a:cubicBezTo>
                    <a:cubicBezTo>
                      <a:pt x="21" y="0"/>
                      <a:pt x="23" y="14"/>
                      <a:pt x="28" y="15"/>
                    </a:cubicBezTo>
                    <a:cubicBezTo>
                      <a:pt x="40" y="5"/>
                      <a:pt x="40" y="5"/>
                      <a:pt x="40" y="5"/>
                    </a:cubicBezTo>
                    <a:cubicBezTo>
                      <a:pt x="49" y="5"/>
                      <a:pt x="47" y="19"/>
                      <a:pt x="52" y="22"/>
                    </a:cubicBezTo>
                    <a:cubicBezTo>
                      <a:pt x="53" y="23"/>
                      <a:pt x="54" y="22"/>
                      <a:pt x="55" y="22"/>
                    </a:cubicBezTo>
                    <a:cubicBezTo>
                      <a:pt x="56" y="21"/>
                      <a:pt x="57" y="21"/>
                      <a:pt x="58" y="21"/>
                    </a:cubicBezTo>
                    <a:cubicBezTo>
                      <a:pt x="62" y="23"/>
                      <a:pt x="66" y="24"/>
                      <a:pt x="69" y="27"/>
                    </a:cubicBezTo>
                    <a:cubicBezTo>
                      <a:pt x="79" y="39"/>
                      <a:pt x="72" y="51"/>
                      <a:pt x="73" y="63"/>
                    </a:cubicBezTo>
                    <a:cubicBezTo>
                      <a:pt x="73" y="67"/>
                      <a:pt x="76" y="70"/>
                      <a:pt x="76" y="73"/>
                    </a:cubicBezTo>
                    <a:cubicBezTo>
                      <a:pt x="76" y="75"/>
                      <a:pt x="71" y="75"/>
                      <a:pt x="72" y="77"/>
                    </a:cubicBezTo>
                    <a:cubicBezTo>
                      <a:pt x="72" y="81"/>
                      <a:pt x="78" y="83"/>
                      <a:pt x="78" y="87"/>
                    </a:cubicBezTo>
                    <a:cubicBezTo>
                      <a:pt x="79" y="89"/>
                      <a:pt x="76" y="90"/>
                      <a:pt x="76" y="92"/>
                    </a:cubicBezTo>
                    <a:cubicBezTo>
                      <a:pt x="76" y="97"/>
                      <a:pt x="90" y="118"/>
                      <a:pt x="92" y="121"/>
                    </a:cubicBezTo>
                    <a:cubicBezTo>
                      <a:pt x="96" y="125"/>
                      <a:pt x="98" y="119"/>
                      <a:pt x="100" y="119"/>
                    </a:cubicBezTo>
                    <a:cubicBezTo>
                      <a:pt x="102" y="118"/>
                      <a:pt x="105" y="119"/>
                      <a:pt x="107" y="120"/>
                    </a:cubicBezTo>
                    <a:cubicBezTo>
                      <a:pt x="108" y="121"/>
                      <a:pt x="106" y="124"/>
                      <a:pt x="107" y="124"/>
                    </a:cubicBezTo>
                  </a:path>
                </a:pathLst>
              </a:custGeom>
              <a:solidFill>
                <a:srgbClr val="D9D9D9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1" name="Estonia" descr="{&quot;Key&quot;:&quot;estonia&quot;,&quot;Name&quot;:&quot;Estonia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5EFF86F5-66FD-1B3B-3D60-A9D115C6DF1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16208" y="6556132"/>
                <a:ext cx="402825" cy="299459"/>
              </a:xfrm>
              <a:custGeom>
                <a:avLst/>
                <a:gdLst>
                  <a:gd name="T0" fmla="*/ 133 w 241"/>
                  <a:gd name="T1" fmla="*/ 129 h 166"/>
                  <a:gd name="T2" fmla="*/ 140 w 241"/>
                  <a:gd name="T3" fmla="*/ 129 h 166"/>
                  <a:gd name="T4" fmla="*/ 155 w 241"/>
                  <a:gd name="T5" fmla="*/ 135 h 166"/>
                  <a:gd name="T6" fmla="*/ 163 w 241"/>
                  <a:gd name="T7" fmla="*/ 137 h 166"/>
                  <a:gd name="T8" fmla="*/ 174 w 241"/>
                  <a:gd name="T9" fmla="*/ 141 h 166"/>
                  <a:gd name="T10" fmla="*/ 209 w 241"/>
                  <a:gd name="T11" fmla="*/ 144 h 166"/>
                  <a:gd name="T12" fmla="*/ 228 w 241"/>
                  <a:gd name="T13" fmla="*/ 134 h 166"/>
                  <a:gd name="T14" fmla="*/ 231 w 241"/>
                  <a:gd name="T15" fmla="*/ 128 h 166"/>
                  <a:gd name="T16" fmla="*/ 241 w 241"/>
                  <a:gd name="T17" fmla="*/ 118 h 166"/>
                  <a:gd name="T18" fmla="*/ 232 w 241"/>
                  <a:gd name="T19" fmla="*/ 105 h 166"/>
                  <a:gd name="T20" fmla="*/ 221 w 241"/>
                  <a:gd name="T21" fmla="*/ 84 h 166"/>
                  <a:gd name="T22" fmla="*/ 216 w 241"/>
                  <a:gd name="T23" fmla="*/ 38 h 166"/>
                  <a:gd name="T24" fmla="*/ 216 w 241"/>
                  <a:gd name="T25" fmla="*/ 15 h 166"/>
                  <a:gd name="T26" fmla="*/ 212 w 241"/>
                  <a:gd name="T27" fmla="*/ 7 h 166"/>
                  <a:gd name="T28" fmla="*/ 139 w 241"/>
                  <a:gd name="T29" fmla="*/ 7 h 166"/>
                  <a:gd name="T30" fmla="*/ 129 w 241"/>
                  <a:gd name="T31" fmla="*/ 7 h 166"/>
                  <a:gd name="T32" fmla="*/ 121 w 241"/>
                  <a:gd name="T33" fmla="*/ 23 h 166"/>
                  <a:gd name="T34" fmla="*/ 97 w 241"/>
                  <a:gd name="T35" fmla="*/ 22 h 166"/>
                  <a:gd name="T36" fmla="*/ 72 w 241"/>
                  <a:gd name="T37" fmla="*/ 41 h 166"/>
                  <a:gd name="T38" fmla="*/ 53 w 241"/>
                  <a:gd name="T39" fmla="*/ 58 h 166"/>
                  <a:gd name="T40" fmla="*/ 59 w 241"/>
                  <a:gd name="T41" fmla="*/ 91 h 166"/>
                  <a:gd name="T42" fmla="*/ 76 w 241"/>
                  <a:gd name="T43" fmla="*/ 121 h 166"/>
                  <a:gd name="T44" fmla="*/ 93 w 241"/>
                  <a:gd name="T45" fmla="*/ 125 h 166"/>
                  <a:gd name="T46" fmla="*/ 106 w 241"/>
                  <a:gd name="T47" fmla="*/ 121 h 166"/>
                  <a:gd name="T48" fmla="*/ 105 w 241"/>
                  <a:gd name="T49" fmla="*/ 149 h 166"/>
                  <a:gd name="T50" fmla="*/ 44 w 241"/>
                  <a:gd name="T51" fmla="*/ 106 h 166"/>
                  <a:gd name="T52" fmla="*/ 56 w 241"/>
                  <a:gd name="T53" fmla="*/ 116 h 166"/>
                  <a:gd name="T54" fmla="*/ 49 w 241"/>
                  <a:gd name="T55" fmla="*/ 125 h 166"/>
                  <a:gd name="T56" fmla="*/ 46 w 241"/>
                  <a:gd name="T57" fmla="*/ 129 h 166"/>
                  <a:gd name="T58" fmla="*/ 33 w 241"/>
                  <a:gd name="T59" fmla="*/ 138 h 166"/>
                  <a:gd name="T60" fmla="*/ 23 w 241"/>
                  <a:gd name="T61" fmla="*/ 143 h 166"/>
                  <a:gd name="T62" fmla="*/ 15 w 241"/>
                  <a:gd name="T63" fmla="*/ 164 h 166"/>
                  <a:gd name="T64" fmla="*/ 15 w 241"/>
                  <a:gd name="T65" fmla="*/ 144 h 166"/>
                  <a:gd name="T66" fmla="*/ 10 w 241"/>
                  <a:gd name="T67" fmla="*/ 132 h 166"/>
                  <a:gd name="T68" fmla="*/ 13 w 241"/>
                  <a:gd name="T69" fmla="*/ 126 h 166"/>
                  <a:gd name="T70" fmla="*/ 19 w 241"/>
                  <a:gd name="T71" fmla="*/ 119 h 166"/>
                  <a:gd name="T72" fmla="*/ 24 w 241"/>
                  <a:gd name="T73" fmla="*/ 74 h 166"/>
                  <a:gd name="T74" fmla="*/ 28 w 241"/>
                  <a:gd name="T75" fmla="*/ 79 h 166"/>
                  <a:gd name="T76" fmla="*/ 37 w 241"/>
                  <a:gd name="T77" fmla="*/ 90 h 166"/>
                  <a:gd name="T78" fmla="*/ 20 w 241"/>
                  <a:gd name="T79" fmla="*/ 93 h 166"/>
                  <a:gd name="T80" fmla="*/ 17 w 241"/>
                  <a:gd name="T81" fmla="*/ 85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41" h="166">
                    <a:moveTo>
                      <a:pt x="106" y="150"/>
                    </a:moveTo>
                    <a:cubicBezTo>
                      <a:pt x="110" y="149"/>
                      <a:pt x="128" y="133"/>
                      <a:pt x="133" y="129"/>
                    </a:cubicBezTo>
                    <a:cubicBezTo>
                      <a:pt x="136" y="126"/>
                      <a:pt x="143" y="137"/>
                      <a:pt x="141" y="130"/>
                    </a:cubicBezTo>
                    <a:cubicBezTo>
                      <a:pt x="141" y="129"/>
                      <a:pt x="140" y="129"/>
                      <a:pt x="140" y="129"/>
                    </a:cubicBezTo>
                    <a:cubicBezTo>
                      <a:pt x="140" y="127"/>
                      <a:pt x="139" y="126"/>
                      <a:pt x="140" y="126"/>
                    </a:cubicBezTo>
                    <a:cubicBezTo>
                      <a:pt x="146" y="126"/>
                      <a:pt x="152" y="134"/>
                      <a:pt x="155" y="135"/>
                    </a:cubicBezTo>
                    <a:cubicBezTo>
                      <a:pt x="157" y="136"/>
                      <a:pt x="159" y="133"/>
                      <a:pt x="160" y="133"/>
                    </a:cubicBezTo>
                    <a:cubicBezTo>
                      <a:pt x="162" y="133"/>
                      <a:pt x="161" y="136"/>
                      <a:pt x="163" y="137"/>
                    </a:cubicBezTo>
                    <a:cubicBezTo>
                      <a:pt x="166" y="138"/>
                      <a:pt x="170" y="135"/>
                      <a:pt x="173" y="136"/>
                    </a:cubicBezTo>
                    <a:cubicBezTo>
                      <a:pt x="175" y="136"/>
                      <a:pt x="173" y="140"/>
                      <a:pt x="174" y="141"/>
                    </a:cubicBezTo>
                    <a:cubicBezTo>
                      <a:pt x="176" y="144"/>
                      <a:pt x="194" y="156"/>
                      <a:pt x="198" y="156"/>
                    </a:cubicBezTo>
                    <a:cubicBezTo>
                      <a:pt x="199" y="156"/>
                      <a:pt x="209" y="144"/>
                      <a:pt x="209" y="144"/>
                    </a:cubicBezTo>
                    <a:cubicBezTo>
                      <a:pt x="212" y="143"/>
                      <a:pt x="229" y="149"/>
                      <a:pt x="229" y="147"/>
                    </a:cubicBezTo>
                    <a:cubicBezTo>
                      <a:pt x="230" y="144"/>
                      <a:pt x="226" y="136"/>
                      <a:pt x="228" y="134"/>
                    </a:cubicBezTo>
                    <a:cubicBezTo>
                      <a:pt x="229" y="133"/>
                      <a:pt x="232" y="133"/>
                      <a:pt x="233" y="131"/>
                    </a:cubicBezTo>
                    <a:cubicBezTo>
                      <a:pt x="233" y="130"/>
                      <a:pt x="231" y="130"/>
                      <a:pt x="231" y="128"/>
                    </a:cubicBezTo>
                    <a:cubicBezTo>
                      <a:pt x="230" y="127"/>
                      <a:pt x="230" y="125"/>
                      <a:pt x="231" y="124"/>
                    </a:cubicBezTo>
                    <a:cubicBezTo>
                      <a:pt x="238" y="118"/>
                      <a:pt x="238" y="125"/>
                      <a:pt x="241" y="118"/>
                    </a:cubicBezTo>
                    <a:cubicBezTo>
                      <a:pt x="241" y="116"/>
                      <a:pt x="236" y="117"/>
                      <a:pt x="234" y="116"/>
                    </a:cubicBezTo>
                    <a:cubicBezTo>
                      <a:pt x="230" y="112"/>
                      <a:pt x="233" y="109"/>
                      <a:pt x="232" y="105"/>
                    </a:cubicBezTo>
                    <a:cubicBezTo>
                      <a:pt x="231" y="103"/>
                      <a:pt x="222" y="98"/>
                      <a:pt x="220" y="96"/>
                    </a:cubicBezTo>
                    <a:cubicBezTo>
                      <a:pt x="216" y="88"/>
                      <a:pt x="221" y="92"/>
                      <a:pt x="221" y="84"/>
                    </a:cubicBezTo>
                    <a:cubicBezTo>
                      <a:pt x="221" y="74"/>
                      <a:pt x="209" y="63"/>
                      <a:pt x="208" y="53"/>
                    </a:cubicBezTo>
                    <a:cubicBezTo>
                      <a:pt x="207" y="47"/>
                      <a:pt x="214" y="43"/>
                      <a:pt x="216" y="38"/>
                    </a:cubicBezTo>
                    <a:cubicBezTo>
                      <a:pt x="216" y="24"/>
                      <a:pt x="216" y="24"/>
                      <a:pt x="216" y="24"/>
                    </a:cubicBezTo>
                    <a:cubicBezTo>
                      <a:pt x="216" y="21"/>
                      <a:pt x="214" y="18"/>
                      <a:pt x="216" y="15"/>
                    </a:cubicBezTo>
                    <a:cubicBezTo>
                      <a:pt x="221" y="4"/>
                      <a:pt x="231" y="9"/>
                      <a:pt x="217" y="0"/>
                    </a:cubicBezTo>
                    <a:cubicBezTo>
                      <a:pt x="217" y="2"/>
                      <a:pt x="216" y="5"/>
                      <a:pt x="212" y="7"/>
                    </a:cubicBezTo>
                    <a:cubicBezTo>
                      <a:pt x="207" y="10"/>
                      <a:pt x="153" y="11"/>
                      <a:pt x="144" y="10"/>
                    </a:cubicBezTo>
                    <a:cubicBezTo>
                      <a:pt x="143" y="10"/>
                      <a:pt x="142" y="7"/>
                      <a:pt x="139" y="7"/>
                    </a:cubicBezTo>
                    <a:cubicBezTo>
                      <a:pt x="129" y="10"/>
                      <a:pt x="153" y="16"/>
                      <a:pt x="135" y="14"/>
                    </a:cubicBezTo>
                    <a:cubicBezTo>
                      <a:pt x="132" y="13"/>
                      <a:pt x="131" y="7"/>
                      <a:pt x="129" y="7"/>
                    </a:cubicBezTo>
                    <a:cubicBezTo>
                      <a:pt x="126" y="8"/>
                      <a:pt x="130" y="13"/>
                      <a:pt x="129" y="15"/>
                    </a:cubicBezTo>
                    <a:cubicBezTo>
                      <a:pt x="127" y="18"/>
                      <a:pt x="124" y="22"/>
                      <a:pt x="121" y="23"/>
                    </a:cubicBezTo>
                    <a:cubicBezTo>
                      <a:pt x="115" y="26"/>
                      <a:pt x="109" y="27"/>
                      <a:pt x="103" y="26"/>
                    </a:cubicBezTo>
                    <a:cubicBezTo>
                      <a:pt x="100" y="26"/>
                      <a:pt x="99" y="21"/>
                      <a:pt x="97" y="22"/>
                    </a:cubicBezTo>
                    <a:cubicBezTo>
                      <a:pt x="94" y="24"/>
                      <a:pt x="101" y="30"/>
                      <a:pt x="98" y="31"/>
                    </a:cubicBezTo>
                    <a:cubicBezTo>
                      <a:pt x="92" y="32"/>
                      <a:pt x="75" y="33"/>
                      <a:pt x="72" y="41"/>
                    </a:cubicBezTo>
                    <a:cubicBezTo>
                      <a:pt x="71" y="44"/>
                      <a:pt x="77" y="47"/>
                      <a:pt x="75" y="49"/>
                    </a:cubicBezTo>
                    <a:cubicBezTo>
                      <a:pt x="73" y="54"/>
                      <a:pt x="56" y="53"/>
                      <a:pt x="53" y="58"/>
                    </a:cubicBezTo>
                    <a:cubicBezTo>
                      <a:pt x="45" y="79"/>
                      <a:pt x="60" y="66"/>
                      <a:pt x="63" y="75"/>
                    </a:cubicBezTo>
                    <a:cubicBezTo>
                      <a:pt x="65" y="80"/>
                      <a:pt x="57" y="86"/>
                      <a:pt x="59" y="91"/>
                    </a:cubicBezTo>
                    <a:cubicBezTo>
                      <a:pt x="61" y="97"/>
                      <a:pt x="70" y="104"/>
                      <a:pt x="71" y="106"/>
                    </a:cubicBezTo>
                    <a:cubicBezTo>
                      <a:pt x="75" y="111"/>
                      <a:pt x="69" y="117"/>
                      <a:pt x="76" y="121"/>
                    </a:cubicBezTo>
                    <a:cubicBezTo>
                      <a:pt x="79" y="122"/>
                      <a:pt x="83" y="119"/>
                      <a:pt x="86" y="120"/>
                    </a:cubicBezTo>
                    <a:cubicBezTo>
                      <a:pt x="88" y="121"/>
                      <a:pt x="90" y="126"/>
                      <a:pt x="93" y="125"/>
                    </a:cubicBezTo>
                    <a:cubicBezTo>
                      <a:pt x="97" y="122"/>
                      <a:pt x="97" y="101"/>
                      <a:pt x="109" y="115"/>
                    </a:cubicBezTo>
                    <a:cubicBezTo>
                      <a:pt x="110" y="117"/>
                      <a:pt x="106" y="118"/>
                      <a:pt x="106" y="121"/>
                    </a:cubicBezTo>
                    <a:cubicBezTo>
                      <a:pt x="106" y="125"/>
                      <a:pt x="108" y="130"/>
                      <a:pt x="108" y="134"/>
                    </a:cubicBezTo>
                    <a:cubicBezTo>
                      <a:pt x="108" y="146"/>
                      <a:pt x="104" y="139"/>
                      <a:pt x="105" y="149"/>
                    </a:cubicBezTo>
                    <a:lnTo>
                      <a:pt x="106" y="150"/>
                    </a:lnTo>
                    <a:close/>
                    <a:moveTo>
                      <a:pt x="44" y="106"/>
                    </a:moveTo>
                    <a:cubicBezTo>
                      <a:pt x="52" y="112"/>
                      <a:pt x="51" y="112"/>
                      <a:pt x="60" y="116"/>
                    </a:cubicBezTo>
                    <a:cubicBezTo>
                      <a:pt x="64" y="118"/>
                      <a:pt x="53" y="111"/>
                      <a:pt x="56" y="116"/>
                    </a:cubicBezTo>
                    <a:cubicBezTo>
                      <a:pt x="58" y="121"/>
                      <a:pt x="56" y="113"/>
                      <a:pt x="52" y="114"/>
                    </a:cubicBezTo>
                    <a:cubicBezTo>
                      <a:pt x="49" y="114"/>
                      <a:pt x="52" y="122"/>
                      <a:pt x="49" y="125"/>
                    </a:cubicBezTo>
                    <a:cubicBezTo>
                      <a:pt x="49" y="125"/>
                      <a:pt x="47" y="122"/>
                      <a:pt x="46" y="123"/>
                    </a:cubicBezTo>
                    <a:cubicBezTo>
                      <a:pt x="45" y="124"/>
                      <a:pt x="47" y="127"/>
                      <a:pt x="46" y="129"/>
                    </a:cubicBezTo>
                    <a:cubicBezTo>
                      <a:pt x="43" y="136"/>
                      <a:pt x="37" y="134"/>
                      <a:pt x="36" y="135"/>
                    </a:cubicBezTo>
                    <a:cubicBezTo>
                      <a:pt x="35" y="135"/>
                      <a:pt x="35" y="137"/>
                      <a:pt x="33" y="138"/>
                    </a:cubicBezTo>
                    <a:cubicBezTo>
                      <a:pt x="30" y="139"/>
                      <a:pt x="26" y="140"/>
                      <a:pt x="23" y="142"/>
                    </a:cubicBezTo>
                    <a:cubicBezTo>
                      <a:pt x="23" y="142"/>
                      <a:pt x="23" y="143"/>
                      <a:pt x="23" y="143"/>
                    </a:cubicBezTo>
                    <a:cubicBezTo>
                      <a:pt x="23" y="148"/>
                      <a:pt x="24" y="153"/>
                      <a:pt x="23" y="157"/>
                    </a:cubicBezTo>
                    <a:cubicBezTo>
                      <a:pt x="22" y="160"/>
                      <a:pt x="18" y="166"/>
                      <a:pt x="15" y="164"/>
                    </a:cubicBezTo>
                    <a:cubicBezTo>
                      <a:pt x="9" y="156"/>
                      <a:pt x="22" y="151"/>
                      <a:pt x="20" y="145"/>
                    </a:cubicBezTo>
                    <a:cubicBezTo>
                      <a:pt x="20" y="143"/>
                      <a:pt x="17" y="146"/>
                      <a:pt x="15" y="144"/>
                    </a:cubicBezTo>
                    <a:cubicBezTo>
                      <a:pt x="12" y="143"/>
                      <a:pt x="7" y="142"/>
                      <a:pt x="5" y="138"/>
                    </a:cubicBezTo>
                    <a:cubicBezTo>
                      <a:pt x="4" y="135"/>
                      <a:pt x="10" y="134"/>
                      <a:pt x="10" y="132"/>
                    </a:cubicBezTo>
                    <a:cubicBezTo>
                      <a:pt x="9" y="127"/>
                      <a:pt x="0" y="126"/>
                      <a:pt x="2" y="122"/>
                    </a:cubicBezTo>
                    <a:cubicBezTo>
                      <a:pt x="3" y="118"/>
                      <a:pt x="9" y="126"/>
                      <a:pt x="13" y="126"/>
                    </a:cubicBezTo>
                    <a:cubicBezTo>
                      <a:pt x="16" y="126"/>
                      <a:pt x="11" y="117"/>
                      <a:pt x="14" y="116"/>
                    </a:cubicBezTo>
                    <a:cubicBezTo>
                      <a:pt x="16" y="115"/>
                      <a:pt x="18" y="121"/>
                      <a:pt x="19" y="119"/>
                    </a:cubicBezTo>
                    <a:cubicBezTo>
                      <a:pt x="23" y="105"/>
                      <a:pt x="31" y="110"/>
                      <a:pt x="44" y="106"/>
                    </a:cubicBezTo>
                    <a:close/>
                    <a:moveTo>
                      <a:pt x="24" y="74"/>
                    </a:moveTo>
                    <a:cubicBezTo>
                      <a:pt x="25" y="74"/>
                      <a:pt x="27" y="73"/>
                      <a:pt x="27" y="74"/>
                    </a:cubicBezTo>
                    <a:cubicBezTo>
                      <a:pt x="28" y="75"/>
                      <a:pt x="27" y="78"/>
                      <a:pt x="28" y="79"/>
                    </a:cubicBezTo>
                    <a:cubicBezTo>
                      <a:pt x="31" y="80"/>
                      <a:pt x="35" y="78"/>
                      <a:pt x="37" y="79"/>
                    </a:cubicBezTo>
                    <a:cubicBezTo>
                      <a:pt x="56" y="90"/>
                      <a:pt x="38" y="88"/>
                      <a:pt x="37" y="90"/>
                    </a:cubicBezTo>
                    <a:cubicBezTo>
                      <a:pt x="32" y="101"/>
                      <a:pt x="48" y="92"/>
                      <a:pt x="27" y="104"/>
                    </a:cubicBezTo>
                    <a:cubicBezTo>
                      <a:pt x="21" y="107"/>
                      <a:pt x="20" y="93"/>
                      <a:pt x="20" y="93"/>
                    </a:cubicBezTo>
                    <a:cubicBezTo>
                      <a:pt x="18" y="87"/>
                      <a:pt x="8" y="90"/>
                      <a:pt x="4" y="88"/>
                    </a:cubicBezTo>
                    <a:cubicBezTo>
                      <a:pt x="0" y="88"/>
                      <a:pt x="13" y="86"/>
                      <a:pt x="17" y="85"/>
                    </a:cubicBezTo>
                    <a:cubicBezTo>
                      <a:pt x="22" y="84"/>
                      <a:pt x="23" y="77"/>
                      <a:pt x="24" y="74"/>
                    </a:cubicBez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2" name="Andorra" descr="{&quot;Key&quot;:&quot;andorra&quot;,&quot;Name&quot;:&quot;Andorra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B53EEB4D-FC28-8A1A-40A7-10C7FC6B8D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0821" y="8913589"/>
                <a:ext cx="51834" cy="38229"/>
              </a:xfrm>
              <a:custGeom>
                <a:avLst/>
                <a:gdLst>
                  <a:gd name="T0" fmla="*/ 26 w 31"/>
                  <a:gd name="T1" fmla="*/ 15 h 22"/>
                  <a:gd name="T2" fmla="*/ 16 w 31"/>
                  <a:gd name="T3" fmla="*/ 1 h 22"/>
                  <a:gd name="T4" fmla="*/ 26 w 31"/>
                  <a:gd name="T5" fmla="*/ 1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22">
                    <a:moveTo>
                      <a:pt x="26" y="15"/>
                    </a:moveTo>
                    <a:cubicBezTo>
                      <a:pt x="0" y="22"/>
                      <a:pt x="14" y="1"/>
                      <a:pt x="16" y="1"/>
                    </a:cubicBezTo>
                    <a:cubicBezTo>
                      <a:pt x="30" y="0"/>
                      <a:pt x="31" y="7"/>
                      <a:pt x="26" y="15"/>
                    </a:cubicBezTo>
                    <a:close/>
                  </a:path>
                </a:pathLst>
              </a:custGeom>
              <a:solidFill>
                <a:srgbClr val="A1C8DA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3" name="Luxembourg" descr="{&quot;Key&quot;:&quot;luxembourg&quot;,&quot;Name&quot;:&quot;Luxembourg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509C5750-4F13-491A-19EB-B1648BD993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9921" y="7937156"/>
                <a:ext cx="78491" cy="111501"/>
              </a:xfrm>
              <a:custGeom>
                <a:avLst/>
                <a:gdLst>
                  <a:gd name="T0" fmla="*/ 30 w 47"/>
                  <a:gd name="T1" fmla="*/ 61 h 62"/>
                  <a:gd name="T2" fmla="*/ 20 w 47"/>
                  <a:gd name="T3" fmla="*/ 59 h 62"/>
                  <a:gd name="T4" fmla="*/ 11 w 47"/>
                  <a:gd name="T5" fmla="*/ 61 h 62"/>
                  <a:gd name="T6" fmla="*/ 11 w 47"/>
                  <a:gd name="T7" fmla="*/ 59 h 62"/>
                  <a:gd name="T8" fmla="*/ 4 w 47"/>
                  <a:gd name="T9" fmla="*/ 56 h 62"/>
                  <a:gd name="T10" fmla="*/ 4 w 47"/>
                  <a:gd name="T11" fmla="*/ 54 h 62"/>
                  <a:gd name="T12" fmla="*/ 1 w 47"/>
                  <a:gd name="T13" fmla="*/ 28 h 62"/>
                  <a:gd name="T14" fmla="*/ 21 w 47"/>
                  <a:gd name="T15" fmla="*/ 11 h 62"/>
                  <a:gd name="T16" fmla="*/ 21 w 47"/>
                  <a:gd name="T17" fmla="*/ 21 h 62"/>
                  <a:gd name="T18" fmla="*/ 39 w 47"/>
                  <a:gd name="T19" fmla="*/ 36 h 62"/>
                  <a:gd name="T20" fmla="*/ 30 w 47"/>
                  <a:gd name="T21" fmla="*/ 61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7" h="62">
                    <a:moveTo>
                      <a:pt x="30" y="61"/>
                    </a:moveTo>
                    <a:cubicBezTo>
                      <a:pt x="27" y="60"/>
                      <a:pt x="24" y="59"/>
                      <a:pt x="20" y="59"/>
                    </a:cubicBezTo>
                    <a:cubicBezTo>
                      <a:pt x="18" y="59"/>
                      <a:pt x="15" y="61"/>
                      <a:pt x="11" y="61"/>
                    </a:cubicBezTo>
                    <a:cubicBezTo>
                      <a:pt x="11" y="62"/>
                      <a:pt x="11" y="60"/>
                      <a:pt x="11" y="59"/>
                    </a:cubicBezTo>
                    <a:cubicBezTo>
                      <a:pt x="9" y="58"/>
                      <a:pt x="6" y="57"/>
                      <a:pt x="4" y="56"/>
                    </a:cubicBezTo>
                    <a:cubicBezTo>
                      <a:pt x="4" y="54"/>
                      <a:pt x="4" y="54"/>
                      <a:pt x="4" y="54"/>
                    </a:cubicBezTo>
                    <a:cubicBezTo>
                      <a:pt x="17" y="55"/>
                      <a:pt x="0" y="33"/>
                      <a:pt x="1" y="28"/>
                    </a:cubicBezTo>
                    <a:cubicBezTo>
                      <a:pt x="4" y="21"/>
                      <a:pt x="15" y="0"/>
                      <a:pt x="21" y="11"/>
                    </a:cubicBezTo>
                    <a:cubicBezTo>
                      <a:pt x="20" y="14"/>
                      <a:pt x="20" y="17"/>
                      <a:pt x="21" y="21"/>
                    </a:cubicBezTo>
                    <a:cubicBezTo>
                      <a:pt x="24" y="33"/>
                      <a:pt x="37" y="34"/>
                      <a:pt x="39" y="36"/>
                    </a:cubicBezTo>
                    <a:cubicBezTo>
                      <a:pt x="47" y="46"/>
                      <a:pt x="24" y="50"/>
                      <a:pt x="30" y="61"/>
                    </a:cubicBez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5" name="Netherlands" descr="{&quot;Key&quot;:&quot;netherlands&quot;,&quot;Name&quot;:&quot;Netherlands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45E5BA7E-AC09-A722-B9F3-1920EB3693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36647" y="7510267"/>
                <a:ext cx="315448" cy="371141"/>
              </a:xfrm>
              <a:custGeom>
                <a:avLst/>
                <a:gdLst>
                  <a:gd name="T0" fmla="*/ 90 w 188"/>
                  <a:gd name="T1" fmla="*/ 35 h 206"/>
                  <a:gd name="T2" fmla="*/ 88 w 188"/>
                  <a:gd name="T3" fmla="*/ 58 h 206"/>
                  <a:gd name="T4" fmla="*/ 83 w 188"/>
                  <a:gd name="T5" fmla="*/ 76 h 206"/>
                  <a:gd name="T6" fmla="*/ 116 w 188"/>
                  <a:gd name="T7" fmla="*/ 61 h 206"/>
                  <a:gd name="T8" fmla="*/ 120 w 188"/>
                  <a:gd name="T9" fmla="*/ 44 h 206"/>
                  <a:gd name="T10" fmla="*/ 107 w 188"/>
                  <a:gd name="T11" fmla="*/ 29 h 206"/>
                  <a:gd name="T12" fmla="*/ 101 w 188"/>
                  <a:gd name="T13" fmla="*/ 28 h 206"/>
                  <a:gd name="T14" fmla="*/ 77 w 188"/>
                  <a:gd name="T15" fmla="*/ 34 h 206"/>
                  <a:gd name="T16" fmla="*/ 65 w 188"/>
                  <a:gd name="T17" fmla="*/ 70 h 206"/>
                  <a:gd name="T18" fmla="*/ 41 w 188"/>
                  <a:gd name="T19" fmla="*/ 103 h 206"/>
                  <a:gd name="T20" fmla="*/ 37 w 188"/>
                  <a:gd name="T21" fmla="*/ 116 h 206"/>
                  <a:gd name="T22" fmla="*/ 31 w 188"/>
                  <a:gd name="T23" fmla="*/ 132 h 206"/>
                  <a:gd name="T24" fmla="*/ 42 w 188"/>
                  <a:gd name="T25" fmla="*/ 135 h 206"/>
                  <a:gd name="T26" fmla="*/ 44 w 188"/>
                  <a:gd name="T27" fmla="*/ 142 h 206"/>
                  <a:gd name="T28" fmla="*/ 5 w 188"/>
                  <a:gd name="T29" fmla="*/ 135 h 206"/>
                  <a:gd name="T30" fmla="*/ 28 w 188"/>
                  <a:gd name="T31" fmla="*/ 143 h 206"/>
                  <a:gd name="T32" fmla="*/ 43 w 188"/>
                  <a:gd name="T33" fmla="*/ 147 h 206"/>
                  <a:gd name="T34" fmla="*/ 50 w 188"/>
                  <a:gd name="T35" fmla="*/ 152 h 206"/>
                  <a:gd name="T36" fmla="*/ 56 w 188"/>
                  <a:gd name="T37" fmla="*/ 147 h 206"/>
                  <a:gd name="T38" fmla="*/ 67 w 188"/>
                  <a:gd name="T39" fmla="*/ 149 h 206"/>
                  <a:gd name="T40" fmla="*/ 87 w 188"/>
                  <a:gd name="T41" fmla="*/ 162 h 206"/>
                  <a:gd name="T42" fmla="*/ 113 w 188"/>
                  <a:gd name="T43" fmla="*/ 176 h 206"/>
                  <a:gd name="T44" fmla="*/ 110 w 188"/>
                  <a:gd name="T45" fmla="*/ 187 h 206"/>
                  <a:gd name="T46" fmla="*/ 121 w 188"/>
                  <a:gd name="T47" fmla="*/ 202 h 206"/>
                  <a:gd name="T48" fmla="*/ 120 w 188"/>
                  <a:gd name="T49" fmla="*/ 198 h 206"/>
                  <a:gd name="T50" fmla="*/ 116 w 188"/>
                  <a:gd name="T51" fmla="*/ 180 h 206"/>
                  <a:gd name="T52" fmla="*/ 130 w 188"/>
                  <a:gd name="T53" fmla="*/ 172 h 206"/>
                  <a:gd name="T54" fmla="*/ 133 w 188"/>
                  <a:gd name="T55" fmla="*/ 157 h 206"/>
                  <a:gd name="T56" fmla="*/ 123 w 188"/>
                  <a:gd name="T57" fmla="*/ 125 h 206"/>
                  <a:gd name="T58" fmla="*/ 133 w 188"/>
                  <a:gd name="T59" fmla="*/ 121 h 206"/>
                  <a:gd name="T60" fmla="*/ 143 w 188"/>
                  <a:gd name="T61" fmla="*/ 122 h 206"/>
                  <a:gd name="T62" fmla="*/ 158 w 188"/>
                  <a:gd name="T63" fmla="*/ 106 h 206"/>
                  <a:gd name="T64" fmla="*/ 159 w 188"/>
                  <a:gd name="T65" fmla="*/ 70 h 206"/>
                  <a:gd name="T66" fmla="*/ 161 w 188"/>
                  <a:gd name="T67" fmla="*/ 64 h 206"/>
                  <a:gd name="T68" fmla="*/ 175 w 188"/>
                  <a:gd name="T69" fmla="*/ 65 h 206"/>
                  <a:gd name="T70" fmla="*/ 187 w 188"/>
                  <a:gd name="T71" fmla="*/ 20 h 206"/>
                  <a:gd name="T72" fmla="*/ 107 w 188"/>
                  <a:gd name="T73" fmla="*/ 18 h 206"/>
                  <a:gd name="T74" fmla="*/ 1 w 188"/>
                  <a:gd name="T75" fmla="*/ 147 h 206"/>
                  <a:gd name="T76" fmla="*/ 21 w 188"/>
                  <a:gd name="T77" fmla="*/ 160 h 206"/>
                  <a:gd name="T78" fmla="*/ 30 w 188"/>
                  <a:gd name="T79" fmla="*/ 147 h 206"/>
                  <a:gd name="T80" fmla="*/ 9 w 188"/>
                  <a:gd name="T81" fmla="*/ 145 h 206"/>
                  <a:gd name="T82" fmla="*/ 1 w 188"/>
                  <a:gd name="T83" fmla="*/ 147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88" h="206">
                    <a:moveTo>
                      <a:pt x="100" y="27"/>
                    </a:moveTo>
                    <a:cubicBezTo>
                      <a:pt x="90" y="35"/>
                      <a:pt x="90" y="35"/>
                      <a:pt x="90" y="35"/>
                    </a:cubicBezTo>
                    <a:cubicBezTo>
                      <a:pt x="84" y="55"/>
                      <a:pt x="109" y="46"/>
                      <a:pt x="100" y="52"/>
                    </a:cubicBezTo>
                    <a:cubicBezTo>
                      <a:pt x="96" y="55"/>
                      <a:pt x="90" y="54"/>
                      <a:pt x="88" y="58"/>
                    </a:cubicBezTo>
                    <a:cubicBezTo>
                      <a:pt x="85" y="62"/>
                      <a:pt x="94" y="66"/>
                      <a:pt x="91" y="69"/>
                    </a:cubicBezTo>
                    <a:cubicBezTo>
                      <a:pt x="89" y="71"/>
                      <a:pt x="82" y="74"/>
                      <a:pt x="83" y="76"/>
                    </a:cubicBezTo>
                    <a:cubicBezTo>
                      <a:pt x="90" y="79"/>
                      <a:pt x="90" y="79"/>
                      <a:pt x="90" y="79"/>
                    </a:cubicBezTo>
                    <a:cubicBezTo>
                      <a:pt x="94" y="79"/>
                      <a:pt x="106" y="56"/>
                      <a:pt x="116" y="61"/>
                    </a:cubicBezTo>
                    <a:cubicBezTo>
                      <a:pt x="119" y="63"/>
                      <a:pt x="114" y="60"/>
                      <a:pt x="113" y="56"/>
                    </a:cubicBezTo>
                    <a:cubicBezTo>
                      <a:pt x="112" y="52"/>
                      <a:pt x="121" y="48"/>
                      <a:pt x="120" y="44"/>
                    </a:cubicBezTo>
                    <a:cubicBezTo>
                      <a:pt x="117" y="39"/>
                      <a:pt x="104" y="46"/>
                      <a:pt x="104" y="40"/>
                    </a:cubicBezTo>
                    <a:cubicBezTo>
                      <a:pt x="104" y="36"/>
                      <a:pt x="107" y="33"/>
                      <a:pt x="107" y="29"/>
                    </a:cubicBezTo>
                    <a:cubicBezTo>
                      <a:pt x="107" y="28"/>
                      <a:pt x="106" y="27"/>
                      <a:pt x="105" y="26"/>
                    </a:cubicBezTo>
                    <a:cubicBezTo>
                      <a:pt x="105" y="25"/>
                      <a:pt x="98" y="31"/>
                      <a:pt x="101" y="28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86" y="36"/>
                      <a:pt x="81" y="34"/>
                      <a:pt x="77" y="34"/>
                    </a:cubicBezTo>
                    <a:cubicBezTo>
                      <a:pt x="75" y="34"/>
                      <a:pt x="74" y="33"/>
                      <a:pt x="73" y="34"/>
                    </a:cubicBezTo>
                    <a:cubicBezTo>
                      <a:pt x="66" y="43"/>
                      <a:pt x="68" y="61"/>
                      <a:pt x="65" y="70"/>
                    </a:cubicBezTo>
                    <a:cubicBezTo>
                      <a:pt x="61" y="79"/>
                      <a:pt x="54" y="89"/>
                      <a:pt x="48" y="95"/>
                    </a:cubicBezTo>
                    <a:cubicBezTo>
                      <a:pt x="46" y="98"/>
                      <a:pt x="44" y="102"/>
                      <a:pt x="41" y="103"/>
                    </a:cubicBezTo>
                    <a:cubicBezTo>
                      <a:pt x="40" y="104"/>
                      <a:pt x="36" y="102"/>
                      <a:pt x="35" y="104"/>
                    </a:cubicBezTo>
                    <a:cubicBezTo>
                      <a:pt x="34" y="108"/>
                      <a:pt x="39" y="112"/>
                      <a:pt x="37" y="116"/>
                    </a:cubicBezTo>
                    <a:cubicBezTo>
                      <a:pt x="32" y="125"/>
                      <a:pt x="14" y="120"/>
                      <a:pt x="18" y="122"/>
                    </a:cubicBezTo>
                    <a:cubicBezTo>
                      <a:pt x="23" y="125"/>
                      <a:pt x="26" y="129"/>
                      <a:pt x="31" y="132"/>
                    </a:cubicBezTo>
                    <a:cubicBezTo>
                      <a:pt x="34" y="132"/>
                      <a:pt x="36" y="129"/>
                      <a:pt x="37" y="129"/>
                    </a:cubicBezTo>
                    <a:cubicBezTo>
                      <a:pt x="40" y="130"/>
                      <a:pt x="44" y="133"/>
                      <a:pt x="42" y="135"/>
                    </a:cubicBezTo>
                    <a:cubicBezTo>
                      <a:pt x="39" y="137"/>
                      <a:pt x="32" y="130"/>
                      <a:pt x="32" y="134"/>
                    </a:cubicBezTo>
                    <a:cubicBezTo>
                      <a:pt x="32" y="139"/>
                      <a:pt x="47" y="138"/>
                      <a:pt x="44" y="142"/>
                    </a:cubicBezTo>
                    <a:cubicBezTo>
                      <a:pt x="36" y="154"/>
                      <a:pt x="28" y="133"/>
                      <a:pt x="24" y="132"/>
                    </a:cubicBezTo>
                    <a:cubicBezTo>
                      <a:pt x="14" y="129"/>
                      <a:pt x="4" y="131"/>
                      <a:pt x="5" y="135"/>
                    </a:cubicBezTo>
                    <a:cubicBezTo>
                      <a:pt x="5" y="136"/>
                      <a:pt x="23" y="147"/>
                      <a:pt x="26" y="147"/>
                    </a:cubicBezTo>
                    <a:cubicBezTo>
                      <a:pt x="27" y="147"/>
                      <a:pt x="27" y="145"/>
                      <a:pt x="28" y="143"/>
                    </a:cubicBezTo>
                    <a:cubicBezTo>
                      <a:pt x="30" y="142"/>
                      <a:pt x="32" y="146"/>
                      <a:pt x="35" y="146"/>
                    </a:cubicBezTo>
                    <a:cubicBezTo>
                      <a:pt x="37" y="147"/>
                      <a:pt x="40" y="145"/>
                      <a:pt x="43" y="147"/>
                    </a:cubicBezTo>
                    <a:cubicBezTo>
                      <a:pt x="44" y="149"/>
                      <a:pt x="45" y="150"/>
                      <a:pt x="45" y="152"/>
                    </a:cubicBezTo>
                    <a:cubicBezTo>
                      <a:pt x="47" y="152"/>
                      <a:pt x="48" y="153"/>
                      <a:pt x="50" y="152"/>
                    </a:cubicBezTo>
                    <a:cubicBezTo>
                      <a:pt x="54" y="152"/>
                      <a:pt x="43" y="139"/>
                      <a:pt x="57" y="143"/>
                    </a:cubicBezTo>
                    <a:cubicBezTo>
                      <a:pt x="58" y="143"/>
                      <a:pt x="56" y="146"/>
                      <a:pt x="56" y="147"/>
                    </a:cubicBezTo>
                    <a:cubicBezTo>
                      <a:pt x="63" y="152"/>
                      <a:pt x="65" y="139"/>
                      <a:pt x="70" y="143"/>
                    </a:cubicBezTo>
                    <a:cubicBezTo>
                      <a:pt x="71" y="145"/>
                      <a:pt x="65" y="148"/>
                      <a:pt x="67" y="149"/>
                    </a:cubicBezTo>
                    <a:cubicBezTo>
                      <a:pt x="80" y="156"/>
                      <a:pt x="69" y="147"/>
                      <a:pt x="79" y="145"/>
                    </a:cubicBezTo>
                    <a:cubicBezTo>
                      <a:pt x="80" y="145"/>
                      <a:pt x="83" y="161"/>
                      <a:pt x="87" y="162"/>
                    </a:cubicBezTo>
                    <a:cubicBezTo>
                      <a:pt x="96" y="163"/>
                      <a:pt x="108" y="163"/>
                      <a:pt x="116" y="172"/>
                    </a:cubicBezTo>
                    <a:cubicBezTo>
                      <a:pt x="116" y="173"/>
                      <a:pt x="113" y="175"/>
                      <a:pt x="113" y="176"/>
                    </a:cubicBezTo>
                    <a:cubicBezTo>
                      <a:pt x="112" y="179"/>
                      <a:pt x="109" y="182"/>
                      <a:pt x="108" y="185"/>
                    </a:cubicBezTo>
                    <a:cubicBezTo>
                      <a:pt x="108" y="186"/>
                      <a:pt x="111" y="186"/>
                      <a:pt x="110" y="187"/>
                    </a:cubicBezTo>
                    <a:cubicBezTo>
                      <a:pt x="110" y="189"/>
                      <a:pt x="107" y="189"/>
                      <a:pt x="107" y="192"/>
                    </a:cubicBezTo>
                    <a:cubicBezTo>
                      <a:pt x="103" y="206"/>
                      <a:pt x="112" y="202"/>
                      <a:pt x="121" y="202"/>
                    </a:cubicBezTo>
                    <a:cubicBezTo>
                      <a:pt x="122" y="202"/>
                      <a:pt x="122" y="202"/>
                      <a:pt x="122" y="202"/>
                    </a:cubicBezTo>
                    <a:cubicBezTo>
                      <a:pt x="121" y="201"/>
                      <a:pt x="120" y="199"/>
                      <a:pt x="120" y="198"/>
                    </a:cubicBezTo>
                    <a:cubicBezTo>
                      <a:pt x="121" y="196"/>
                      <a:pt x="125" y="196"/>
                      <a:pt x="125" y="194"/>
                    </a:cubicBezTo>
                    <a:cubicBezTo>
                      <a:pt x="127" y="184"/>
                      <a:pt x="110" y="181"/>
                      <a:pt x="116" y="180"/>
                    </a:cubicBezTo>
                    <a:cubicBezTo>
                      <a:pt x="117" y="179"/>
                      <a:pt x="118" y="181"/>
                      <a:pt x="120" y="181"/>
                    </a:cubicBezTo>
                    <a:cubicBezTo>
                      <a:pt x="130" y="172"/>
                      <a:pt x="130" y="172"/>
                      <a:pt x="130" y="172"/>
                    </a:cubicBezTo>
                    <a:cubicBezTo>
                      <a:pt x="131" y="169"/>
                      <a:pt x="123" y="172"/>
                      <a:pt x="126" y="168"/>
                    </a:cubicBezTo>
                    <a:cubicBezTo>
                      <a:pt x="127" y="164"/>
                      <a:pt x="131" y="161"/>
                      <a:pt x="133" y="157"/>
                    </a:cubicBezTo>
                    <a:cubicBezTo>
                      <a:pt x="138" y="145"/>
                      <a:pt x="126" y="136"/>
                      <a:pt x="122" y="129"/>
                    </a:cubicBezTo>
                    <a:cubicBezTo>
                      <a:pt x="122" y="128"/>
                      <a:pt x="123" y="126"/>
                      <a:pt x="123" y="125"/>
                    </a:cubicBezTo>
                    <a:cubicBezTo>
                      <a:pt x="123" y="124"/>
                      <a:pt x="122" y="122"/>
                      <a:pt x="123" y="122"/>
                    </a:cubicBezTo>
                    <a:cubicBezTo>
                      <a:pt x="126" y="120"/>
                      <a:pt x="130" y="122"/>
                      <a:pt x="133" y="121"/>
                    </a:cubicBezTo>
                    <a:cubicBezTo>
                      <a:pt x="134" y="120"/>
                      <a:pt x="132" y="117"/>
                      <a:pt x="133" y="117"/>
                    </a:cubicBezTo>
                    <a:cubicBezTo>
                      <a:pt x="137" y="119"/>
                      <a:pt x="139" y="122"/>
                      <a:pt x="143" y="122"/>
                    </a:cubicBezTo>
                    <a:cubicBezTo>
                      <a:pt x="147" y="123"/>
                      <a:pt x="162" y="118"/>
                      <a:pt x="164" y="114"/>
                    </a:cubicBezTo>
                    <a:cubicBezTo>
                      <a:pt x="165" y="110"/>
                      <a:pt x="153" y="109"/>
                      <a:pt x="158" y="106"/>
                    </a:cubicBezTo>
                    <a:cubicBezTo>
                      <a:pt x="167" y="100"/>
                      <a:pt x="178" y="98"/>
                      <a:pt x="176" y="83"/>
                    </a:cubicBezTo>
                    <a:cubicBezTo>
                      <a:pt x="175" y="76"/>
                      <a:pt x="154" y="79"/>
                      <a:pt x="159" y="70"/>
                    </a:cubicBezTo>
                    <a:cubicBezTo>
                      <a:pt x="160" y="69"/>
                      <a:pt x="163" y="70"/>
                      <a:pt x="163" y="69"/>
                    </a:cubicBezTo>
                    <a:cubicBezTo>
                      <a:pt x="163" y="68"/>
                      <a:pt x="160" y="66"/>
                      <a:pt x="161" y="64"/>
                    </a:cubicBezTo>
                    <a:cubicBezTo>
                      <a:pt x="161" y="63"/>
                      <a:pt x="163" y="63"/>
                      <a:pt x="164" y="63"/>
                    </a:cubicBezTo>
                    <a:cubicBezTo>
                      <a:pt x="168" y="63"/>
                      <a:pt x="171" y="65"/>
                      <a:pt x="175" y="65"/>
                    </a:cubicBezTo>
                    <a:cubicBezTo>
                      <a:pt x="180" y="65"/>
                      <a:pt x="176" y="56"/>
                      <a:pt x="177" y="51"/>
                    </a:cubicBezTo>
                    <a:cubicBezTo>
                      <a:pt x="178" y="47"/>
                      <a:pt x="188" y="29"/>
                      <a:pt x="187" y="20"/>
                    </a:cubicBezTo>
                    <a:cubicBezTo>
                      <a:pt x="176" y="25"/>
                      <a:pt x="174" y="4"/>
                      <a:pt x="165" y="2"/>
                    </a:cubicBezTo>
                    <a:cubicBezTo>
                      <a:pt x="156" y="0"/>
                      <a:pt x="112" y="10"/>
                      <a:pt x="107" y="18"/>
                    </a:cubicBezTo>
                    <a:cubicBezTo>
                      <a:pt x="104" y="21"/>
                      <a:pt x="103" y="25"/>
                      <a:pt x="100" y="27"/>
                    </a:cubicBezTo>
                    <a:close/>
                    <a:moveTo>
                      <a:pt x="1" y="147"/>
                    </a:moveTo>
                    <a:cubicBezTo>
                      <a:pt x="0" y="162"/>
                      <a:pt x="12" y="152"/>
                      <a:pt x="21" y="156"/>
                    </a:cubicBezTo>
                    <a:cubicBezTo>
                      <a:pt x="22" y="157"/>
                      <a:pt x="19" y="159"/>
                      <a:pt x="21" y="160"/>
                    </a:cubicBezTo>
                    <a:cubicBezTo>
                      <a:pt x="27" y="165"/>
                      <a:pt x="33" y="157"/>
                      <a:pt x="37" y="153"/>
                    </a:cubicBezTo>
                    <a:cubicBezTo>
                      <a:pt x="35" y="150"/>
                      <a:pt x="31" y="148"/>
                      <a:pt x="30" y="147"/>
                    </a:cubicBezTo>
                    <a:cubicBezTo>
                      <a:pt x="27" y="147"/>
                      <a:pt x="27" y="152"/>
                      <a:pt x="24" y="152"/>
                    </a:cubicBezTo>
                    <a:cubicBezTo>
                      <a:pt x="14" y="152"/>
                      <a:pt x="21" y="146"/>
                      <a:pt x="9" y="145"/>
                    </a:cubicBezTo>
                    <a:cubicBezTo>
                      <a:pt x="6" y="144"/>
                      <a:pt x="4" y="144"/>
                      <a:pt x="0" y="145"/>
                    </a:cubicBezTo>
                    <a:lnTo>
                      <a:pt x="1" y="147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1" name="Bosnia and Herzegovina" descr="{&quot;Key&quot;:&quot;bosnia and herzegovina&quot;,&quot;Name&quot;:&quot;Bosnia and Herzegovina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666FAC04-AA3B-D296-7D74-0336969C12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54077" y="8585456"/>
                <a:ext cx="368762" cy="358398"/>
              </a:xfrm>
              <a:custGeom>
                <a:avLst/>
                <a:gdLst>
                  <a:gd name="T0" fmla="*/ 181 w 221"/>
                  <a:gd name="T1" fmla="*/ 130 h 199"/>
                  <a:gd name="T2" fmla="*/ 181 w 221"/>
                  <a:gd name="T3" fmla="*/ 130 h 199"/>
                  <a:gd name="T4" fmla="*/ 167 w 221"/>
                  <a:gd name="T5" fmla="*/ 157 h 199"/>
                  <a:gd name="T6" fmla="*/ 166 w 221"/>
                  <a:gd name="T7" fmla="*/ 190 h 199"/>
                  <a:gd name="T8" fmla="*/ 169 w 221"/>
                  <a:gd name="T9" fmla="*/ 199 h 199"/>
                  <a:gd name="T10" fmla="*/ 128 w 221"/>
                  <a:gd name="T11" fmla="*/ 169 h 199"/>
                  <a:gd name="T12" fmla="*/ 114 w 221"/>
                  <a:gd name="T13" fmla="*/ 169 h 199"/>
                  <a:gd name="T14" fmla="*/ 97 w 221"/>
                  <a:gd name="T15" fmla="*/ 143 h 199"/>
                  <a:gd name="T16" fmla="*/ 85 w 221"/>
                  <a:gd name="T17" fmla="*/ 129 h 199"/>
                  <a:gd name="T18" fmla="*/ 35 w 221"/>
                  <a:gd name="T19" fmla="*/ 82 h 199"/>
                  <a:gd name="T20" fmla="*/ 30 w 221"/>
                  <a:gd name="T21" fmla="*/ 83 h 199"/>
                  <a:gd name="T22" fmla="*/ 29 w 221"/>
                  <a:gd name="T23" fmla="*/ 68 h 199"/>
                  <a:gd name="T24" fmla="*/ 7 w 221"/>
                  <a:gd name="T25" fmla="*/ 42 h 199"/>
                  <a:gd name="T26" fmla="*/ 33 w 221"/>
                  <a:gd name="T27" fmla="*/ 23 h 199"/>
                  <a:gd name="T28" fmla="*/ 33 w 221"/>
                  <a:gd name="T29" fmla="*/ 23 h 199"/>
                  <a:gd name="T30" fmla="*/ 52 w 221"/>
                  <a:gd name="T31" fmla="*/ 6 h 199"/>
                  <a:gd name="T32" fmla="*/ 64 w 221"/>
                  <a:gd name="T33" fmla="*/ 0 h 199"/>
                  <a:gd name="T34" fmla="*/ 81 w 221"/>
                  <a:gd name="T35" fmla="*/ 7 h 199"/>
                  <a:gd name="T36" fmla="*/ 99 w 221"/>
                  <a:gd name="T37" fmla="*/ 8 h 199"/>
                  <a:gd name="T38" fmla="*/ 118 w 221"/>
                  <a:gd name="T39" fmla="*/ 8 h 199"/>
                  <a:gd name="T40" fmla="*/ 131 w 221"/>
                  <a:gd name="T41" fmla="*/ 7 h 199"/>
                  <a:gd name="T42" fmla="*/ 144 w 221"/>
                  <a:gd name="T43" fmla="*/ 3 h 199"/>
                  <a:gd name="T44" fmla="*/ 151 w 221"/>
                  <a:gd name="T45" fmla="*/ 3 h 199"/>
                  <a:gd name="T46" fmla="*/ 181 w 221"/>
                  <a:gd name="T47" fmla="*/ 16 h 199"/>
                  <a:gd name="T48" fmla="*/ 185 w 221"/>
                  <a:gd name="T49" fmla="*/ 53 h 199"/>
                  <a:gd name="T50" fmla="*/ 199 w 221"/>
                  <a:gd name="T51" fmla="*/ 60 h 199"/>
                  <a:gd name="T52" fmla="*/ 216 w 221"/>
                  <a:gd name="T53" fmla="*/ 76 h 199"/>
                  <a:gd name="T54" fmla="*/ 196 w 221"/>
                  <a:gd name="T55" fmla="*/ 79 h 199"/>
                  <a:gd name="T56" fmla="*/ 210 w 221"/>
                  <a:gd name="T57" fmla="*/ 109 h 199"/>
                  <a:gd name="T58" fmla="*/ 200 w 221"/>
                  <a:gd name="T59" fmla="*/ 116 h 199"/>
                  <a:gd name="T60" fmla="*/ 185 w 221"/>
                  <a:gd name="T61" fmla="*/ 117 h 199"/>
                  <a:gd name="T62" fmla="*/ 190 w 221"/>
                  <a:gd name="T63" fmla="*/ 138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21" h="199">
                    <a:moveTo>
                      <a:pt x="193" y="138"/>
                    </a:moveTo>
                    <a:cubicBezTo>
                      <a:pt x="187" y="134"/>
                      <a:pt x="187" y="130"/>
                      <a:pt x="181" y="130"/>
                    </a:cubicBezTo>
                    <a:cubicBezTo>
                      <a:pt x="182" y="129"/>
                      <a:pt x="182" y="129"/>
                      <a:pt x="182" y="129"/>
                    </a:cubicBezTo>
                    <a:cubicBezTo>
                      <a:pt x="181" y="130"/>
                      <a:pt x="181" y="130"/>
                      <a:pt x="181" y="130"/>
                    </a:cubicBezTo>
                    <a:cubicBezTo>
                      <a:pt x="173" y="139"/>
                      <a:pt x="174" y="152"/>
                      <a:pt x="172" y="155"/>
                    </a:cubicBezTo>
                    <a:cubicBezTo>
                      <a:pt x="170" y="158"/>
                      <a:pt x="168" y="157"/>
                      <a:pt x="167" y="157"/>
                    </a:cubicBezTo>
                    <a:cubicBezTo>
                      <a:pt x="166" y="157"/>
                      <a:pt x="165" y="156"/>
                      <a:pt x="164" y="161"/>
                    </a:cubicBezTo>
                    <a:cubicBezTo>
                      <a:pt x="161" y="177"/>
                      <a:pt x="179" y="178"/>
                      <a:pt x="166" y="190"/>
                    </a:cubicBezTo>
                    <a:cubicBezTo>
                      <a:pt x="168" y="190"/>
                      <a:pt x="168" y="190"/>
                      <a:pt x="168" y="190"/>
                    </a:cubicBezTo>
                    <a:cubicBezTo>
                      <a:pt x="169" y="199"/>
                      <a:pt x="169" y="199"/>
                      <a:pt x="169" y="199"/>
                    </a:cubicBezTo>
                    <a:cubicBezTo>
                      <a:pt x="162" y="182"/>
                      <a:pt x="151" y="188"/>
                      <a:pt x="137" y="178"/>
                    </a:cubicBezTo>
                    <a:cubicBezTo>
                      <a:pt x="133" y="175"/>
                      <a:pt x="132" y="170"/>
                      <a:pt x="128" y="169"/>
                    </a:cubicBezTo>
                    <a:cubicBezTo>
                      <a:pt x="125" y="168"/>
                      <a:pt x="122" y="171"/>
                      <a:pt x="119" y="171"/>
                    </a:cubicBezTo>
                    <a:cubicBezTo>
                      <a:pt x="117" y="171"/>
                      <a:pt x="113" y="171"/>
                      <a:pt x="114" y="169"/>
                    </a:cubicBezTo>
                    <a:cubicBezTo>
                      <a:pt x="115" y="167"/>
                      <a:pt x="120" y="167"/>
                      <a:pt x="120" y="164"/>
                    </a:cubicBezTo>
                    <a:cubicBezTo>
                      <a:pt x="123" y="157"/>
                      <a:pt x="99" y="147"/>
                      <a:pt x="97" y="143"/>
                    </a:cubicBezTo>
                    <a:cubicBezTo>
                      <a:pt x="94" y="140"/>
                      <a:pt x="96" y="135"/>
                      <a:pt x="94" y="131"/>
                    </a:cubicBezTo>
                    <a:cubicBezTo>
                      <a:pt x="92" y="129"/>
                      <a:pt x="88" y="130"/>
                      <a:pt x="85" y="129"/>
                    </a:cubicBezTo>
                    <a:cubicBezTo>
                      <a:pt x="73" y="121"/>
                      <a:pt x="66" y="108"/>
                      <a:pt x="56" y="99"/>
                    </a:cubicBezTo>
                    <a:cubicBezTo>
                      <a:pt x="52" y="97"/>
                      <a:pt x="39" y="84"/>
                      <a:pt x="35" y="82"/>
                    </a:cubicBezTo>
                    <a:cubicBezTo>
                      <a:pt x="35" y="82"/>
                      <a:pt x="34" y="82"/>
                      <a:pt x="33" y="83"/>
                    </a:cubicBezTo>
                    <a:cubicBezTo>
                      <a:pt x="32" y="83"/>
                      <a:pt x="31" y="83"/>
                      <a:pt x="30" y="83"/>
                    </a:cubicBezTo>
                    <a:cubicBezTo>
                      <a:pt x="27" y="80"/>
                      <a:pt x="34" y="74"/>
                      <a:pt x="34" y="73"/>
                    </a:cubicBezTo>
                    <a:cubicBezTo>
                      <a:pt x="33" y="70"/>
                      <a:pt x="30" y="70"/>
                      <a:pt x="29" y="68"/>
                    </a:cubicBezTo>
                    <a:cubicBezTo>
                      <a:pt x="24" y="61"/>
                      <a:pt x="22" y="52"/>
                      <a:pt x="16" y="47"/>
                    </a:cubicBezTo>
                    <a:cubicBezTo>
                      <a:pt x="14" y="44"/>
                      <a:pt x="9" y="44"/>
                      <a:pt x="7" y="42"/>
                    </a:cubicBezTo>
                    <a:cubicBezTo>
                      <a:pt x="4" y="40"/>
                      <a:pt x="0" y="7"/>
                      <a:pt x="13" y="8"/>
                    </a:cubicBezTo>
                    <a:cubicBezTo>
                      <a:pt x="18" y="8"/>
                      <a:pt x="28" y="20"/>
                      <a:pt x="33" y="23"/>
                    </a:cubicBezTo>
                    <a:cubicBezTo>
                      <a:pt x="38" y="22"/>
                      <a:pt x="38" y="22"/>
                      <a:pt x="38" y="22"/>
                    </a:cubicBezTo>
                    <a:cubicBezTo>
                      <a:pt x="33" y="23"/>
                      <a:pt x="33" y="23"/>
                      <a:pt x="33" y="23"/>
                    </a:cubicBezTo>
                    <a:cubicBezTo>
                      <a:pt x="40" y="22"/>
                      <a:pt x="39" y="12"/>
                      <a:pt x="42" y="7"/>
                    </a:cubicBezTo>
                    <a:cubicBezTo>
                      <a:pt x="46" y="3"/>
                      <a:pt x="49" y="4"/>
                      <a:pt x="52" y="6"/>
                    </a:cubicBezTo>
                    <a:cubicBezTo>
                      <a:pt x="54" y="7"/>
                      <a:pt x="56" y="8"/>
                      <a:pt x="59" y="7"/>
                    </a:cubicBezTo>
                    <a:cubicBezTo>
                      <a:pt x="61" y="6"/>
                      <a:pt x="61" y="2"/>
                      <a:pt x="64" y="0"/>
                    </a:cubicBezTo>
                    <a:cubicBezTo>
                      <a:pt x="64" y="0"/>
                      <a:pt x="67" y="4"/>
                      <a:pt x="77" y="6"/>
                    </a:cubicBezTo>
                    <a:cubicBezTo>
                      <a:pt x="78" y="7"/>
                      <a:pt x="80" y="8"/>
                      <a:pt x="81" y="7"/>
                    </a:cubicBezTo>
                    <a:cubicBezTo>
                      <a:pt x="82" y="7"/>
                      <a:pt x="83" y="5"/>
                      <a:pt x="85" y="4"/>
                    </a:cubicBezTo>
                    <a:cubicBezTo>
                      <a:pt x="88" y="4"/>
                      <a:pt x="93" y="6"/>
                      <a:pt x="99" y="8"/>
                    </a:cubicBezTo>
                    <a:cubicBezTo>
                      <a:pt x="104" y="10"/>
                      <a:pt x="110" y="12"/>
                      <a:pt x="114" y="11"/>
                    </a:cubicBezTo>
                    <a:cubicBezTo>
                      <a:pt x="116" y="11"/>
                      <a:pt x="118" y="10"/>
                      <a:pt x="118" y="8"/>
                    </a:cubicBezTo>
                    <a:cubicBezTo>
                      <a:pt x="120" y="7"/>
                      <a:pt x="119" y="3"/>
                      <a:pt x="121" y="3"/>
                    </a:cubicBezTo>
                    <a:cubicBezTo>
                      <a:pt x="125" y="2"/>
                      <a:pt x="127" y="6"/>
                      <a:pt x="131" y="7"/>
                    </a:cubicBezTo>
                    <a:cubicBezTo>
                      <a:pt x="137" y="9"/>
                      <a:pt x="129" y="4"/>
                      <a:pt x="133" y="3"/>
                    </a:cubicBezTo>
                    <a:cubicBezTo>
                      <a:pt x="136" y="2"/>
                      <a:pt x="140" y="2"/>
                      <a:pt x="144" y="3"/>
                    </a:cubicBezTo>
                    <a:cubicBezTo>
                      <a:pt x="146" y="4"/>
                      <a:pt x="147" y="7"/>
                      <a:pt x="150" y="7"/>
                    </a:cubicBezTo>
                    <a:cubicBezTo>
                      <a:pt x="151" y="7"/>
                      <a:pt x="150" y="3"/>
                      <a:pt x="151" y="3"/>
                    </a:cubicBezTo>
                    <a:cubicBezTo>
                      <a:pt x="164" y="4"/>
                      <a:pt x="161" y="18"/>
                      <a:pt x="167" y="19"/>
                    </a:cubicBezTo>
                    <a:cubicBezTo>
                      <a:pt x="173" y="19"/>
                      <a:pt x="177" y="18"/>
                      <a:pt x="181" y="16"/>
                    </a:cubicBezTo>
                    <a:cubicBezTo>
                      <a:pt x="185" y="14"/>
                      <a:pt x="189" y="12"/>
                      <a:pt x="194" y="13"/>
                    </a:cubicBezTo>
                    <a:cubicBezTo>
                      <a:pt x="194" y="30"/>
                      <a:pt x="184" y="42"/>
                      <a:pt x="185" y="53"/>
                    </a:cubicBezTo>
                    <a:cubicBezTo>
                      <a:pt x="187" y="61"/>
                      <a:pt x="189" y="60"/>
                      <a:pt x="192" y="59"/>
                    </a:cubicBezTo>
                    <a:cubicBezTo>
                      <a:pt x="194" y="59"/>
                      <a:pt x="196" y="58"/>
                      <a:pt x="199" y="60"/>
                    </a:cubicBezTo>
                    <a:cubicBezTo>
                      <a:pt x="204" y="62"/>
                      <a:pt x="205" y="69"/>
                      <a:pt x="210" y="72"/>
                    </a:cubicBezTo>
                    <a:cubicBezTo>
                      <a:pt x="212" y="73"/>
                      <a:pt x="218" y="71"/>
                      <a:pt x="216" y="76"/>
                    </a:cubicBezTo>
                    <a:cubicBezTo>
                      <a:pt x="214" y="83"/>
                      <a:pt x="208" y="81"/>
                      <a:pt x="203" y="79"/>
                    </a:cubicBezTo>
                    <a:cubicBezTo>
                      <a:pt x="200" y="78"/>
                      <a:pt x="197" y="77"/>
                      <a:pt x="196" y="79"/>
                    </a:cubicBezTo>
                    <a:cubicBezTo>
                      <a:pt x="196" y="79"/>
                      <a:pt x="221" y="103"/>
                      <a:pt x="214" y="110"/>
                    </a:cubicBezTo>
                    <a:cubicBezTo>
                      <a:pt x="213" y="111"/>
                      <a:pt x="212" y="110"/>
                      <a:pt x="210" y="109"/>
                    </a:cubicBezTo>
                    <a:cubicBezTo>
                      <a:pt x="209" y="108"/>
                      <a:pt x="208" y="107"/>
                      <a:pt x="206" y="107"/>
                    </a:cubicBezTo>
                    <a:cubicBezTo>
                      <a:pt x="203" y="108"/>
                      <a:pt x="202" y="113"/>
                      <a:pt x="200" y="116"/>
                    </a:cubicBezTo>
                    <a:cubicBezTo>
                      <a:pt x="199" y="116"/>
                      <a:pt x="196" y="116"/>
                      <a:pt x="193" y="116"/>
                    </a:cubicBezTo>
                    <a:cubicBezTo>
                      <a:pt x="189" y="116"/>
                      <a:pt x="185" y="116"/>
                      <a:pt x="185" y="117"/>
                    </a:cubicBezTo>
                    <a:cubicBezTo>
                      <a:pt x="183" y="125"/>
                      <a:pt x="197" y="126"/>
                      <a:pt x="193" y="138"/>
                    </a:cubicBezTo>
                    <a:cubicBezTo>
                      <a:pt x="190" y="138"/>
                      <a:pt x="190" y="138"/>
                      <a:pt x="190" y="138"/>
                    </a:cubicBezTo>
                    <a:cubicBezTo>
                      <a:pt x="193" y="138"/>
                      <a:pt x="193" y="138"/>
                      <a:pt x="193" y="138"/>
                    </a:cubicBezTo>
                  </a:path>
                </a:pathLst>
              </a:custGeom>
              <a:solidFill>
                <a:srgbClr val="D9D9D9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9" name="Slovenia" descr="{&quot;Key&quot;:&quot;slovenia&quot;,&quot;Name&quot;:&quot;Slovenia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59E56163-C8D1-2FFB-A526-2BFA494B33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43779" y="8378383"/>
                <a:ext cx="275461" cy="207075"/>
              </a:xfrm>
              <a:custGeom>
                <a:avLst/>
                <a:gdLst>
                  <a:gd name="T0" fmla="*/ 165 w 165"/>
                  <a:gd name="T1" fmla="*/ 27 h 115"/>
                  <a:gd name="T2" fmla="*/ 150 w 165"/>
                  <a:gd name="T3" fmla="*/ 25 h 115"/>
                  <a:gd name="T4" fmla="*/ 148 w 165"/>
                  <a:gd name="T5" fmla="*/ 36 h 115"/>
                  <a:gd name="T6" fmla="*/ 139 w 165"/>
                  <a:gd name="T7" fmla="*/ 37 h 115"/>
                  <a:gd name="T8" fmla="*/ 139 w 165"/>
                  <a:gd name="T9" fmla="*/ 41 h 115"/>
                  <a:gd name="T10" fmla="*/ 118 w 165"/>
                  <a:gd name="T11" fmla="*/ 51 h 115"/>
                  <a:gd name="T12" fmla="*/ 122 w 165"/>
                  <a:gd name="T13" fmla="*/ 79 h 115"/>
                  <a:gd name="T14" fmla="*/ 102 w 165"/>
                  <a:gd name="T15" fmla="*/ 88 h 115"/>
                  <a:gd name="T16" fmla="*/ 108 w 165"/>
                  <a:gd name="T17" fmla="*/ 94 h 115"/>
                  <a:gd name="T18" fmla="*/ 103 w 165"/>
                  <a:gd name="T19" fmla="*/ 98 h 115"/>
                  <a:gd name="T20" fmla="*/ 106 w 165"/>
                  <a:gd name="T21" fmla="*/ 109 h 115"/>
                  <a:gd name="T22" fmla="*/ 85 w 165"/>
                  <a:gd name="T23" fmla="*/ 106 h 115"/>
                  <a:gd name="T24" fmla="*/ 79 w 165"/>
                  <a:gd name="T25" fmla="*/ 110 h 115"/>
                  <a:gd name="T26" fmla="*/ 68 w 165"/>
                  <a:gd name="T27" fmla="*/ 99 h 115"/>
                  <a:gd name="T28" fmla="*/ 65 w 165"/>
                  <a:gd name="T29" fmla="*/ 95 h 115"/>
                  <a:gd name="T30" fmla="*/ 61 w 165"/>
                  <a:gd name="T31" fmla="*/ 106 h 115"/>
                  <a:gd name="T32" fmla="*/ 35 w 165"/>
                  <a:gd name="T33" fmla="*/ 108 h 115"/>
                  <a:gd name="T34" fmla="*/ 35 w 165"/>
                  <a:gd name="T35" fmla="*/ 112 h 115"/>
                  <a:gd name="T36" fmla="*/ 15 w 165"/>
                  <a:gd name="T37" fmla="*/ 112 h 115"/>
                  <a:gd name="T38" fmla="*/ 15 w 165"/>
                  <a:gd name="T39" fmla="*/ 112 h 115"/>
                  <a:gd name="T40" fmla="*/ 23 w 165"/>
                  <a:gd name="T41" fmla="*/ 103 h 115"/>
                  <a:gd name="T42" fmla="*/ 14 w 165"/>
                  <a:gd name="T43" fmla="*/ 87 h 115"/>
                  <a:gd name="T44" fmla="*/ 15 w 165"/>
                  <a:gd name="T45" fmla="*/ 75 h 115"/>
                  <a:gd name="T46" fmla="*/ 8 w 165"/>
                  <a:gd name="T47" fmla="*/ 73 h 115"/>
                  <a:gd name="T48" fmla="*/ 16 w 165"/>
                  <a:gd name="T49" fmla="*/ 60 h 115"/>
                  <a:gd name="T50" fmla="*/ 1 w 165"/>
                  <a:gd name="T51" fmla="*/ 52 h 115"/>
                  <a:gd name="T52" fmla="*/ 18 w 165"/>
                  <a:gd name="T53" fmla="*/ 34 h 115"/>
                  <a:gd name="T54" fmla="*/ 17 w 165"/>
                  <a:gd name="T55" fmla="*/ 34 h 115"/>
                  <a:gd name="T56" fmla="*/ 27 w 165"/>
                  <a:gd name="T57" fmla="*/ 35 h 115"/>
                  <a:gd name="T58" fmla="*/ 41 w 165"/>
                  <a:gd name="T59" fmla="*/ 40 h 115"/>
                  <a:gd name="T60" fmla="*/ 55 w 165"/>
                  <a:gd name="T61" fmla="*/ 38 h 115"/>
                  <a:gd name="T62" fmla="*/ 62 w 165"/>
                  <a:gd name="T63" fmla="*/ 42 h 115"/>
                  <a:gd name="T64" fmla="*/ 64 w 165"/>
                  <a:gd name="T65" fmla="*/ 39 h 115"/>
                  <a:gd name="T66" fmla="*/ 74 w 165"/>
                  <a:gd name="T67" fmla="*/ 31 h 115"/>
                  <a:gd name="T68" fmla="*/ 76 w 165"/>
                  <a:gd name="T69" fmla="*/ 24 h 115"/>
                  <a:gd name="T70" fmla="*/ 108 w 165"/>
                  <a:gd name="T71" fmla="*/ 22 h 115"/>
                  <a:gd name="T72" fmla="*/ 116 w 165"/>
                  <a:gd name="T73" fmla="*/ 14 h 115"/>
                  <a:gd name="T74" fmla="*/ 135 w 165"/>
                  <a:gd name="T75" fmla="*/ 16 h 115"/>
                  <a:gd name="T76" fmla="*/ 133 w 165"/>
                  <a:gd name="T77" fmla="*/ 11 h 115"/>
                  <a:gd name="T78" fmla="*/ 147 w 165"/>
                  <a:gd name="T79" fmla="*/ 0 h 115"/>
                  <a:gd name="T80" fmla="*/ 165 w 165"/>
                  <a:gd name="T81" fmla="*/ 2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65" h="115">
                    <a:moveTo>
                      <a:pt x="165" y="27"/>
                    </a:moveTo>
                    <a:cubicBezTo>
                      <a:pt x="161" y="26"/>
                      <a:pt x="152" y="24"/>
                      <a:pt x="150" y="25"/>
                    </a:cubicBezTo>
                    <a:cubicBezTo>
                      <a:pt x="143" y="26"/>
                      <a:pt x="152" y="34"/>
                      <a:pt x="148" y="36"/>
                    </a:cubicBezTo>
                    <a:cubicBezTo>
                      <a:pt x="146" y="37"/>
                      <a:pt x="142" y="35"/>
                      <a:pt x="139" y="37"/>
                    </a:cubicBezTo>
                    <a:cubicBezTo>
                      <a:pt x="138" y="37"/>
                      <a:pt x="140" y="39"/>
                      <a:pt x="139" y="41"/>
                    </a:cubicBezTo>
                    <a:cubicBezTo>
                      <a:pt x="133" y="45"/>
                      <a:pt x="124" y="46"/>
                      <a:pt x="118" y="51"/>
                    </a:cubicBezTo>
                    <a:cubicBezTo>
                      <a:pt x="112" y="57"/>
                      <a:pt x="131" y="73"/>
                      <a:pt x="122" y="79"/>
                    </a:cubicBezTo>
                    <a:cubicBezTo>
                      <a:pt x="103" y="93"/>
                      <a:pt x="115" y="69"/>
                      <a:pt x="102" y="88"/>
                    </a:cubicBezTo>
                    <a:cubicBezTo>
                      <a:pt x="100" y="90"/>
                      <a:pt x="107" y="91"/>
                      <a:pt x="108" y="94"/>
                    </a:cubicBezTo>
                    <a:cubicBezTo>
                      <a:pt x="109" y="96"/>
                      <a:pt x="103" y="95"/>
                      <a:pt x="103" y="98"/>
                    </a:cubicBezTo>
                    <a:cubicBezTo>
                      <a:pt x="103" y="99"/>
                      <a:pt x="108" y="106"/>
                      <a:pt x="106" y="109"/>
                    </a:cubicBezTo>
                    <a:cubicBezTo>
                      <a:pt x="100" y="115"/>
                      <a:pt x="91" y="106"/>
                      <a:pt x="85" y="106"/>
                    </a:cubicBezTo>
                    <a:cubicBezTo>
                      <a:pt x="77" y="106"/>
                      <a:pt x="93" y="114"/>
                      <a:pt x="79" y="110"/>
                    </a:cubicBezTo>
                    <a:cubicBezTo>
                      <a:pt x="75" y="108"/>
                      <a:pt x="70" y="102"/>
                      <a:pt x="68" y="99"/>
                    </a:cubicBezTo>
                    <a:cubicBezTo>
                      <a:pt x="67" y="98"/>
                      <a:pt x="66" y="94"/>
                      <a:pt x="65" y="95"/>
                    </a:cubicBezTo>
                    <a:cubicBezTo>
                      <a:pt x="63" y="99"/>
                      <a:pt x="64" y="103"/>
                      <a:pt x="61" y="106"/>
                    </a:cubicBezTo>
                    <a:cubicBezTo>
                      <a:pt x="54" y="115"/>
                      <a:pt x="44" y="106"/>
                      <a:pt x="35" y="108"/>
                    </a:cubicBezTo>
                    <a:cubicBezTo>
                      <a:pt x="34" y="109"/>
                      <a:pt x="36" y="111"/>
                      <a:pt x="35" y="112"/>
                    </a:cubicBezTo>
                    <a:cubicBezTo>
                      <a:pt x="30" y="115"/>
                      <a:pt x="20" y="115"/>
                      <a:pt x="15" y="112"/>
                    </a:cubicBezTo>
                    <a:cubicBezTo>
                      <a:pt x="15" y="112"/>
                      <a:pt x="15" y="112"/>
                      <a:pt x="15" y="112"/>
                    </a:cubicBezTo>
                    <a:cubicBezTo>
                      <a:pt x="18" y="109"/>
                      <a:pt x="22" y="106"/>
                      <a:pt x="23" y="103"/>
                    </a:cubicBezTo>
                    <a:cubicBezTo>
                      <a:pt x="43" y="104"/>
                      <a:pt x="20" y="91"/>
                      <a:pt x="14" y="87"/>
                    </a:cubicBezTo>
                    <a:cubicBezTo>
                      <a:pt x="10" y="85"/>
                      <a:pt x="17" y="78"/>
                      <a:pt x="15" y="75"/>
                    </a:cubicBezTo>
                    <a:cubicBezTo>
                      <a:pt x="14" y="72"/>
                      <a:pt x="5" y="80"/>
                      <a:pt x="8" y="73"/>
                    </a:cubicBezTo>
                    <a:cubicBezTo>
                      <a:pt x="9" y="68"/>
                      <a:pt x="20" y="63"/>
                      <a:pt x="16" y="60"/>
                    </a:cubicBezTo>
                    <a:cubicBezTo>
                      <a:pt x="13" y="57"/>
                      <a:pt x="0" y="59"/>
                      <a:pt x="1" y="52"/>
                    </a:cubicBezTo>
                    <a:cubicBezTo>
                      <a:pt x="2" y="43"/>
                      <a:pt x="17" y="45"/>
                      <a:pt x="18" y="34"/>
                    </a:cubicBezTo>
                    <a:cubicBezTo>
                      <a:pt x="17" y="34"/>
                      <a:pt x="17" y="34"/>
                      <a:pt x="17" y="34"/>
                    </a:cubicBezTo>
                    <a:cubicBezTo>
                      <a:pt x="20" y="34"/>
                      <a:pt x="23" y="35"/>
                      <a:pt x="27" y="35"/>
                    </a:cubicBezTo>
                    <a:cubicBezTo>
                      <a:pt x="32" y="36"/>
                      <a:pt x="36" y="39"/>
                      <a:pt x="41" y="40"/>
                    </a:cubicBezTo>
                    <a:cubicBezTo>
                      <a:pt x="45" y="41"/>
                      <a:pt x="50" y="37"/>
                      <a:pt x="55" y="38"/>
                    </a:cubicBezTo>
                    <a:cubicBezTo>
                      <a:pt x="57" y="38"/>
                      <a:pt x="59" y="42"/>
                      <a:pt x="62" y="42"/>
                    </a:cubicBezTo>
                    <a:cubicBezTo>
                      <a:pt x="63" y="43"/>
                      <a:pt x="62" y="39"/>
                      <a:pt x="64" y="39"/>
                    </a:cubicBezTo>
                    <a:cubicBezTo>
                      <a:pt x="66" y="36"/>
                      <a:pt x="71" y="35"/>
                      <a:pt x="74" y="31"/>
                    </a:cubicBezTo>
                    <a:cubicBezTo>
                      <a:pt x="76" y="30"/>
                      <a:pt x="74" y="26"/>
                      <a:pt x="76" y="24"/>
                    </a:cubicBezTo>
                    <a:cubicBezTo>
                      <a:pt x="87" y="16"/>
                      <a:pt x="98" y="26"/>
                      <a:pt x="108" y="22"/>
                    </a:cubicBezTo>
                    <a:cubicBezTo>
                      <a:pt x="112" y="20"/>
                      <a:pt x="112" y="15"/>
                      <a:pt x="116" y="14"/>
                    </a:cubicBezTo>
                    <a:cubicBezTo>
                      <a:pt x="116" y="13"/>
                      <a:pt x="135" y="16"/>
                      <a:pt x="135" y="16"/>
                    </a:cubicBezTo>
                    <a:cubicBezTo>
                      <a:pt x="137" y="15"/>
                      <a:pt x="134" y="13"/>
                      <a:pt x="133" y="11"/>
                    </a:cubicBezTo>
                    <a:cubicBezTo>
                      <a:pt x="131" y="2"/>
                      <a:pt x="138" y="0"/>
                      <a:pt x="147" y="0"/>
                    </a:cubicBezTo>
                    <a:cubicBezTo>
                      <a:pt x="149" y="0"/>
                      <a:pt x="154" y="17"/>
                      <a:pt x="165" y="27"/>
                    </a:cubicBez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3" name="Macedonia" descr="{&quot;Key&quot;:&quot;macedonia&quot;,&quot;Name&quot;:&quot;Macedonia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DF5AA37A-D955-B62C-6157-1598A037B5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30950" y="8892882"/>
                <a:ext cx="233994" cy="230967"/>
              </a:xfrm>
              <a:custGeom>
                <a:avLst/>
                <a:gdLst>
                  <a:gd name="T0" fmla="*/ 2 w 140"/>
                  <a:gd name="T1" fmla="*/ 54 h 128"/>
                  <a:gd name="T2" fmla="*/ 2 w 140"/>
                  <a:gd name="T3" fmla="*/ 66 h 128"/>
                  <a:gd name="T4" fmla="*/ 5 w 140"/>
                  <a:gd name="T5" fmla="*/ 76 h 128"/>
                  <a:gd name="T6" fmla="*/ 1 w 140"/>
                  <a:gd name="T7" fmla="*/ 80 h 128"/>
                  <a:gd name="T8" fmla="*/ 7 w 140"/>
                  <a:gd name="T9" fmla="*/ 90 h 128"/>
                  <a:gd name="T10" fmla="*/ 5 w 140"/>
                  <a:gd name="T11" fmla="*/ 95 h 128"/>
                  <a:gd name="T12" fmla="*/ 21 w 140"/>
                  <a:gd name="T13" fmla="*/ 124 h 128"/>
                  <a:gd name="T14" fmla="*/ 29 w 140"/>
                  <a:gd name="T15" fmla="*/ 122 h 128"/>
                  <a:gd name="T16" fmla="*/ 36 w 140"/>
                  <a:gd name="T17" fmla="*/ 123 h 128"/>
                  <a:gd name="T18" fmla="*/ 36 w 140"/>
                  <a:gd name="T19" fmla="*/ 127 h 128"/>
                  <a:gd name="T20" fmla="*/ 80 w 140"/>
                  <a:gd name="T21" fmla="*/ 114 h 128"/>
                  <a:gd name="T22" fmla="*/ 93 w 140"/>
                  <a:gd name="T23" fmla="*/ 94 h 128"/>
                  <a:gd name="T24" fmla="*/ 107 w 140"/>
                  <a:gd name="T25" fmla="*/ 94 h 128"/>
                  <a:gd name="T26" fmla="*/ 123 w 140"/>
                  <a:gd name="T27" fmla="*/ 93 h 128"/>
                  <a:gd name="T28" fmla="*/ 126 w 140"/>
                  <a:gd name="T29" fmla="*/ 87 h 128"/>
                  <a:gd name="T30" fmla="*/ 127 w 140"/>
                  <a:gd name="T31" fmla="*/ 88 h 128"/>
                  <a:gd name="T32" fmla="*/ 130 w 140"/>
                  <a:gd name="T33" fmla="*/ 89 h 128"/>
                  <a:gd name="T34" fmla="*/ 139 w 140"/>
                  <a:gd name="T35" fmla="*/ 72 h 128"/>
                  <a:gd name="T36" fmla="*/ 140 w 140"/>
                  <a:gd name="T37" fmla="*/ 72 h 128"/>
                  <a:gd name="T38" fmla="*/ 139 w 140"/>
                  <a:gd name="T39" fmla="*/ 41 h 128"/>
                  <a:gd name="T40" fmla="*/ 123 w 140"/>
                  <a:gd name="T41" fmla="*/ 22 h 128"/>
                  <a:gd name="T42" fmla="*/ 113 w 140"/>
                  <a:gd name="T43" fmla="*/ 20 h 128"/>
                  <a:gd name="T44" fmla="*/ 97 w 140"/>
                  <a:gd name="T45" fmla="*/ 7 h 128"/>
                  <a:gd name="T46" fmla="*/ 62 w 140"/>
                  <a:gd name="T47" fmla="*/ 19 h 128"/>
                  <a:gd name="T48" fmla="*/ 54 w 140"/>
                  <a:gd name="T49" fmla="*/ 19 h 128"/>
                  <a:gd name="T50" fmla="*/ 42 w 140"/>
                  <a:gd name="T51" fmla="*/ 26 h 128"/>
                  <a:gd name="T52" fmla="*/ 43 w 140"/>
                  <a:gd name="T53" fmla="*/ 32 h 128"/>
                  <a:gd name="T54" fmla="*/ 34 w 140"/>
                  <a:gd name="T55" fmla="*/ 28 h 128"/>
                  <a:gd name="T56" fmla="*/ 14 w 140"/>
                  <a:gd name="T57" fmla="*/ 38 h 128"/>
                  <a:gd name="T58" fmla="*/ 4 w 140"/>
                  <a:gd name="T59" fmla="*/ 54 h 128"/>
                  <a:gd name="T60" fmla="*/ 2 w 140"/>
                  <a:gd name="T61" fmla="*/ 54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40" h="128">
                    <a:moveTo>
                      <a:pt x="2" y="54"/>
                    </a:moveTo>
                    <a:cubicBezTo>
                      <a:pt x="2" y="58"/>
                      <a:pt x="1" y="62"/>
                      <a:pt x="2" y="66"/>
                    </a:cubicBezTo>
                    <a:cubicBezTo>
                      <a:pt x="2" y="70"/>
                      <a:pt x="5" y="73"/>
                      <a:pt x="5" y="76"/>
                    </a:cubicBezTo>
                    <a:cubicBezTo>
                      <a:pt x="5" y="78"/>
                      <a:pt x="0" y="78"/>
                      <a:pt x="1" y="80"/>
                    </a:cubicBezTo>
                    <a:cubicBezTo>
                      <a:pt x="1" y="84"/>
                      <a:pt x="7" y="86"/>
                      <a:pt x="7" y="90"/>
                    </a:cubicBezTo>
                    <a:cubicBezTo>
                      <a:pt x="8" y="92"/>
                      <a:pt x="5" y="93"/>
                      <a:pt x="5" y="95"/>
                    </a:cubicBezTo>
                    <a:cubicBezTo>
                      <a:pt x="5" y="100"/>
                      <a:pt x="19" y="121"/>
                      <a:pt x="21" y="124"/>
                    </a:cubicBezTo>
                    <a:cubicBezTo>
                      <a:pt x="25" y="128"/>
                      <a:pt x="27" y="122"/>
                      <a:pt x="29" y="122"/>
                    </a:cubicBezTo>
                    <a:cubicBezTo>
                      <a:pt x="31" y="121"/>
                      <a:pt x="34" y="122"/>
                      <a:pt x="36" y="123"/>
                    </a:cubicBezTo>
                    <a:cubicBezTo>
                      <a:pt x="37" y="124"/>
                      <a:pt x="35" y="127"/>
                      <a:pt x="36" y="127"/>
                    </a:cubicBezTo>
                    <a:cubicBezTo>
                      <a:pt x="40" y="127"/>
                      <a:pt x="78" y="116"/>
                      <a:pt x="80" y="114"/>
                    </a:cubicBezTo>
                    <a:cubicBezTo>
                      <a:pt x="87" y="107"/>
                      <a:pt x="82" y="98"/>
                      <a:pt x="93" y="94"/>
                    </a:cubicBezTo>
                    <a:cubicBezTo>
                      <a:pt x="95" y="93"/>
                      <a:pt x="101" y="93"/>
                      <a:pt x="107" y="94"/>
                    </a:cubicBezTo>
                    <a:cubicBezTo>
                      <a:pt x="114" y="94"/>
                      <a:pt x="121" y="94"/>
                      <a:pt x="123" y="93"/>
                    </a:cubicBezTo>
                    <a:cubicBezTo>
                      <a:pt x="124" y="92"/>
                      <a:pt x="124" y="88"/>
                      <a:pt x="126" y="87"/>
                    </a:cubicBezTo>
                    <a:cubicBezTo>
                      <a:pt x="126" y="87"/>
                      <a:pt x="127" y="88"/>
                      <a:pt x="127" y="88"/>
                    </a:cubicBezTo>
                    <a:cubicBezTo>
                      <a:pt x="128" y="89"/>
                      <a:pt x="129" y="90"/>
                      <a:pt x="130" y="89"/>
                    </a:cubicBezTo>
                    <a:cubicBezTo>
                      <a:pt x="136" y="84"/>
                      <a:pt x="121" y="75"/>
                      <a:pt x="139" y="72"/>
                    </a:cubicBezTo>
                    <a:cubicBezTo>
                      <a:pt x="140" y="72"/>
                      <a:pt x="140" y="72"/>
                      <a:pt x="140" y="72"/>
                    </a:cubicBezTo>
                    <a:cubicBezTo>
                      <a:pt x="140" y="65"/>
                      <a:pt x="139" y="41"/>
                      <a:pt x="139" y="41"/>
                    </a:cubicBezTo>
                    <a:cubicBezTo>
                      <a:pt x="135" y="37"/>
                      <a:pt x="128" y="26"/>
                      <a:pt x="123" y="22"/>
                    </a:cubicBezTo>
                    <a:cubicBezTo>
                      <a:pt x="121" y="20"/>
                      <a:pt x="117" y="22"/>
                      <a:pt x="113" y="20"/>
                    </a:cubicBezTo>
                    <a:cubicBezTo>
                      <a:pt x="112" y="20"/>
                      <a:pt x="97" y="8"/>
                      <a:pt x="97" y="7"/>
                    </a:cubicBezTo>
                    <a:cubicBezTo>
                      <a:pt x="89" y="0"/>
                      <a:pt x="71" y="18"/>
                      <a:pt x="62" y="19"/>
                    </a:cubicBezTo>
                    <a:cubicBezTo>
                      <a:pt x="59" y="20"/>
                      <a:pt x="56" y="19"/>
                      <a:pt x="54" y="19"/>
                    </a:cubicBezTo>
                    <a:cubicBezTo>
                      <a:pt x="49" y="18"/>
                      <a:pt x="45" y="18"/>
                      <a:pt x="42" y="26"/>
                    </a:cubicBezTo>
                    <a:cubicBezTo>
                      <a:pt x="41" y="28"/>
                      <a:pt x="44" y="30"/>
                      <a:pt x="43" y="32"/>
                    </a:cubicBezTo>
                    <a:cubicBezTo>
                      <a:pt x="42" y="35"/>
                      <a:pt x="37" y="28"/>
                      <a:pt x="34" y="28"/>
                    </a:cubicBezTo>
                    <a:cubicBezTo>
                      <a:pt x="27" y="29"/>
                      <a:pt x="20" y="34"/>
                      <a:pt x="14" y="38"/>
                    </a:cubicBezTo>
                    <a:cubicBezTo>
                      <a:pt x="10" y="40"/>
                      <a:pt x="18" y="64"/>
                      <a:pt x="4" y="54"/>
                    </a:cubicBezTo>
                    <a:cubicBezTo>
                      <a:pt x="2" y="54"/>
                      <a:pt x="2" y="54"/>
                      <a:pt x="2" y="54"/>
                    </a:cubicBezTo>
                  </a:path>
                </a:pathLst>
              </a:custGeom>
              <a:grpFill/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4" name="Croatia" descr="{&quot;Key&quot;:&quot;croatia&quot;,&quot;Name&quot;:&quot;Croatia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B748CFB4-9A00-FA8E-FAE5-4A39305AAD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60068" y="8421390"/>
                <a:ext cx="519822" cy="522463"/>
              </a:xfrm>
              <a:custGeom>
                <a:avLst/>
                <a:gdLst>
                  <a:gd name="T0" fmla="*/ 253 w 311"/>
                  <a:gd name="T1" fmla="*/ 269 h 290"/>
                  <a:gd name="T2" fmla="*/ 239 w 311"/>
                  <a:gd name="T3" fmla="*/ 263 h 290"/>
                  <a:gd name="T4" fmla="*/ 209 w 311"/>
                  <a:gd name="T5" fmla="*/ 256 h 290"/>
                  <a:gd name="T6" fmla="*/ 200 w 311"/>
                  <a:gd name="T7" fmla="*/ 258 h 290"/>
                  <a:gd name="T8" fmla="*/ 223 w 311"/>
                  <a:gd name="T9" fmla="*/ 262 h 290"/>
                  <a:gd name="T10" fmla="*/ 270 w 311"/>
                  <a:gd name="T11" fmla="*/ 283 h 290"/>
                  <a:gd name="T12" fmla="*/ 299 w 311"/>
                  <a:gd name="T13" fmla="*/ 101 h 290"/>
                  <a:gd name="T14" fmla="*/ 302 w 311"/>
                  <a:gd name="T15" fmla="*/ 83 h 290"/>
                  <a:gd name="T16" fmla="*/ 289 w 311"/>
                  <a:gd name="T17" fmla="*/ 68 h 290"/>
                  <a:gd name="T18" fmla="*/ 292 w 311"/>
                  <a:gd name="T19" fmla="*/ 61 h 290"/>
                  <a:gd name="T20" fmla="*/ 274 w 311"/>
                  <a:gd name="T21" fmla="*/ 33 h 290"/>
                  <a:gd name="T22" fmla="*/ 262 w 311"/>
                  <a:gd name="T23" fmla="*/ 43 h 290"/>
                  <a:gd name="T24" fmla="*/ 205 w 311"/>
                  <a:gd name="T25" fmla="*/ 39 h 290"/>
                  <a:gd name="T26" fmla="*/ 140 w 311"/>
                  <a:gd name="T27" fmla="*/ 1 h 290"/>
                  <a:gd name="T28" fmla="*/ 129 w 311"/>
                  <a:gd name="T29" fmla="*/ 13 h 290"/>
                  <a:gd name="T30" fmla="*/ 112 w 311"/>
                  <a:gd name="T31" fmla="*/ 55 h 290"/>
                  <a:gd name="T32" fmla="*/ 98 w 311"/>
                  <a:gd name="T33" fmla="*/ 70 h 290"/>
                  <a:gd name="T34" fmla="*/ 75 w 311"/>
                  <a:gd name="T35" fmla="*/ 82 h 290"/>
                  <a:gd name="T36" fmla="*/ 55 w 311"/>
                  <a:gd name="T37" fmla="*/ 71 h 290"/>
                  <a:gd name="T38" fmla="*/ 25 w 311"/>
                  <a:gd name="T39" fmla="*/ 84 h 290"/>
                  <a:gd name="T40" fmla="*/ 0 w 311"/>
                  <a:gd name="T41" fmla="*/ 88 h 290"/>
                  <a:gd name="T42" fmla="*/ 7 w 311"/>
                  <a:gd name="T43" fmla="*/ 114 h 290"/>
                  <a:gd name="T44" fmla="*/ 24 w 311"/>
                  <a:gd name="T45" fmla="*/ 140 h 290"/>
                  <a:gd name="T46" fmla="*/ 30 w 311"/>
                  <a:gd name="T47" fmla="*/ 122 h 290"/>
                  <a:gd name="T48" fmla="*/ 38 w 311"/>
                  <a:gd name="T49" fmla="*/ 114 h 290"/>
                  <a:gd name="T50" fmla="*/ 38 w 311"/>
                  <a:gd name="T51" fmla="*/ 113 h 290"/>
                  <a:gd name="T52" fmla="*/ 72 w 311"/>
                  <a:gd name="T53" fmla="*/ 111 h 290"/>
                  <a:gd name="T54" fmla="*/ 113 w 311"/>
                  <a:gd name="T55" fmla="*/ 172 h 290"/>
                  <a:gd name="T56" fmla="*/ 123 w 311"/>
                  <a:gd name="T57" fmla="*/ 205 h 290"/>
                  <a:gd name="T58" fmla="*/ 138 w 311"/>
                  <a:gd name="T59" fmla="*/ 213 h 290"/>
                  <a:gd name="T60" fmla="*/ 176 w 311"/>
                  <a:gd name="T61" fmla="*/ 228 h 290"/>
                  <a:gd name="T62" fmla="*/ 207 w 311"/>
                  <a:gd name="T63" fmla="*/ 245 h 290"/>
                  <a:gd name="T64" fmla="*/ 226 w 311"/>
                  <a:gd name="T65" fmla="*/ 253 h 290"/>
                  <a:gd name="T66" fmla="*/ 213 w 311"/>
                  <a:gd name="T67" fmla="*/ 234 h 290"/>
                  <a:gd name="T68" fmla="*/ 172 w 311"/>
                  <a:gd name="T69" fmla="*/ 190 h 290"/>
                  <a:gd name="T70" fmla="*/ 146 w 311"/>
                  <a:gd name="T71" fmla="*/ 174 h 290"/>
                  <a:gd name="T72" fmla="*/ 132 w 311"/>
                  <a:gd name="T73" fmla="*/ 138 h 290"/>
                  <a:gd name="T74" fmla="*/ 149 w 311"/>
                  <a:gd name="T75" fmla="*/ 114 h 290"/>
                  <a:gd name="T76" fmla="*/ 158 w 311"/>
                  <a:gd name="T77" fmla="*/ 98 h 290"/>
                  <a:gd name="T78" fmla="*/ 180 w 311"/>
                  <a:gd name="T79" fmla="*/ 91 h 290"/>
                  <a:gd name="T80" fmla="*/ 201 w 311"/>
                  <a:gd name="T81" fmla="*/ 95 h 290"/>
                  <a:gd name="T82" fmla="*/ 234 w 311"/>
                  <a:gd name="T83" fmla="*/ 99 h 290"/>
                  <a:gd name="T84" fmla="*/ 249 w 311"/>
                  <a:gd name="T85" fmla="*/ 94 h 290"/>
                  <a:gd name="T86" fmla="*/ 267 w 311"/>
                  <a:gd name="T87" fmla="*/ 94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11" h="290">
                    <a:moveTo>
                      <a:pt x="284" y="290"/>
                    </a:moveTo>
                    <a:cubicBezTo>
                      <a:pt x="283" y="286"/>
                      <a:pt x="283" y="286"/>
                      <a:pt x="283" y="286"/>
                    </a:cubicBezTo>
                    <a:cubicBezTo>
                      <a:pt x="276" y="275"/>
                      <a:pt x="265" y="278"/>
                      <a:pt x="253" y="269"/>
                    </a:cubicBezTo>
                    <a:cubicBezTo>
                      <a:pt x="249" y="266"/>
                      <a:pt x="248" y="261"/>
                      <a:pt x="244" y="260"/>
                    </a:cubicBezTo>
                    <a:cubicBezTo>
                      <a:pt x="242" y="259"/>
                      <a:pt x="239" y="261"/>
                      <a:pt x="236" y="262"/>
                    </a:cubicBezTo>
                    <a:cubicBezTo>
                      <a:pt x="237" y="262"/>
                      <a:pt x="238" y="262"/>
                      <a:pt x="239" y="263"/>
                    </a:cubicBezTo>
                    <a:cubicBezTo>
                      <a:pt x="240" y="263"/>
                      <a:pt x="241" y="267"/>
                      <a:pt x="240" y="267"/>
                    </a:cubicBezTo>
                    <a:cubicBezTo>
                      <a:pt x="231" y="266"/>
                      <a:pt x="224" y="258"/>
                      <a:pt x="215" y="256"/>
                    </a:cubicBezTo>
                    <a:cubicBezTo>
                      <a:pt x="213" y="256"/>
                      <a:pt x="211" y="256"/>
                      <a:pt x="209" y="256"/>
                    </a:cubicBezTo>
                    <a:cubicBezTo>
                      <a:pt x="207" y="257"/>
                      <a:pt x="205" y="257"/>
                      <a:pt x="203" y="256"/>
                    </a:cubicBezTo>
                    <a:cubicBezTo>
                      <a:pt x="202" y="256"/>
                      <a:pt x="201" y="254"/>
                      <a:pt x="200" y="254"/>
                    </a:cubicBezTo>
                    <a:cubicBezTo>
                      <a:pt x="199" y="255"/>
                      <a:pt x="199" y="258"/>
                      <a:pt x="200" y="258"/>
                    </a:cubicBezTo>
                    <a:cubicBezTo>
                      <a:pt x="202" y="259"/>
                      <a:pt x="204" y="259"/>
                      <a:pt x="206" y="258"/>
                    </a:cubicBezTo>
                    <a:cubicBezTo>
                      <a:pt x="208" y="258"/>
                      <a:pt x="210" y="258"/>
                      <a:pt x="211" y="258"/>
                    </a:cubicBezTo>
                    <a:cubicBezTo>
                      <a:pt x="215" y="259"/>
                      <a:pt x="219" y="260"/>
                      <a:pt x="223" y="262"/>
                    </a:cubicBezTo>
                    <a:cubicBezTo>
                      <a:pt x="224" y="263"/>
                      <a:pt x="223" y="265"/>
                      <a:pt x="224" y="265"/>
                    </a:cubicBezTo>
                    <a:cubicBezTo>
                      <a:pt x="232" y="270"/>
                      <a:pt x="236" y="269"/>
                      <a:pt x="240" y="269"/>
                    </a:cubicBezTo>
                    <a:cubicBezTo>
                      <a:pt x="246" y="269"/>
                      <a:pt x="252" y="269"/>
                      <a:pt x="270" y="283"/>
                    </a:cubicBezTo>
                    <a:cubicBezTo>
                      <a:pt x="274" y="286"/>
                      <a:pt x="279" y="289"/>
                      <a:pt x="284" y="290"/>
                    </a:cubicBezTo>
                    <a:moveTo>
                      <a:pt x="293" y="108"/>
                    </a:moveTo>
                    <a:cubicBezTo>
                      <a:pt x="288" y="103"/>
                      <a:pt x="297" y="105"/>
                      <a:pt x="299" y="101"/>
                    </a:cubicBezTo>
                    <a:cubicBezTo>
                      <a:pt x="300" y="101"/>
                      <a:pt x="300" y="100"/>
                      <a:pt x="299" y="99"/>
                    </a:cubicBezTo>
                    <a:cubicBezTo>
                      <a:pt x="292" y="92"/>
                      <a:pt x="297" y="89"/>
                      <a:pt x="297" y="82"/>
                    </a:cubicBezTo>
                    <a:cubicBezTo>
                      <a:pt x="298" y="81"/>
                      <a:pt x="300" y="82"/>
                      <a:pt x="302" y="83"/>
                    </a:cubicBezTo>
                    <a:cubicBezTo>
                      <a:pt x="307" y="84"/>
                      <a:pt x="311" y="86"/>
                      <a:pt x="310" y="79"/>
                    </a:cubicBezTo>
                    <a:cubicBezTo>
                      <a:pt x="303" y="79"/>
                      <a:pt x="293" y="76"/>
                      <a:pt x="287" y="72"/>
                    </a:cubicBezTo>
                    <a:cubicBezTo>
                      <a:pt x="284" y="70"/>
                      <a:pt x="289" y="69"/>
                      <a:pt x="289" y="68"/>
                    </a:cubicBezTo>
                    <a:cubicBezTo>
                      <a:pt x="289" y="66"/>
                      <a:pt x="283" y="65"/>
                      <a:pt x="287" y="62"/>
                    </a:cubicBezTo>
                    <a:cubicBezTo>
                      <a:pt x="287" y="62"/>
                      <a:pt x="288" y="62"/>
                      <a:pt x="288" y="62"/>
                    </a:cubicBezTo>
                    <a:cubicBezTo>
                      <a:pt x="290" y="63"/>
                      <a:pt x="291" y="63"/>
                      <a:pt x="292" y="61"/>
                    </a:cubicBezTo>
                    <a:cubicBezTo>
                      <a:pt x="292" y="58"/>
                      <a:pt x="289" y="58"/>
                      <a:pt x="286" y="59"/>
                    </a:cubicBezTo>
                    <a:cubicBezTo>
                      <a:pt x="283" y="59"/>
                      <a:pt x="280" y="59"/>
                      <a:pt x="280" y="57"/>
                    </a:cubicBezTo>
                    <a:cubicBezTo>
                      <a:pt x="282" y="44"/>
                      <a:pt x="284" y="47"/>
                      <a:pt x="274" y="33"/>
                    </a:cubicBezTo>
                    <a:cubicBezTo>
                      <a:pt x="274" y="32"/>
                      <a:pt x="274" y="32"/>
                      <a:pt x="274" y="32"/>
                    </a:cubicBezTo>
                    <a:cubicBezTo>
                      <a:pt x="272" y="33"/>
                      <a:pt x="270" y="33"/>
                      <a:pt x="267" y="33"/>
                    </a:cubicBezTo>
                    <a:cubicBezTo>
                      <a:pt x="263" y="33"/>
                      <a:pt x="263" y="41"/>
                      <a:pt x="262" y="43"/>
                    </a:cubicBezTo>
                    <a:cubicBezTo>
                      <a:pt x="254" y="49"/>
                      <a:pt x="230" y="49"/>
                      <a:pt x="222" y="46"/>
                    </a:cubicBezTo>
                    <a:cubicBezTo>
                      <a:pt x="218" y="44"/>
                      <a:pt x="214" y="40"/>
                      <a:pt x="210" y="39"/>
                    </a:cubicBezTo>
                    <a:cubicBezTo>
                      <a:pt x="209" y="38"/>
                      <a:pt x="208" y="38"/>
                      <a:pt x="205" y="39"/>
                    </a:cubicBezTo>
                    <a:cubicBezTo>
                      <a:pt x="202" y="39"/>
                      <a:pt x="197" y="39"/>
                      <a:pt x="196" y="37"/>
                    </a:cubicBezTo>
                    <a:cubicBezTo>
                      <a:pt x="184" y="22"/>
                      <a:pt x="171" y="15"/>
                      <a:pt x="155" y="3"/>
                    </a:cubicBezTo>
                    <a:cubicBezTo>
                      <a:pt x="151" y="2"/>
                      <a:pt x="142" y="0"/>
                      <a:pt x="140" y="1"/>
                    </a:cubicBezTo>
                    <a:cubicBezTo>
                      <a:pt x="133" y="2"/>
                      <a:pt x="142" y="10"/>
                      <a:pt x="138" y="12"/>
                    </a:cubicBezTo>
                    <a:cubicBezTo>
                      <a:pt x="137" y="13"/>
                      <a:pt x="135" y="12"/>
                      <a:pt x="134" y="12"/>
                    </a:cubicBezTo>
                    <a:cubicBezTo>
                      <a:pt x="132" y="12"/>
                      <a:pt x="131" y="12"/>
                      <a:pt x="129" y="13"/>
                    </a:cubicBezTo>
                    <a:cubicBezTo>
                      <a:pt x="128" y="13"/>
                      <a:pt x="130" y="15"/>
                      <a:pt x="129" y="17"/>
                    </a:cubicBezTo>
                    <a:cubicBezTo>
                      <a:pt x="123" y="21"/>
                      <a:pt x="114" y="22"/>
                      <a:pt x="108" y="27"/>
                    </a:cubicBezTo>
                    <a:cubicBezTo>
                      <a:pt x="102" y="33"/>
                      <a:pt x="121" y="49"/>
                      <a:pt x="112" y="55"/>
                    </a:cubicBezTo>
                    <a:cubicBezTo>
                      <a:pt x="103" y="62"/>
                      <a:pt x="101" y="60"/>
                      <a:pt x="100" y="58"/>
                    </a:cubicBezTo>
                    <a:cubicBezTo>
                      <a:pt x="99" y="56"/>
                      <a:pt x="99" y="54"/>
                      <a:pt x="92" y="64"/>
                    </a:cubicBezTo>
                    <a:cubicBezTo>
                      <a:pt x="90" y="66"/>
                      <a:pt x="97" y="67"/>
                      <a:pt x="98" y="70"/>
                    </a:cubicBezTo>
                    <a:cubicBezTo>
                      <a:pt x="99" y="72"/>
                      <a:pt x="93" y="71"/>
                      <a:pt x="93" y="74"/>
                    </a:cubicBezTo>
                    <a:cubicBezTo>
                      <a:pt x="93" y="75"/>
                      <a:pt x="98" y="82"/>
                      <a:pt x="96" y="85"/>
                    </a:cubicBezTo>
                    <a:cubicBezTo>
                      <a:pt x="90" y="91"/>
                      <a:pt x="81" y="82"/>
                      <a:pt x="75" y="82"/>
                    </a:cubicBezTo>
                    <a:cubicBezTo>
                      <a:pt x="67" y="82"/>
                      <a:pt x="83" y="90"/>
                      <a:pt x="69" y="86"/>
                    </a:cubicBezTo>
                    <a:cubicBezTo>
                      <a:pt x="65" y="84"/>
                      <a:pt x="60" y="78"/>
                      <a:pt x="58" y="75"/>
                    </a:cubicBezTo>
                    <a:cubicBezTo>
                      <a:pt x="57" y="74"/>
                      <a:pt x="56" y="70"/>
                      <a:pt x="55" y="71"/>
                    </a:cubicBezTo>
                    <a:cubicBezTo>
                      <a:pt x="53" y="75"/>
                      <a:pt x="54" y="79"/>
                      <a:pt x="51" y="82"/>
                    </a:cubicBezTo>
                    <a:cubicBezTo>
                      <a:pt x="47" y="87"/>
                      <a:pt x="41" y="86"/>
                      <a:pt x="36" y="85"/>
                    </a:cubicBezTo>
                    <a:cubicBezTo>
                      <a:pt x="32" y="84"/>
                      <a:pt x="29" y="83"/>
                      <a:pt x="25" y="84"/>
                    </a:cubicBezTo>
                    <a:cubicBezTo>
                      <a:pt x="24" y="85"/>
                      <a:pt x="26" y="87"/>
                      <a:pt x="25" y="88"/>
                    </a:cubicBezTo>
                    <a:cubicBezTo>
                      <a:pt x="20" y="91"/>
                      <a:pt x="10" y="91"/>
                      <a:pt x="5" y="88"/>
                    </a:cubicBezTo>
                    <a:cubicBezTo>
                      <a:pt x="3" y="88"/>
                      <a:pt x="0" y="87"/>
                      <a:pt x="0" y="88"/>
                    </a:cubicBezTo>
                    <a:cubicBezTo>
                      <a:pt x="0" y="93"/>
                      <a:pt x="4" y="96"/>
                      <a:pt x="6" y="100"/>
                    </a:cubicBezTo>
                    <a:cubicBezTo>
                      <a:pt x="6" y="101"/>
                      <a:pt x="5" y="101"/>
                      <a:pt x="5" y="101"/>
                    </a:cubicBezTo>
                    <a:cubicBezTo>
                      <a:pt x="5" y="106"/>
                      <a:pt x="4" y="110"/>
                      <a:pt x="7" y="114"/>
                    </a:cubicBezTo>
                    <a:cubicBezTo>
                      <a:pt x="7" y="114"/>
                      <a:pt x="7" y="114"/>
                      <a:pt x="7" y="114"/>
                    </a:cubicBezTo>
                    <a:cubicBezTo>
                      <a:pt x="5" y="118"/>
                      <a:pt x="14" y="122"/>
                      <a:pt x="17" y="126"/>
                    </a:cubicBezTo>
                    <a:cubicBezTo>
                      <a:pt x="19" y="129"/>
                      <a:pt x="21" y="144"/>
                      <a:pt x="24" y="140"/>
                    </a:cubicBezTo>
                    <a:cubicBezTo>
                      <a:pt x="26" y="137"/>
                      <a:pt x="28" y="133"/>
                      <a:pt x="30" y="129"/>
                    </a:cubicBezTo>
                    <a:cubicBezTo>
                      <a:pt x="31" y="127"/>
                      <a:pt x="32" y="125"/>
                      <a:pt x="32" y="123"/>
                    </a:cubicBezTo>
                    <a:cubicBezTo>
                      <a:pt x="32" y="123"/>
                      <a:pt x="30" y="123"/>
                      <a:pt x="30" y="122"/>
                    </a:cubicBezTo>
                    <a:cubicBezTo>
                      <a:pt x="30" y="122"/>
                      <a:pt x="30" y="119"/>
                      <a:pt x="30" y="120"/>
                    </a:cubicBezTo>
                    <a:cubicBezTo>
                      <a:pt x="33" y="121"/>
                      <a:pt x="31" y="134"/>
                      <a:pt x="37" y="123"/>
                    </a:cubicBezTo>
                    <a:cubicBezTo>
                      <a:pt x="38" y="121"/>
                      <a:pt x="38" y="118"/>
                      <a:pt x="38" y="114"/>
                    </a:cubicBezTo>
                    <a:cubicBezTo>
                      <a:pt x="38" y="114"/>
                      <a:pt x="37" y="113"/>
                      <a:pt x="37" y="112"/>
                    </a:cubicBezTo>
                    <a:cubicBezTo>
                      <a:pt x="37" y="112"/>
                      <a:pt x="37" y="112"/>
                      <a:pt x="38" y="113"/>
                    </a:cubicBezTo>
                    <a:cubicBezTo>
                      <a:pt x="38" y="113"/>
                      <a:pt x="38" y="114"/>
                      <a:pt x="38" y="113"/>
                    </a:cubicBezTo>
                    <a:cubicBezTo>
                      <a:pt x="43" y="111"/>
                      <a:pt x="39" y="96"/>
                      <a:pt x="44" y="96"/>
                    </a:cubicBezTo>
                    <a:cubicBezTo>
                      <a:pt x="60" y="95"/>
                      <a:pt x="55" y="101"/>
                      <a:pt x="65" y="109"/>
                    </a:cubicBezTo>
                    <a:cubicBezTo>
                      <a:pt x="67" y="111"/>
                      <a:pt x="71" y="109"/>
                      <a:pt x="72" y="111"/>
                    </a:cubicBezTo>
                    <a:cubicBezTo>
                      <a:pt x="82" y="123"/>
                      <a:pt x="71" y="138"/>
                      <a:pt x="82" y="150"/>
                    </a:cubicBezTo>
                    <a:cubicBezTo>
                      <a:pt x="85" y="154"/>
                      <a:pt x="95" y="162"/>
                      <a:pt x="99" y="165"/>
                    </a:cubicBezTo>
                    <a:cubicBezTo>
                      <a:pt x="103" y="168"/>
                      <a:pt x="118" y="170"/>
                      <a:pt x="113" y="172"/>
                    </a:cubicBezTo>
                    <a:cubicBezTo>
                      <a:pt x="110" y="172"/>
                      <a:pt x="107" y="171"/>
                      <a:pt x="104" y="170"/>
                    </a:cubicBezTo>
                    <a:cubicBezTo>
                      <a:pt x="97" y="167"/>
                      <a:pt x="91" y="164"/>
                      <a:pt x="93" y="179"/>
                    </a:cubicBezTo>
                    <a:cubicBezTo>
                      <a:pt x="93" y="186"/>
                      <a:pt x="119" y="200"/>
                      <a:pt x="123" y="205"/>
                    </a:cubicBezTo>
                    <a:cubicBezTo>
                      <a:pt x="124" y="206"/>
                      <a:pt x="123" y="205"/>
                      <a:pt x="121" y="205"/>
                    </a:cubicBezTo>
                    <a:cubicBezTo>
                      <a:pt x="120" y="205"/>
                      <a:pt x="119" y="204"/>
                      <a:pt x="120" y="204"/>
                    </a:cubicBezTo>
                    <a:cubicBezTo>
                      <a:pt x="123" y="207"/>
                      <a:pt x="138" y="211"/>
                      <a:pt x="138" y="213"/>
                    </a:cubicBezTo>
                    <a:cubicBezTo>
                      <a:pt x="140" y="217"/>
                      <a:pt x="136" y="223"/>
                      <a:pt x="139" y="226"/>
                    </a:cubicBezTo>
                    <a:cubicBezTo>
                      <a:pt x="141" y="228"/>
                      <a:pt x="158" y="221"/>
                      <a:pt x="159" y="221"/>
                    </a:cubicBezTo>
                    <a:cubicBezTo>
                      <a:pt x="170" y="219"/>
                      <a:pt x="162" y="223"/>
                      <a:pt x="176" y="228"/>
                    </a:cubicBezTo>
                    <a:cubicBezTo>
                      <a:pt x="178" y="229"/>
                      <a:pt x="181" y="229"/>
                      <a:pt x="183" y="229"/>
                    </a:cubicBezTo>
                    <a:cubicBezTo>
                      <a:pt x="185" y="228"/>
                      <a:pt x="188" y="228"/>
                      <a:pt x="191" y="229"/>
                    </a:cubicBezTo>
                    <a:cubicBezTo>
                      <a:pt x="197" y="232"/>
                      <a:pt x="201" y="242"/>
                      <a:pt x="207" y="245"/>
                    </a:cubicBezTo>
                    <a:cubicBezTo>
                      <a:pt x="215" y="248"/>
                      <a:pt x="220" y="251"/>
                      <a:pt x="223" y="253"/>
                    </a:cubicBezTo>
                    <a:cubicBezTo>
                      <a:pt x="223" y="254"/>
                      <a:pt x="223" y="253"/>
                      <a:pt x="223" y="253"/>
                    </a:cubicBezTo>
                    <a:cubicBezTo>
                      <a:pt x="224" y="253"/>
                      <a:pt x="226" y="252"/>
                      <a:pt x="226" y="253"/>
                    </a:cubicBezTo>
                    <a:cubicBezTo>
                      <a:pt x="228" y="257"/>
                      <a:pt x="225" y="257"/>
                      <a:pt x="230" y="259"/>
                    </a:cubicBezTo>
                    <a:cubicBezTo>
                      <a:pt x="232" y="258"/>
                      <a:pt x="236" y="258"/>
                      <a:pt x="236" y="255"/>
                    </a:cubicBezTo>
                    <a:cubicBezTo>
                      <a:pt x="239" y="248"/>
                      <a:pt x="215" y="238"/>
                      <a:pt x="213" y="234"/>
                    </a:cubicBezTo>
                    <a:cubicBezTo>
                      <a:pt x="210" y="231"/>
                      <a:pt x="212" y="226"/>
                      <a:pt x="210" y="222"/>
                    </a:cubicBezTo>
                    <a:cubicBezTo>
                      <a:pt x="208" y="220"/>
                      <a:pt x="204" y="221"/>
                      <a:pt x="201" y="220"/>
                    </a:cubicBezTo>
                    <a:cubicBezTo>
                      <a:pt x="189" y="212"/>
                      <a:pt x="182" y="199"/>
                      <a:pt x="172" y="190"/>
                    </a:cubicBezTo>
                    <a:cubicBezTo>
                      <a:pt x="168" y="188"/>
                      <a:pt x="155" y="175"/>
                      <a:pt x="151" y="173"/>
                    </a:cubicBezTo>
                    <a:cubicBezTo>
                      <a:pt x="151" y="173"/>
                      <a:pt x="150" y="173"/>
                      <a:pt x="149" y="174"/>
                    </a:cubicBezTo>
                    <a:cubicBezTo>
                      <a:pt x="148" y="174"/>
                      <a:pt x="147" y="174"/>
                      <a:pt x="146" y="174"/>
                    </a:cubicBezTo>
                    <a:cubicBezTo>
                      <a:pt x="143" y="171"/>
                      <a:pt x="150" y="165"/>
                      <a:pt x="150" y="164"/>
                    </a:cubicBezTo>
                    <a:cubicBezTo>
                      <a:pt x="149" y="161"/>
                      <a:pt x="146" y="161"/>
                      <a:pt x="145" y="159"/>
                    </a:cubicBezTo>
                    <a:cubicBezTo>
                      <a:pt x="140" y="152"/>
                      <a:pt x="138" y="143"/>
                      <a:pt x="132" y="138"/>
                    </a:cubicBezTo>
                    <a:cubicBezTo>
                      <a:pt x="130" y="135"/>
                      <a:pt x="125" y="135"/>
                      <a:pt x="123" y="133"/>
                    </a:cubicBezTo>
                    <a:cubicBezTo>
                      <a:pt x="120" y="131"/>
                      <a:pt x="116" y="98"/>
                      <a:pt x="129" y="99"/>
                    </a:cubicBezTo>
                    <a:cubicBezTo>
                      <a:pt x="134" y="99"/>
                      <a:pt x="144" y="111"/>
                      <a:pt x="149" y="114"/>
                    </a:cubicBezTo>
                    <a:cubicBezTo>
                      <a:pt x="154" y="113"/>
                      <a:pt x="154" y="113"/>
                      <a:pt x="154" y="113"/>
                    </a:cubicBezTo>
                    <a:cubicBezTo>
                      <a:pt x="149" y="114"/>
                      <a:pt x="149" y="114"/>
                      <a:pt x="149" y="114"/>
                    </a:cubicBezTo>
                    <a:cubicBezTo>
                      <a:pt x="156" y="113"/>
                      <a:pt x="155" y="103"/>
                      <a:pt x="158" y="98"/>
                    </a:cubicBezTo>
                    <a:cubicBezTo>
                      <a:pt x="162" y="94"/>
                      <a:pt x="165" y="95"/>
                      <a:pt x="168" y="97"/>
                    </a:cubicBezTo>
                    <a:cubicBezTo>
                      <a:pt x="170" y="98"/>
                      <a:pt x="172" y="99"/>
                      <a:pt x="175" y="98"/>
                    </a:cubicBezTo>
                    <a:cubicBezTo>
                      <a:pt x="177" y="97"/>
                      <a:pt x="177" y="93"/>
                      <a:pt x="180" y="91"/>
                    </a:cubicBezTo>
                    <a:cubicBezTo>
                      <a:pt x="180" y="91"/>
                      <a:pt x="183" y="95"/>
                      <a:pt x="193" y="97"/>
                    </a:cubicBezTo>
                    <a:cubicBezTo>
                      <a:pt x="194" y="98"/>
                      <a:pt x="196" y="99"/>
                      <a:pt x="197" y="98"/>
                    </a:cubicBezTo>
                    <a:cubicBezTo>
                      <a:pt x="198" y="98"/>
                      <a:pt x="199" y="96"/>
                      <a:pt x="201" y="95"/>
                    </a:cubicBezTo>
                    <a:cubicBezTo>
                      <a:pt x="204" y="95"/>
                      <a:pt x="209" y="97"/>
                      <a:pt x="215" y="99"/>
                    </a:cubicBezTo>
                    <a:cubicBezTo>
                      <a:pt x="220" y="101"/>
                      <a:pt x="226" y="103"/>
                      <a:pt x="230" y="102"/>
                    </a:cubicBezTo>
                    <a:cubicBezTo>
                      <a:pt x="232" y="102"/>
                      <a:pt x="234" y="101"/>
                      <a:pt x="234" y="99"/>
                    </a:cubicBezTo>
                    <a:cubicBezTo>
                      <a:pt x="236" y="98"/>
                      <a:pt x="235" y="94"/>
                      <a:pt x="237" y="94"/>
                    </a:cubicBezTo>
                    <a:cubicBezTo>
                      <a:pt x="241" y="93"/>
                      <a:pt x="243" y="97"/>
                      <a:pt x="247" y="98"/>
                    </a:cubicBezTo>
                    <a:cubicBezTo>
                      <a:pt x="253" y="100"/>
                      <a:pt x="245" y="95"/>
                      <a:pt x="249" y="94"/>
                    </a:cubicBezTo>
                    <a:cubicBezTo>
                      <a:pt x="252" y="93"/>
                      <a:pt x="256" y="93"/>
                      <a:pt x="260" y="94"/>
                    </a:cubicBezTo>
                    <a:cubicBezTo>
                      <a:pt x="262" y="95"/>
                      <a:pt x="263" y="98"/>
                      <a:pt x="266" y="98"/>
                    </a:cubicBezTo>
                    <a:cubicBezTo>
                      <a:pt x="267" y="98"/>
                      <a:pt x="266" y="94"/>
                      <a:pt x="267" y="94"/>
                    </a:cubicBezTo>
                    <a:cubicBezTo>
                      <a:pt x="280" y="95"/>
                      <a:pt x="277" y="109"/>
                      <a:pt x="283" y="110"/>
                    </a:cubicBezTo>
                    <a:cubicBezTo>
                      <a:pt x="287" y="110"/>
                      <a:pt x="291" y="109"/>
                      <a:pt x="293" y="108"/>
                    </a:cubicBezTo>
                  </a:path>
                </a:pathLst>
              </a:custGeom>
              <a:grpFill/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5" name="Denmark" descr="{&quot;Key&quot;:&quot;denmark&quot;,&quot;Name&quot;:&quot;Denmark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8CDE5F48-B33B-F73E-EEC0-E92B33E90F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59773" y="6200922"/>
                <a:ext cx="1184780" cy="1162799"/>
              </a:xfrm>
              <a:custGeom>
                <a:avLst/>
                <a:gdLst>
                  <a:gd name="T0" fmla="*/ 536 w 709"/>
                  <a:gd name="T1" fmla="*/ 626 h 646"/>
                  <a:gd name="T2" fmla="*/ 538 w 709"/>
                  <a:gd name="T3" fmla="*/ 598 h 646"/>
                  <a:gd name="T4" fmla="*/ 518 w 709"/>
                  <a:gd name="T5" fmla="*/ 557 h 646"/>
                  <a:gd name="T6" fmla="*/ 522 w 709"/>
                  <a:gd name="T7" fmla="*/ 538 h 646"/>
                  <a:gd name="T8" fmla="*/ 518 w 709"/>
                  <a:gd name="T9" fmla="*/ 528 h 646"/>
                  <a:gd name="T10" fmla="*/ 523 w 709"/>
                  <a:gd name="T11" fmla="*/ 493 h 646"/>
                  <a:gd name="T12" fmla="*/ 557 w 709"/>
                  <a:gd name="T13" fmla="*/ 504 h 646"/>
                  <a:gd name="T14" fmla="*/ 566 w 709"/>
                  <a:gd name="T15" fmla="*/ 494 h 646"/>
                  <a:gd name="T16" fmla="*/ 567 w 709"/>
                  <a:gd name="T17" fmla="*/ 472 h 646"/>
                  <a:gd name="T18" fmla="*/ 583 w 709"/>
                  <a:gd name="T19" fmla="*/ 468 h 646"/>
                  <a:gd name="T20" fmla="*/ 605 w 709"/>
                  <a:gd name="T21" fmla="*/ 484 h 646"/>
                  <a:gd name="T22" fmla="*/ 609 w 709"/>
                  <a:gd name="T23" fmla="*/ 499 h 646"/>
                  <a:gd name="T24" fmla="*/ 634 w 709"/>
                  <a:gd name="T25" fmla="*/ 513 h 646"/>
                  <a:gd name="T26" fmla="*/ 602 w 709"/>
                  <a:gd name="T27" fmla="*/ 557 h 646"/>
                  <a:gd name="T28" fmla="*/ 589 w 709"/>
                  <a:gd name="T29" fmla="*/ 574 h 646"/>
                  <a:gd name="T30" fmla="*/ 595 w 709"/>
                  <a:gd name="T31" fmla="*/ 579 h 646"/>
                  <a:gd name="T32" fmla="*/ 625 w 709"/>
                  <a:gd name="T33" fmla="*/ 573 h 646"/>
                  <a:gd name="T34" fmla="*/ 607 w 709"/>
                  <a:gd name="T35" fmla="*/ 609 h 646"/>
                  <a:gd name="T36" fmla="*/ 598 w 709"/>
                  <a:gd name="T37" fmla="*/ 608 h 646"/>
                  <a:gd name="T38" fmla="*/ 585 w 709"/>
                  <a:gd name="T39" fmla="*/ 579 h 646"/>
                  <a:gd name="T40" fmla="*/ 578 w 709"/>
                  <a:gd name="T41" fmla="*/ 589 h 646"/>
                  <a:gd name="T42" fmla="*/ 571 w 709"/>
                  <a:gd name="T43" fmla="*/ 617 h 646"/>
                  <a:gd name="T44" fmla="*/ 579 w 709"/>
                  <a:gd name="T45" fmla="*/ 624 h 646"/>
                  <a:gd name="T46" fmla="*/ 7 w 709"/>
                  <a:gd name="T47" fmla="*/ 73 h 646"/>
                  <a:gd name="T48" fmla="*/ 21 w 709"/>
                  <a:gd name="T49" fmla="*/ 9 h 646"/>
                  <a:gd name="T50" fmla="*/ 19 w 709"/>
                  <a:gd name="T51" fmla="*/ 25 h 646"/>
                  <a:gd name="T52" fmla="*/ 678 w 709"/>
                  <a:gd name="T53" fmla="*/ 539 h 646"/>
                  <a:gd name="T54" fmla="*/ 703 w 709"/>
                  <a:gd name="T55" fmla="*/ 542 h 646"/>
                  <a:gd name="T56" fmla="*/ 691 w 709"/>
                  <a:gd name="T57" fmla="*/ 577 h 646"/>
                  <a:gd name="T58" fmla="*/ 683 w 709"/>
                  <a:gd name="T59" fmla="*/ 603 h 646"/>
                  <a:gd name="T60" fmla="*/ 675 w 709"/>
                  <a:gd name="T61" fmla="*/ 613 h 646"/>
                  <a:gd name="T62" fmla="*/ 659 w 709"/>
                  <a:gd name="T63" fmla="*/ 600 h 646"/>
                  <a:gd name="T64" fmla="*/ 644 w 709"/>
                  <a:gd name="T65" fmla="*/ 590 h 646"/>
                  <a:gd name="T66" fmla="*/ 634 w 709"/>
                  <a:gd name="T67" fmla="*/ 562 h 646"/>
                  <a:gd name="T68" fmla="*/ 656 w 709"/>
                  <a:gd name="T69" fmla="*/ 544 h 646"/>
                  <a:gd name="T70" fmla="*/ 678 w 709"/>
                  <a:gd name="T71" fmla="*/ 567 h 646"/>
                  <a:gd name="T72" fmla="*/ 678 w 709"/>
                  <a:gd name="T73" fmla="*/ 539 h 646"/>
                  <a:gd name="T74" fmla="*/ 686 w 709"/>
                  <a:gd name="T75" fmla="*/ 630 h 646"/>
                  <a:gd name="T76" fmla="*/ 678 w 709"/>
                  <a:gd name="T77" fmla="*/ 641 h 646"/>
                  <a:gd name="T78" fmla="*/ 678 w 709"/>
                  <a:gd name="T79" fmla="*/ 641 h 646"/>
                  <a:gd name="T80" fmla="*/ 649 w 709"/>
                  <a:gd name="T81" fmla="*/ 637 h 646"/>
                  <a:gd name="T82" fmla="*/ 677 w 709"/>
                  <a:gd name="T83" fmla="*/ 634 h 646"/>
                  <a:gd name="T84" fmla="*/ 676 w 709"/>
                  <a:gd name="T85" fmla="*/ 619 h 646"/>
                  <a:gd name="T86" fmla="*/ 518 w 709"/>
                  <a:gd name="T87" fmla="*/ 547 h 646"/>
                  <a:gd name="T88" fmla="*/ 617 w 709"/>
                  <a:gd name="T89" fmla="*/ 439 h 646"/>
                  <a:gd name="T90" fmla="*/ 575 w 709"/>
                  <a:gd name="T91" fmla="*/ 467 h 646"/>
                  <a:gd name="T92" fmla="*/ 546 w 709"/>
                  <a:gd name="T93" fmla="*/ 470 h 646"/>
                  <a:gd name="T94" fmla="*/ 536 w 709"/>
                  <a:gd name="T95" fmla="*/ 503 h 646"/>
                  <a:gd name="T96" fmla="*/ 593 w 709"/>
                  <a:gd name="T97" fmla="*/ 428 h 646"/>
                  <a:gd name="T98" fmla="*/ 611 w 709"/>
                  <a:gd name="T99" fmla="*/ 427 h 646"/>
                  <a:gd name="T100" fmla="*/ 664 w 709"/>
                  <a:gd name="T101" fmla="*/ 632 h 646"/>
                  <a:gd name="T102" fmla="*/ 669 w 709"/>
                  <a:gd name="T103" fmla="*/ 631 h 6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709" h="646">
                    <a:moveTo>
                      <a:pt x="571" y="633"/>
                    </a:moveTo>
                    <a:cubicBezTo>
                      <a:pt x="563" y="632"/>
                      <a:pt x="556" y="628"/>
                      <a:pt x="549" y="626"/>
                    </a:cubicBezTo>
                    <a:cubicBezTo>
                      <a:pt x="547" y="626"/>
                      <a:pt x="540" y="627"/>
                      <a:pt x="536" y="626"/>
                    </a:cubicBezTo>
                    <a:cubicBezTo>
                      <a:pt x="536" y="624"/>
                      <a:pt x="536" y="621"/>
                      <a:pt x="537" y="617"/>
                    </a:cubicBezTo>
                    <a:cubicBezTo>
                      <a:pt x="537" y="615"/>
                      <a:pt x="541" y="611"/>
                      <a:pt x="539" y="609"/>
                    </a:cubicBezTo>
                    <a:cubicBezTo>
                      <a:pt x="541" y="606"/>
                      <a:pt x="538" y="602"/>
                      <a:pt x="538" y="598"/>
                    </a:cubicBezTo>
                    <a:cubicBezTo>
                      <a:pt x="537" y="594"/>
                      <a:pt x="539" y="589"/>
                      <a:pt x="537" y="587"/>
                    </a:cubicBezTo>
                    <a:cubicBezTo>
                      <a:pt x="532" y="582"/>
                      <a:pt x="517" y="587"/>
                      <a:pt x="514" y="577"/>
                    </a:cubicBezTo>
                    <a:cubicBezTo>
                      <a:pt x="512" y="571"/>
                      <a:pt x="518" y="564"/>
                      <a:pt x="518" y="557"/>
                    </a:cubicBezTo>
                    <a:cubicBezTo>
                      <a:pt x="519" y="557"/>
                      <a:pt x="519" y="557"/>
                      <a:pt x="519" y="558"/>
                    </a:cubicBezTo>
                    <a:cubicBezTo>
                      <a:pt x="537" y="566"/>
                      <a:pt x="525" y="544"/>
                      <a:pt x="524" y="542"/>
                    </a:cubicBezTo>
                    <a:cubicBezTo>
                      <a:pt x="524" y="540"/>
                      <a:pt x="523" y="537"/>
                      <a:pt x="522" y="538"/>
                    </a:cubicBezTo>
                    <a:cubicBezTo>
                      <a:pt x="519" y="539"/>
                      <a:pt x="519" y="544"/>
                      <a:pt x="516" y="545"/>
                    </a:cubicBezTo>
                    <a:cubicBezTo>
                      <a:pt x="515" y="546"/>
                      <a:pt x="516" y="541"/>
                      <a:pt x="516" y="539"/>
                    </a:cubicBezTo>
                    <a:cubicBezTo>
                      <a:pt x="516" y="535"/>
                      <a:pt x="518" y="531"/>
                      <a:pt x="518" y="528"/>
                    </a:cubicBezTo>
                    <a:cubicBezTo>
                      <a:pt x="518" y="525"/>
                      <a:pt x="515" y="520"/>
                      <a:pt x="518" y="518"/>
                    </a:cubicBezTo>
                    <a:cubicBezTo>
                      <a:pt x="518" y="517"/>
                      <a:pt x="519" y="517"/>
                      <a:pt x="520" y="517"/>
                    </a:cubicBezTo>
                    <a:cubicBezTo>
                      <a:pt x="519" y="516"/>
                      <a:pt x="517" y="491"/>
                      <a:pt x="523" y="493"/>
                    </a:cubicBezTo>
                    <a:cubicBezTo>
                      <a:pt x="526" y="495"/>
                      <a:pt x="524" y="500"/>
                      <a:pt x="525" y="503"/>
                    </a:cubicBezTo>
                    <a:cubicBezTo>
                      <a:pt x="531" y="515"/>
                      <a:pt x="555" y="486"/>
                      <a:pt x="556" y="486"/>
                    </a:cubicBezTo>
                    <a:cubicBezTo>
                      <a:pt x="568" y="482"/>
                      <a:pt x="554" y="501"/>
                      <a:pt x="557" y="504"/>
                    </a:cubicBezTo>
                    <a:cubicBezTo>
                      <a:pt x="559" y="506"/>
                      <a:pt x="563" y="504"/>
                      <a:pt x="567" y="503"/>
                    </a:cubicBezTo>
                    <a:cubicBezTo>
                      <a:pt x="566" y="503"/>
                      <a:pt x="566" y="503"/>
                      <a:pt x="566" y="503"/>
                    </a:cubicBezTo>
                    <a:cubicBezTo>
                      <a:pt x="565" y="500"/>
                      <a:pt x="568" y="496"/>
                      <a:pt x="566" y="494"/>
                    </a:cubicBezTo>
                    <a:cubicBezTo>
                      <a:pt x="565" y="492"/>
                      <a:pt x="562" y="497"/>
                      <a:pt x="561" y="495"/>
                    </a:cubicBezTo>
                    <a:cubicBezTo>
                      <a:pt x="560" y="493"/>
                      <a:pt x="565" y="491"/>
                      <a:pt x="565" y="489"/>
                    </a:cubicBezTo>
                    <a:cubicBezTo>
                      <a:pt x="565" y="476"/>
                      <a:pt x="557" y="480"/>
                      <a:pt x="567" y="472"/>
                    </a:cubicBezTo>
                    <a:cubicBezTo>
                      <a:pt x="570" y="470"/>
                      <a:pt x="576" y="470"/>
                      <a:pt x="578" y="472"/>
                    </a:cubicBezTo>
                    <a:cubicBezTo>
                      <a:pt x="579" y="473"/>
                      <a:pt x="576" y="478"/>
                      <a:pt x="578" y="477"/>
                    </a:cubicBezTo>
                    <a:cubicBezTo>
                      <a:pt x="580" y="475"/>
                      <a:pt x="580" y="470"/>
                      <a:pt x="583" y="468"/>
                    </a:cubicBezTo>
                    <a:cubicBezTo>
                      <a:pt x="585" y="467"/>
                      <a:pt x="588" y="468"/>
                      <a:pt x="590" y="468"/>
                    </a:cubicBezTo>
                    <a:cubicBezTo>
                      <a:pt x="593" y="470"/>
                      <a:pt x="606" y="473"/>
                      <a:pt x="606" y="473"/>
                    </a:cubicBezTo>
                    <a:cubicBezTo>
                      <a:pt x="608" y="476"/>
                      <a:pt x="605" y="480"/>
                      <a:pt x="605" y="484"/>
                    </a:cubicBezTo>
                    <a:cubicBezTo>
                      <a:pt x="605" y="487"/>
                      <a:pt x="610" y="490"/>
                      <a:pt x="609" y="493"/>
                    </a:cubicBezTo>
                    <a:cubicBezTo>
                      <a:pt x="608" y="495"/>
                      <a:pt x="604" y="492"/>
                      <a:pt x="601" y="493"/>
                    </a:cubicBezTo>
                    <a:cubicBezTo>
                      <a:pt x="598" y="493"/>
                      <a:pt x="610" y="496"/>
                      <a:pt x="609" y="499"/>
                    </a:cubicBezTo>
                    <a:cubicBezTo>
                      <a:pt x="609" y="500"/>
                      <a:pt x="609" y="501"/>
                      <a:pt x="609" y="501"/>
                    </a:cubicBezTo>
                    <a:cubicBezTo>
                      <a:pt x="611" y="502"/>
                      <a:pt x="611" y="507"/>
                      <a:pt x="614" y="508"/>
                    </a:cubicBezTo>
                    <a:cubicBezTo>
                      <a:pt x="621" y="509"/>
                      <a:pt x="631" y="500"/>
                      <a:pt x="634" y="513"/>
                    </a:cubicBezTo>
                    <a:cubicBezTo>
                      <a:pt x="635" y="517"/>
                      <a:pt x="622" y="540"/>
                      <a:pt x="617" y="538"/>
                    </a:cubicBezTo>
                    <a:cubicBezTo>
                      <a:pt x="613" y="535"/>
                      <a:pt x="613" y="528"/>
                      <a:pt x="609" y="526"/>
                    </a:cubicBezTo>
                    <a:cubicBezTo>
                      <a:pt x="604" y="525"/>
                      <a:pt x="604" y="554"/>
                      <a:pt x="602" y="557"/>
                    </a:cubicBezTo>
                    <a:cubicBezTo>
                      <a:pt x="600" y="565"/>
                      <a:pt x="595" y="570"/>
                      <a:pt x="587" y="570"/>
                    </a:cubicBezTo>
                    <a:cubicBezTo>
                      <a:pt x="583" y="570"/>
                      <a:pt x="575" y="564"/>
                      <a:pt x="576" y="568"/>
                    </a:cubicBezTo>
                    <a:cubicBezTo>
                      <a:pt x="578" y="572"/>
                      <a:pt x="587" y="569"/>
                      <a:pt x="589" y="574"/>
                    </a:cubicBezTo>
                    <a:cubicBezTo>
                      <a:pt x="589" y="574"/>
                      <a:pt x="589" y="575"/>
                      <a:pt x="589" y="576"/>
                    </a:cubicBezTo>
                    <a:cubicBezTo>
                      <a:pt x="589" y="576"/>
                      <a:pt x="590" y="576"/>
                      <a:pt x="590" y="576"/>
                    </a:cubicBezTo>
                    <a:cubicBezTo>
                      <a:pt x="592" y="576"/>
                      <a:pt x="593" y="579"/>
                      <a:pt x="595" y="579"/>
                    </a:cubicBezTo>
                    <a:cubicBezTo>
                      <a:pt x="601" y="578"/>
                      <a:pt x="605" y="568"/>
                      <a:pt x="611" y="570"/>
                    </a:cubicBezTo>
                    <a:cubicBezTo>
                      <a:pt x="615" y="572"/>
                      <a:pt x="617" y="577"/>
                      <a:pt x="621" y="578"/>
                    </a:cubicBezTo>
                    <a:cubicBezTo>
                      <a:pt x="623" y="578"/>
                      <a:pt x="623" y="574"/>
                      <a:pt x="625" y="573"/>
                    </a:cubicBezTo>
                    <a:cubicBezTo>
                      <a:pt x="635" y="594"/>
                      <a:pt x="623" y="576"/>
                      <a:pt x="627" y="584"/>
                    </a:cubicBezTo>
                    <a:cubicBezTo>
                      <a:pt x="630" y="590"/>
                      <a:pt x="641" y="616"/>
                      <a:pt x="620" y="614"/>
                    </a:cubicBezTo>
                    <a:cubicBezTo>
                      <a:pt x="615" y="613"/>
                      <a:pt x="611" y="610"/>
                      <a:pt x="607" y="609"/>
                    </a:cubicBezTo>
                    <a:cubicBezTo>
                      <a:pt x="605" y="609"/>
                      <a:pt x="602" y="612"/>
                      <a:pt x="601" y="610"/>
                    </a:cubicBezTo>
                    <a:cubicBezTo>
                      <a:pt x="596" y="607"/>
                      <a:pt x="612" y="608"/>
                      <a:pt x="603" y="603"/>
                    </a:cubicBezTo>
                    <a:cubicBezTo>
                      <a:pt x="589" y="595"/>
                      <a:pt x="603" y="608"/>
                      <a:pt x="598" y="608"/>
                    </a:cubicBezTo>
                    <a:cubicBezTo>
                      <a:pt x="597" y="608"/>
                      <a:pt x="593" y="591"/>
                      <a:pt x="593" y="590"/>
                    </a:cubicBezTo>
                    <a:cubicBezTo>
                      <a:pt x="591" y="586"/>
                      <a:pt x="585" y="584"/>
                      <a:pt x="584" y="579"/>
                    </a:cubicBezTo>
                    <a:cubicBezTo>
                      <a:pt x="584" y="579"/>
                      <a:pt x="585" y="579"/>
                      <a:pt x="585" y="579"/>
                    </a:cubicBezTo>
                    <a:cubicBezTo>
                      <a:pt x="580" y="581"/>
                      <a:pt x="574" y="582"/>
                      <a:pt x="574" y="582"/>
                    </a:cubicBezTo>
                    <a:cubicBezTo>
                      <a:pt x="573" y="585"/>
                      <a:pt x="580" y="582"/>
                      <a:pt x="581" y="585"/>
                    </a:cubicBezTo>
                    <a:cubicBezTo>
                      <a:pt x="581" y="586"/>
                      <a:pt x="578" y="587"/>
                      <a:pt x="578" y="589"/>
                    </a:cubicBezTo>
                    <a:cubicBezTo>
                      <a:pt x="577" y="592"/>
                      <a:pt x="578" y="595"/>
                      <a:pt x="579" y="598"/>
                    </a:cubicBezTo>
                    <a:cubicBezTo>
                      <a:pt x="579" y="600"/>
                      <a:pt x="582" y="600"/>
                      <a:pt x="582" y="602"/>
                    </a:cubicBezTo>
                    <a:cubicBezTo>
                      <a:pt x="582" y="608"/>
                      <a:pt x="572" y="611"/>
                      <a:pt x="571" y="617"/>
                    </a:cubicBezTo>
                    <a:cubicBezTo>
                      <a:pt x="571" y="619"/>
                      <a:pt x="575" y="616"/>
                      <a:pt x="577" y="617"/>
                    </a:cubicBezTo>
                    <a:cubicBezTo>
                      <a:pt x="581" y="620"/>
                      <a:pt x="584" y="624"/>
                      <a:pt x="585" y="628"/>
                    </a:cubicBezTo>
                    <a:cubicBezTo>
                      <a:pt x="585" y="630"/>
                      <a:pt x="581" y="624"/>
                      <a:pt x="579" y="624"/>
                    </a:cubicBezTo>
                    <a:cubicBezTo>
                      <a:pt x="576" y="625"/>
                      <a:pt x="572" y="630"/>
                      <a:pt x="571" y="633"/>
                    </a:cubicBezTo>
                    <a:close/>
                    <a:moveTo>
                      <a:pt x="8" y="59"/>
                    </a:moveTo>
                    <a:cubicBezTo>
                      <a:pt x="8" y="64"/>
                      <a:pt x="7" y="73"/>
                      <a:pt x="7" y="73"/>
                    </a:cubicBezTo>
                    <a:cubicBezTo>
                      <a:pt x="7" y="73"/>
                      <a:pt x="8" y="64"/>
                      <a:pt x="8" y="59"/>
                    </a:cubicBezTo>
                    <a:close/>
                    <a:moveTo>
                      <a:pt x="17" y="3"/>
                    </a:moveTo>
                    <a:cubicBezTo>
                      <a:pt x="10" y="18"/>
                      <a:pt x="20" y="0"/>
                      <a:pt x="21" y="9"/>
                    </a:cubicBezTo>
                    <a:cubicBezTo>
                      <a:pt x="21" y="10"/>
                      <a:pt x="19" y="10"/>
                      <a:pt x="19" y="10"/>
                    </a:cubicBezTo>
                    <a:cubicBezTo>
                      <a:pt x="20" y="13"/>
                      <a:pt x="24" y="12"/>
                      <a:pt x="24" y="14"/>
                    </a:cubicBezTo>
                    <a:cubicBezTo>
                      <a:pt x="24" y="18"/>
                      <a:pt x="23" y="25"/>
                      <a:pt x="19" y="25"/>
                    </a:cubicBezTo>
                    <a:cubicBezTo>
                      <a:pt x="16" y="24"/>
                      <a:pt x="20" y="18"/>
                      <a:pt x="19" y="14"/>
                    </a:cubicBezTo>
                    <a:cubicBezTo>
                      <a:pt x="17" y="9"/>
                      <a:pt x="0" y="2"/>
                      <a:pt x="17" y="3"/>
                    </a:cubicBezTo>
                    <a:close/>
                    <a:moveTo>
                      <a:pt x="678" y="539"/>
                    </a:moveTo>
                    <a:cubicBezTo>
                      <a:pt x="678" y="539"/>
                      <a:pt x="678" y="539"/>
                      <a:pt x="678" y="539"/>
                    </a:cubicBezTo>
                    <a:cubicBezTo>
                      <a:pt x="684" y="535"/>
                      <a:pt x="694" y="537"/>
                      <a:pt x="700" y="538"/>
                    </a:cubicBezTo>
                    <a:cubicBezTo>
                      <a:pt x="701" y="539"/>
                      <a:pt x="703" y="540"/>
                      <a:pt x="703" y="542"/>
                    </a:cubicBezTo>
                    <a:cubicBezTo>
                      <a:pt x="703" y="545"/>
                      <a:pt x="699" y="547"/>
                      <a:pt x="699" y="551"/>
                    </a:cubicBezTo>
                    <a:cubicBezTo>
                      <a:pt x="700" y="562"/>
                      <a:pt x="709" y="561"/>
                      <a:pt x="701" y="570"/>
                    </a:cubicBezTo>
                    <a:cubicBezTo>
                      <a:pt x="698" y="573"/>
                      <a:pt x="694" y="574"/>
                      <a:pt x="691" y="577"/>
                    </a:cubicBezTo>
                    <a:cubicBezTo>
                      <a:pt x="686" y="582"/>
                      <a:pt x="692" y="584"/>
                      <a:pt x="697" y="587"/>
                    </a:cubicBezTo>
                    <a:cubicBezTo>
                      <a:pt x="700" y="595"/>
                      <a:pt x="700" y="595"/>
                      <a:pt x="700" y="595"/>
                    </a:cubicBezTo>
                    <a:cubicBezTo>
                      <a:pt x="696" y="599"/>
                      <a:pt x="683" y="598"/>
                      <a:pt x="683" y="603"/>
                    </a:cubicBezTo>
                    <a:cubicBezTo>
                      <a:pt x="684" y="609"/>
                      <a:pt x="697" y="617"/>
                      <a:pt x="683" y="618"/>
                    </a:cubicBezTo>
                    <a:cubicBezTo>
                      <a:pt x="678" y="618"/>
                      <a:pt x="674" y="615"/>
                      <a:pt x="670" y="612"/>
                    </a:cubicBezTo>
                    <a:cubicBezTo>
                      <a:pt x="672" y="613"/>
                      <a:pt x="675" y="615"/>
                      <a:pt x="675" y="613"/>
                    </a:cubicBezTo>
                    <a:cubicBezTo>
                      <a:pt x="677" y="609"/>
                      <a:pt x="673" y="604"/>
                      <a:pt x="670" y="601"/>
                    </a:cubicBezTo>
                    <a:cubicBezTo>
                      <a:pt x="669" y="600"/>
                      <a:pt x="669" y="603"/>
                      <a:pt x="667" y="603"/>
                    </a:cubicBezTo>
                    <a:cubicBezTo>
                      <a:pt x="664" y="603"/>
                      <a:pt x="662" y="600"/>
                      <a:pt x="659" y="600"/>
                    </a:cubicBezTo>
                    <a:cubicBezTo>
                      <a:pt x="656" y="599"/>
                      <a:pt x="653" y="602"/>
                      <a:pt x="651" y="601"/>
                    </a:cubicBezTo>
                    <a:cubicBezTo>
                      <a:pt x="650" y="601"/>
                      <a:pt x="650" y="599"/>
                      <a:pt x="650" y="599"/>
                    </a:cubicBezTo>
                    <a:cubicBezTo>
                      <a:pt x="653" y="590"/>
                      <a:pt x="643" y="592"/>
                      <a:pt x="644" y="590"/>
                    </a:cubicBezTo>
                    <a:cubicBezTo>
                      <a:pt x="644" y="588"/>
                      <a:pt x="648" y="589"/>
                      <a:pt x="649" y="586"/>
                    </a:cubicBezTo>
                    <a:cubicBezTo>
                      <a:pt x="651" y="570"/>
                      <a:pt x="646" y="574"/>
                      <a:pt x="637" y="566"/>
                    </a:cubicBezTo>
                    <a:cubicBezTo>
                      <a:pt x="636" y="565"/>
                      <a:pt x="632" y="562"/>
                      <a:pt x="634" y="562"/>
                    </a:cubicBezTo>
                    <a:cubicBezTo>
                      <a:pt x="639" y="559"/>
                      <a:pt x="666" y="565"/>
                      <a:pt x="661" y="548"/>
                    </a:cubicBezTo>
                    <a:cubicBezTo>
                      <a:pt x="660" y="544"/>
                      <a:pt x="654" y="545"/>
                      <a:pt x="651" y="543"/>
                    </a:cubicBezTo>
                    <a:cubicBezTo>
                      <a:pt x="649" y="542"/>
                      <a:pt x="654" y="544"/>
                      <a:pt x="656" y="544"/>
                    </a:cubicBezTo>
                    <a:cubicBezTo>
                      <a:pt x="659" y="545"/>
                      <a:pt x="662" y="546"/>
                      <a:pt x="665" y="546"/>
                    </a:cubicBezTo>
                    <a:cubicBezTo>
                      <a:pt x="673" y="546"/>
                      <a:pt x="687" y="542"/>
                      <a:pt x="684" y="560"/>
                    </a:cubicBezTo>
                    <a:cubicBezTo>
                      <a:pt x="683" y="562"/>
                      <a:pt x="676" y="565"/>
                      <a:pt x="678" y="567"/>
                    </a:cubicBezTo>
                    <a:cubicBezTo>
                      <a:pt x="688" y="576"/>
                      <a:pt x="685" y="555"/>
                      <a:pt x="683" y="547"/>
                    </a:cubicBezTo>
                    <a:cubicBezTo>
                      <a:pt x="683" y="544"/>
                      <a:pt x="674" y="547"/>
                      <a:pt x="675" y="544"/>
                    </a:cubicBezTo>
                    <a:cubicBezTo>
                      <a:pt x="675" y="542"/>
                      <a:pt x="677" y="540"/>
                      <a:pt x="678" y="539"/>
                    </a:cubicBezTo>
                    <a:close/>
                    <a:moveTo>
                      <a:pt x="689" y="629"/>
                    </a:moveTo>
                    <a:cubicBezTo>
                      <a:pt x="686" y="629"/>
                      <a:pt x="686" y="629"/>
                      <a:pt x="686" y="629"/>
                    </a:cubicBezTo>
                    <a:cubicBezTo>
                      <a:pt x="686" y="630"/>
                      <a:pt x="686" y="630"/>
                      <a:pt x="686" y="630"/>
                    </a:cubicBezTo>
                    <a:cubicBezTo>
                      <a:pt x="687" y="632"/>
                      <a:pt x="686" y="632"/>
                      <a:pt x="686" y="633"/>
                    </a:cubicBezTo>
                    <a:cubicBezTo>
                      <a:pt x="684" y="634"/>
                      <a:pt x="682" y="635"/>
                      <a:pt x="682" y="637"/>
                    </a:cubicBezTo>
                    <a:cubicBezTo>
                      <a:pt x="680" y="638"/>
                      <a:pt x="679" y="639"/>
                      <a:pt x="678" y="641"/>
                    </a:cubicBezTo>
                    <a:cubicBezTo>
                      <a:pt x="678" y="641"/>
                      <a:pt x="678" y="641"/>
                      <a:pt x="678" y="641"/>
                    </a:cubicBezTo>
                    <a:cubicBezTo>
                      <a:pt x="678" y="642"/>
                      <a:pt x="678" y="642"/>
                      <a:pt x="678" y="642"/>
                    </a:cubicBezTo>
                    <a:cubicBezTo>
                      <a:pt x="678" y="642"/>
                      <a:pt x="678" y="641"/>
                      <a:pt x="678" y="641"/>
                    </a:cubicBezTo>
                    <a:cubicBezTo>
                      <a:pt x="674" y="641"/>
                      <a:pt x="670" y="640"/>
                      <a:pt x="669" y="641"/>
                    </a:cubicBezTo>
                    <a:cubicBezTo>
                      <a:pt x="666" y="641"/>
                      <a:pt x="664" y="646"/>
                      <a:pt x="660" y="646"/>
                    </a:cubicBezTo>
                    <a:cubicBezTo>
                      <a:pt x="656" y="645"/>
                      <a:pt x="653" y="639"/>
                      <a:pt x="649" y="637"/>
                    </a:cubicBezTo>
                    <a:cubicBezTo>
                      <a:pt x="647" y="635"/>
                      <a:pt x="643" y="634"/>
                      <a:pt x="640" y="632"/>
                    </a:cubicBezTo>
                    <a:cubicBezTo>
                      <a:pt x="639" y="631"/>
                      <a:pt x="645" y="630"/>
                      <a:pt x="651" y="620"/>
                    </a:cubicBezTo>
                    <a:cubicBezTo>
                      <a:pt x="658" y="626"/>
                      <a:pt x="670" y="628"/>
                      <a:pt x="677" y="634"/>
                    </a:cubicBezTo>
                    <a:cubicBezTo>
                      <a:pt x="678" y="634"/>
                      <a:pt x="678" y="634"/>
                      <a:pt x="678" y="634"/>
                    </a:cubicBezTo>
                    <a:cubicBezTo>
                      <a:pt x="674" y="629"/>
                      <a:pt x="667" y="625"/>
                      <a:pt x="670" y="621"/>
                    </a:cubicBezTo>
                    <a:cubicBezTo>
                      <a:pt x="671" y="619"/>
                      <a:pt x="674" y="620"/>
                      <a:pt x="676" y="619"/>
                    </a:cubicBezTo>
                    <a:cubicBezTo>
                      <a:pt x="680" y="623"/>
                      <a:pt x="688" y="622"/>
                      <a:pt x="690" y="628"/>
                    </a:cubicBezTo>
                    <a:cubicBezTo>
                      <a:pt x="690" y="628"/>
                      <a:pt x="690" y="629"/>
                      <a:pt x="689" y="629"/>
                    </a:cubicBezTo>
                    <a:close/>
                    <a:moveTo>
                      <a:pt x="518" y="547"/>
                    </a:moveTo>
                    <a:cubicBezTo>
                      <a:pt x="518" y="548"/>
                      <a:pt x="518" y="549"/>
                      <a:pt x="518" y="551"/>
                    </a:cubicBezTo>
                    <a:cubicBezTo>
                      <a:pt x="518" y="548"/>
                      <a:pt x="518" y="544"/>
                      <a:pt x="518" y="547"/>
                    </a:cubicBezTo>
                    <a:close/>
                    <a:moveTo>
                      <a:pt x="617" y="439"/>
                    </a:moveTo>
                    <a:cubicBezTo>
                      <a:pt x="619" y="445"/>
                      <a:pt x="613" y="475"/>
                      <a:pt x="603" y="472"/>
                    </a:cubicBezTo>
                    <a:cubicBezTo>
                      <a:pt x="600" y="471"/>
                      <a:pt x="597" y="467"/>
                      <a:pt x="593" y="467"/>
                    </a:cubicBezTo>
                    <a:cubicBezTo>
                      <a:pt x="597" y="462"/>
                      <a:pt x="580" y="466"/>
                      <a:pt x="575" y="467"/>
                    </a:cubicBezTo>
                    <a:cubicBezTo>
                      <a:pt x="571" y="468"/>
                      <a:pt x="568" y="471"/>
                      <a:pt x="564" y="472"/>
                    </a:cubicBezTo>
                    <a:cubicBezTo>
                      <a:pt x="562" y="472"/>
                      <a:pt x="561" y="469"/>
                      <a:pt x="559" y="469"/>
                    </a:cubicBezTo>
                    <a:cubicBezTo>
                      <a:pt x="555" y="469"/>
                      <a:pt x="550" y="469"/>
                      <a:pt x="546" y="470"/>
                    </a:cubicBezTo>
                    <a:cubicBezTo>
                      <a:pt x="545" y="471"/>
                      <a:pt x="546" y="474"/>
                      <a:pt x="544" y="475"/>
                    </a:cubicBezTo>
                    <a:cubicBezTo>
                      <a:pt x="536" y="479"/>
                      <a:pt x="545" y="456"/>
                      <a:pt x="533" y="486"/>
                    </a:cubicBezTo>
                    <a:cubicBezTo>
                      <a:pt x="533" y="487"/>
                      <a:pt x="536" y="503"/>
                      <a:pt x="536" y="503"/>
                    </a:cubicBezTo>
                    <a:cubicBezTo>
                      <a:pt x="517" y="502"/>
                      <a:pt x="527" y="467"/>
                      <a:pt x="538" y="463"/>
                    </a:cubicBezTo>
                    <a:cubicBezTo>
                      <a:pt x="548" y="458"/>
                      <a:pt x="561" y="463"/>
                      <a:pt x="571" y="460"/>
                    </a:cubicBezTo>
                    <a:cubicBezTo>
                      <a:pt x="584" y="453"/>
                      <a:pt x="581" y="435"/>
                      <a:pt x="593" y="428"/>
                    </a:cubicBezTo>
                    <a:cubicBezTo>
                      <a:pt x="597" y="427"/>
                      <a:pt x="602" y="428"/>
                      <a:pt x="606" y="426"/>
                    </a:cubicBezTo>
                    <a:cubicBezTo>
                      <a:pt x="610" y="424"/>
                      <a:pt x="612" y="416"/>
                      <a:pt x="617" y="416"/>
                    </a:cubicBezTo>
                    <a:cubicBezTo>
                      <a:pt x="625" y="416"/>
                      <a:pt x="612" y="422"/>
                      <a:pt x="611" y="427"/>
                    </a:cubicBezTo>
                    <a:cubicBezTo>
                      <a:pt x="610" y="435"/>
                      <a:pt x="614" y="430"/>
                      <a:pt x="617" y="439"/>
                    </a:cubicBezTo>
                    <a:close/>
                    <a:moveTo>
                      <a:pt x="669" y="631"/>
                    </a:moveTo>
                    <a:cubicBezTo>
                      <a:pt x="664" y="632"/>
                      <a:pt x="664" y="632"/>
                      <a:pt x="664" y="632"/>
                    </a:cubicBezTo>
                    <a:cubicBezTo>
                      <a:pt x="668" y="633"/>
                      <a:pt x="671" y="634"/>
                      <a:pt x="674" y="637"/>
                    </a:cubicBezTo>
                    <a:cubicBezTo>
                      <a:pt x="675" y="637"/>
                      <a:pt x="675" y="637"/>
                      <a:pt x="675" y="637"/>
                    </a:cubicBezTo>
                    <a:cubicBezTo>
                      <a:pt x="673" y="635"/>
                      <a:pt x="671" y="633"/>
                      <a:pt x="669" y="631"/>
                    </a:cubicBez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207" name="Russia">
                <a:extLst>
                  <a:ext uri="{FF2B5EF4-FFF2-40B4-BE49-F238E27FC236}">
                    <a16:creationId xmlns:a16="http://schemas.microsoft.com/office/drawing/2014/main" id="{EE201357-34EC-3D18-F10D-06C4DD9B9795}"/>
                  </a:ext>
                </a:extLst>
              </p:cNvPr>
              <p:cNvGrpSpPr/>
              <p:nvPr/>
            </p:nvGrpSpPr>
            <p:grpSpPr>
              <a:xfrm>
                <a:off x="7248084" y="4308585"/>
                <a:ext cx="3173727" cy="3956703"/>
                <a:chOff x="7248084" y="4308585"/>
                <a:chExt cx="3173722" cy="3956731"/>
              </a:xfrm>
              <a:grpFill/>
            </p:grpSpPr>
            <p:sp>
              <p:nvSpPr>
                <p:cNvPr id="211" name="Russia" descr="{&quot;Key&quot;:&quot;russia&quot;,&quot;Name&quot;:&quot;Russia&quot;,&quot;Value&quot;:1.0,&quot;Formula&quot;:&quot;&quot;,&quot;Text&quot;:&quot;&quot;,&quot;OfficeApplication&quot;:1,&quot;HasValue&quot;:true}">
                  <a:extLst>
                    <a:ext uri="{FF2B5EF4-FFF2-40B4-BE49-F238E27FC236}">
                      <a16:creationId xmlns:a16="http://schemas.microsoft.com/office/drawing/2014/main" id="{D8189CB4-FF8E-EE3D-ECA1-27AEE8EC814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369525" y="4308585"/>
                  <a:ext cx="3052281" cy="3956731"/>
                </a:xfrm>
                <a:custGeom>
                  <a:avLst/>
                  <a:gdLst>
                    <a:gd name="T0" fmla="*/ 1299 w 1825"/>
                    <a:gd name="T1" fmla="*/ 2163 h 2198"/>
                    <a:gd name="T2" fmla="*/ 1073 w 1825"/>
                    <a:gd name="T3" fmla="*/ 2192 h 2198"/>
                    <a:gd name="T4" fmla="*/ 910 w 1825"/>
                    <a:gd name="T5" fmla="*/ 2118 h 2198"/>
                    <a:gd name="T6" fmla="*/ 931 w 1825"/>
                    <a:gd name="T7" fmla="*/ 2038 h 2198"/>
                    <a:gd name="T8" fmla="*/ 935 w 1825"/>
                    <a:gd name="T9" fmla="*/ 1958 h 2198"/>
                    <a:gd name="T10" fmla="*/ 952 w 1825"/>
                    <a:gd name="T11" fmla="*/ 1863 h 2198"/>
                    <a:gd name="T12" fmla="*/ 870 w 1825"/>
                    <a:gd name="T13" fmla="*/ 1767 h 2198"/>
                    <a:gd name="T14" fmla="*/ 682 w 1825"/>
                    <a:gd name="T15" fmla="*/ 1781 h 2198"/>
                    <a:gd name="T16" fmla="*/ 601 w 1825"/>
                    <a:gd name="T17" fmla="*/ 1728 h 2198"/>
                    <a:gd name="T18" fmla="*/ 477 w 1825"/>
                    <a:gd name="T19" fmla="*/ 1720 h 2198"/>
                    <a:gd name="T20" fmla="*/ 451 w 1825"/>
                    <a:gd name="T21" fmla="*/ 1612 h 2198"/>
                    <a:gd name="T22" fmla="*/ 284 w 1825"/>
                    <a:gd name="T23" fmla="*/ 1495 h 2198"/>
                    <a:gd name="T24" fmla="*/ 199 w 1825"/>
                    <a:gd name="T25" fmla="*/ 1377 h 2198"/>
                    <a:gd name="T26" fmla="*/ 208 w 1825"/>
                    <a:gd name="T27" fmla="*/ 1219 h 2198"/>
                    <a:gd name="T28" fmla="*/ 230 w 1825"/>
                    <a:gd name="T29" fmla="*/ 979 h 2198"/>
                    <a:gd name="T30" fmla="*/ 45 w 1825"/>
                    <a:gd name="T31" fmla="*/ 622 h 2198"/>
                    <a:gd name="T32" fmla="*/ 82 w 1825"/>
                    <a:gd name="T33" fmla="*/ 475 h 2198"/>
                    <a:gd name="T34" fmla="*/ 185 w 1825"/>
                    <a:gd name="T35" fmla="*/ 486 h 2198"/>
                    <a:gd name="T36" fmla="*/ 365 w 1825"/>
                    <a:gd name="T37" fmla="*/ 544 h 2198"/>
                    <a:gd name="T38" fmla="*/ 192 w 1825"/>
                    <a:gd name="T39" fmla="*/ 680 h 2198"/>
                    <a:gd name="T40" fmla="*/ 253 w 1825"/>
                    <a:gd name="T41" fmla="*/ 729 h 2198"/>
                    <a:gd name="T42" fmla="*/ 390 w 1825"/>
                    <a:gd name="T43" fmla="*/ 834 h 2198"/>
                    <a:gd name="T44" fmla="*/ 425 w 1825"/>
                    <a:gd name="T45" fmla="*/ 756 h 2198"/>
                    <a:gd name="T46" fmla="*/ 506 w 1825"/>
                    <a:gd name="T47" fmla="*/ 605 h 2198"/>
                    <a:gd name="T48" fmla="*/ 400 w 1825"/>
                    <a:gd name="T49" fmla="*/ 434 h 2198"/>
                    <a:gd name="T50" fmla="*/ 545 w 1825"/>
                    <a:gd name="T51" fmla="*/ 489 h 2198"/>
                    <a:gd name="T52" fmla="*/ 554 w 1825"/>
                    <a:gd name="T53" fmla="*/ 382 h 2198"/>
                    <a:gd name="T54" fmla="*/ 581 w 1825"/>
                    <a:gd name="T55" fmla="*/ 308 h 2198"/>
                    <a:gd name="T56" fmla="*/ 646 w 1825"/>
                    <a:gd name="T57" fmla="*/ 276 h 2198"/>
                    <a:gd name="T58" fmla="*/ 735 w 1825"/>
                    <a:gd name="T59" fmla="*/ 198 h 2198"/>
                    <a:gd name="T60" fmla="*/ 834 w 1825"/>
                    <a:gd name="T61" fmla="*/ 31 h 2198"/>
                    <a:gd name="T62" fmla="*/ 1034 w 1825"/>
                    <a:gd name="T63" fmla="*/ 17 h 2198"/>
                    <a:gd name="T64" fmla="*/ 1012 w 1825"/>
                    <a:gd name="T65" fmla="*/ 55 h 2198"/>
                    <a:gd name="T66" fmla="*/ 1801 w 1825"/>
                    <a:gd name="T67" fmla="*/ 619 h 2198"/>
                    <a:gd name="T68" fmla="*/ 1680 w 1825"/>
                    <a:gd name="T69" fmla="*/ 644 h 2198"/>
                    <a:gd name="T70" fmla="*/ 1626 w 1825"/>
                    <a:gd name="T71" fmla="*/ 793 h 2198"/>
                    <a:gd name="T72" fmla="*/ 1565 w 1825"/>
                    <a:gd name="T73" fmla="*/ 916 h 2198"/>
                    <a:gd name="T74" fmla="*/ 1563 w 1825"/>
                    <a:gd name="T75" fmla="*/ 981 h 2198"/>
                    <a:gd name="T76" fmla="*/ 1608 w 1825"/>
                    <a:gd name="T77" fmla="*/ 1056 h 2198"/>
                    <a:gd name="T78" fmla="*/ 1637 w 1825"/>
                    <a:gd name="T79" fmla="*/ 1204 h 2198"/>
                    <a:gd name="T80" fmla="*/ 1559 w 1825"/>
                    <a:gd name="T81" fmla="*/ 1225 h 2198"/>
                    <a:gd name="T82" fmla="*/ 1525 w 1825"/>
                    <a:gd name="T83" fmla="*/ 1266 h 2198"/>
                    <a:gd name="T84" fmla="*/ 1493 w 1825"/>
                    <a:gd name="T85" fmla="*/ 1323 h 2198"/>
                    <a:gd name="T86" fmla="*/ 1404 w 1825"/>
                    <a:gd name="T87" fmla="*/ 1337 h 2198"/>
                    <a:gd name="T88" fmla="*/ 1273 w 1825"/>
                    <a:gd name="T89" fmla="*/ 1426 h 2198"/>
                    <a:gd name="T90" fmla="*/ 1199 w 1825"/>
                    <a:gd name="T91" fmla="*/ 1569 h 2198"/>
                    <a:gd name="T92" fmla="*/ 1294 w 1825"/>
                    <a:gd name="T93" fmla="*/ 1732 h 2198"/>
                    <a:gd name="T94" fmla="*/ 1423 w 1825"/>
                    <a:gd name="T95" fmla="*/ 1786 h 2198"/>
                    <a:gd name="T96" fmla="*/ 1373 w 1825"/>
                    <a:gd name="T97" fmla="*/ 1853 h 2198"/>
                    <a:gd name="T98" fmla="*/ 1378 w 1825"/>
                    <a:gd name="T99" fmla="*/ 1873 h 2198"/>
                    <a:gd name="T100" fmla="*/ 1378 w 1825"/>
                    <a:gd name="T101" fmla="*/ 1936 h 2198"/>
                    <a:gd name="T102" fmla="*/ 1472 w 1825"/>
                    <a:gd name="T103" fmla="*/ 2042 h 2198"/>
                    <a:gd name="T104" fmla="*/ 1491 w 1825"/>
                    <a:gd name="T105" fmla="*/ 2147 h 2198"/>
                    <a:gd name="T106" fmla="*/ 300 w 1825"/>
                    <a:gd name="T107" fmla="*/ 1180 h 2198"/>
                    <a:gd name="T108" fmla="*/ 446 w 1825"/>
                    <a:gd name="T109" fmla="*/ 0 h 2198"/>
                    <a:gd name="T110" fmla="*/ 415 w 1825"/>
                    <a:gd name="T111" fmla="*/ 77 h 2198"/>
                    <a:gd name="T112" fmla="*/ 479 w 1825"/>
                    <a:gd name="T113" fmla="*/ 132 h 2198"/>
                    <a:gd name="T114" fmla="*/ 581 w 1825"/>
                    <a:gd name="T115" fmla="*/ 97 h 2198"/>
                    <a:gd name="T116" fmla="*/ 643 w 1825"/>
                    <a:gd name="T117" fmla="*/ 93 h 2198"/>
                    <a:gd name="T118" fmla="*/ 499 w 1825"/>
                    <a:gd name="T119" fmla="*/ 352 h 2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1825" h="2198">
                      <a:moveTo>
                        <a:pt x="1462" y="2136"/>
                      </a:moveTo>
                      <a:cubicBezTo>
                        <a:pt x="1460" y="2137"/>
                        <a:pt x="1458" y="2139"/>
                        <a:pt x="1457" y="2139"/>
                      </a:cubicBezTo>
                      <a:cubicBezTo>
                        <a:pt x="1454" y="2139"/>
                        <a:pt x="1447" y="2143"/>
                        <a:pt x="1444" y="2142"/>
                      </a:cubicBezTo>
                      <a:cubicBezTo>
                        <a:pt x="1442" y="2142"/>
                        <a:pt x="1440" y="2140"/>
                        <a:pt x="1438" y="2140"/>
                      </a:cubicBezTo>
                      <a:cubicBezTo>
                        <a:pt x="1438" y="2140"/>
                        <a:pt x="1424" y="2146"/>
                        <a:pt x="1423" y="2146"/>
                      </a:cubicBezTo>
                      <a:cubicBezTo>
                        <a:pt x="1422" y="2146"/>
                        <a:pt x="1421" y="2143"/>
                        <a:pt x="1418" y="2142"/>
                      </a:cubicBezTo>
                      <a:cubicBezTo>
                        <a:pt x="1416" y="2141"/>
                        <a:pt x="1413" y="2142"/>
                        <a:pt x="1411" y="2142"/>
                      </a:cubicBezTo>
                      <a:cubicBezTo>
                        <a:pt x="1408" y="2142"/>
                        <a:pt x="1406" y="2142"/>
                        <a:pt x="1403" y="2142"/>
                      </a:cubicBezTo>
                      <a:cubicBezTo>
                        <a:pt x="1402" y="2142"/>
                        <a:pt x="1401" y="2143"/>
                        <a:pt x="1401" y="2142"/>
                      </a:cubicBezTo>
                      <a:cubicBezTo>
                        <a:pt x="1400" y="2139"/>
                        <a:pt x="1403" y="2120"/>
                        <a:pt x="1397" y="2120"/>
                      </a:cubicBezTo>
                      <a:cubicBezTo>
                        <a:pt x="1393" y="2120"/>
                        <a:pt x="1389" y="2120"/>
                        <a:pt x="1386" y="2122"/>
                      </a:cubicBezTo>
                      <a:cubicBezTo>
                        <a:pt x="1383" y="2123"/>
                        <a:pt x="1382" y="2128"/>
                        <a:pt x="1378" y="2128"/>
                      </a:cubicBezTo>
                      <a:cubicBezTo>
                        <a:pt x="1366" y="2128"/>
                        <a:pt x="1367" y="2120"/>
                        <a:pt x="1350" y="2123"/>
                      </a:cubicBezTo>
                      <a:cubicBezTo>
                        <a:pt x="1345" y="2124"/>
                        <a:pt x="1352" y="2134"/>
                        <a:pt x="1348" y="2137"/>
                      </a:cubicBezTo>
                      <a:cubicBezTo>
                        <a:pt x="1344" y="2140"/>
                        <a:pt x="1339" y="2130"/>
                        <a:pt x="1333" y="2132"/>
                      </a:cubicBezTo>
                      <a:cubicBezTo>
                        <a:pt x="1316" y="2140"/>
                        <a:pt x="1322" y="2163"/>
                        <a:pt x="1299" y="2163"/>
                      </a:cubicBezTo>
                      <a:cubicBezTo>
                        <a:pt x="1291" y="2163"/>
                        <a:pt x="1301" y="2152"/>
                        <a:pt x="1297" y="2152"/>
                      </a:cubicBezTo>
                      <a:cubicBezTo>
                        <a:pt x="1284" y="2152"/>
                        <a:pt x="1269" y="2156"/>
                        <a:pt x="1256" y="2155"/>
                      </a:cubicBezTo>
                      <a:cubicBezTo>
                        <a:pt x="1254" y="2154"/>
                        <a:pt x="1251" y="2153"/>
                        <a:pt x="1249" y="2152"/>
                      </a:cubicBezTo>
                      <a:cubicBezTo>
                        <a:pt x="1247" y="2151"/>
                        <a:pt x="1248" y="2149"/>
                        <a:pt x="1247" y="2148"/>
                      </a:cubicBezTo>
                      <a:cubicBezTo>
                        <a:pt x="1238" y="2146"/>
                        <a:pt x="1228" y="2154"/>
                        <a:pt x="1228" y="2154"/>
                      </a:cubicBezTo>
                      <a:cubicBezTo>
                        <a:pt x="1224" y="2155"/>
                        <a:pt x="1219" y="2153"/>
                        <a:pt x="1215" y="2153"/>
                      </a:cubicBezTo>
                      <a:cubicBezTo>
                        <a:pt x="1182" y="2161"/>
                        <a:pt x="1214" y="2156"/>
                        <a:pt x="1199" y="2165"/>
                      </a:cubicBezTo>
                      <a:cubicBezTo>
                        <a:pt x="1199" y="2165"/>
                        <a:pt x="1174" y="2175"/>
                        <a:pt x="1174" y="2175"/>
                      </a:cubicBezTo>
                      <a:cubicBezTo>
                        <a:pt x="1169" y="2175"/>
                        <a:pt x="1165" y="2170"/>
                        <a:pt x="1161" y="2170"/>
                      </a:cubicBezTo>
                      <a:cubicBezTo>
                        <a:pt x="1159" y="2170"/>
                        <a:pt x="1144" y="2176"/>
                        <a:pt x="1143" y="2176"/>
                      </a:cubicBezTo>
                      <a:cubicBezTo>
                        <a:pt x="1136" y="2178"/>
                        <a:pt x="1129" y="2170"/>
                        <a:pt x="1121" y="2172"/>
                      </a:cubicBezTo>
                      <a:cubicBezTo>
                        <a:pt x="1118" y="2173"/>
                        <a:pt x="1117" y="2176"/>
                        <a:pt x="1114" y="2178"/>
                      </a:cubicBezTo>
                      <a:cubicBezTo>
                        <a:pt x="1097" y="2186"/>
                        <a:pt x="1091" y="2171"/>
                        <a:pt x="1091" y="2198"/>
                      </a:cubicBezTo>
                      <a:cubicBezTo>
                        <a:pt x="1084" y="2197"/>
                        <a:pt x="1084" y="2197"/>
                        <a:pt x="1084" y="2197"/>
                      </a:cubicBezTo>
                      <a:cubicBezTo>
                        <a:pt x="1073" y="2192"/>
                        <a:pt x="1073" y="2192"/>
                        <a:pt x="1073" y="2192"/>
                      </a:cubicBezTo>
                      <a:cubicBezTo>
                        <a:pt x="1073" y="2192"/>
                        <a:pt x="1073" y="2192"/>
                        <a:pt x="1073" y="2192"/>
                      </a:cubicBezTo>
                      <a:cubicBezTo>
                        <a:pt x="1062" y="2189"/>
                        <a:pt x="1052" y="2182"/>
                        <a:pt x="1042" y="2177"/>
                      </a:cubicBezTo>
                      <a:cubicBezTo>
                        <a:pt x="1032" y="2173"/>
                        <a:pt x="1007" y="2162"/>
                        <a:pt x="997" y="2163"/>
                      </a:cubicBezTo>
                      <a:cubicBezTo>
                        <a:pt x="990" y="2163"/>
                        <a:pt x="983" y="2170"/>
                        <a:pt x="976" y="2168"/>
                      </a:cubicBezTo>
                      <a:cubicBezTo>
                        <a:pt x="971" y="2166"/>
                        <a:pt x="949" y="2150"/>
                        <a:pt x="946" y="2152"/>
                      </a:cubicBezTo>
                      <a:cubicBezTo>
                        <a:pt x="944" y="2153"/>
                        <a:pt x="952" y="2156"/>
                        <a:pt x="950" y="2158"/>
                      </a:cubicBezTo>
                      <a:cubicBezTo>
                        <a:pt x="950" y="2159"/>
                        <a:pt x="934" y="2162"/>
                        <a:pt x="933" y="2162"/>
                      </a:cubicBezTo>
                      <a:cubicBezTo>
                        <a:pt x="924" y="2163"/>
                        <a:pt x="920" y="2149"/>
                        <a:pt x="911" y="2146"/>
                      </a:cubicBezTo>
                      <a:cubicBezTo>
                        <a:pt x="899" y="2141"/>
                        <a:pt x="887" y="2150"/>
                        <a:pt x="876" y="2144"/>
                      </a:cubicBezTo>
                      <a:cubicBezTo>
                        <a:pt x="867" y="2139"/>
                        <a:pt x="901" y="2135"/>
                        <a:pt x="892" y="2127"/>
                      </a:cubicBezTo>
                      <a:cubicBezTo>
                        <a:pt x="889" y="2125"/>
                        <a:pt x="886" y="2133"/>
                        <a:pt x="883" y="2132"/>
                      </a:cubicBezTo>
                      <a:cubicBezTo>
                        <a:pt x="880" y="2130"/>
                        <a:pt x="880" y="2124"/>
                        <a:pt x="882" y="2122"/>
                      </a:cubicBezTo>
                      <a:cubicBezTo>
                        <a:pt x="884" y="2119"/>
                        <a:pt x="888" y="2122"/>
                        <a:pt x="890" y="2122"/>
                      </a:cubicBezTo>
                      <a:cubicBezTo>
                        <a:pt x="893" y="2122"/>
                        <a:pt x="897" y="2122"/>
                        <a:pt x="899" y="2123"/>
                      </a:cubicBezTo>
                      <a:cubicBezTo>
                        <a:pt x="900" y="2123"/>
                        <a:pt x="897" y="2126"/>
                        <a:pt x="898" y="2126"/>
                      </a:cubicBezTo>
                      <a:cubicBezTo>
                        <a:pt x="899" y="2125"/>
                        <a:pt x="899" y="2123"/>
                        <a:pt x="901" y="2122"/>
                      </a:cubicBezTo>
                      <a:cubicBezTo>
                        <a:pt x="903" y="2120"/>
                        <a:pt x="907" y="2119"/>
                        <a:pt x="910" y="2118"/>
                      </a:cubicBezTo>
                      <a:cubicBezTo>
                        <a:pt x="911" y="2118"/>
                        <a:pt x="911" y="2120"/>
                        <a:pt x="912" y="2120"/>
                      </a:cubicBezTo>
                      <a:cubicBezTo>
                        <a:pt x="914" y="2118"/>
                        <a:pt x="914" y="2114"/>
                        <a:pt x="916" y="2113"/>
                      </a:cubicBezTo>
                      <a:cubicBezTo>
                        <a:pt x="920" y="2111"/>
                        <a:pt x="925" y="2114"/>
                        <a:pt x="929" y="2113"/>
                      </a:cubicBezTo>
                      <a:cubicBezTo>
                        <a:pt x="930" y="2113"/>
                        <a:pt x="927" y="2113"/>
                        <a:pt x="927" y="2111"/>
                      </a:cubicBezTo>
                      <a:cubicBezTo>
                        <a:pt x="926" y="2110"/>
                        <a:pt x="928" y="2107"/>
                        <a:pt x="928" y="2106"/>
                      </a:cubicBezTo>
                      <a:cubicBezTo>
                        <a:pt x="927" y="2102"/>
                        <a:pt x="915" y="2097"/>
                        <a:pt x="913" y="2093"/>
                      </a:cubicBezTo>
                      <a:cubicBezTo>
                        <a:pt x="910" y="2088"/>
                        <a:pt x="918" y="2095"/>
                        <a:pt x="919" y="2092"/>
                      </a:cubicBezTo>
                      <a:cubicBezTo>
                        <a:pt x="919" y="2090"/>
                        <a:pt x="916" y="2090"/>
                        <a:pt x="916" y="2089"/>
                      </a:cubicBezTo>
                      <a:cubicBezTo>
                        <a:pt x="916" y="2085"/>
                        <a:pt x="920" y="2083"/>
                        <a:pt x="922" y="2079"/>
                      </a:cubicBezTo>
                      <a:cubicBezTo>
                        <a:pt x="924" y="2073"/>
                        <a:pt x="916" y="2062"/>
                        <a:pt x="919" y="2058"/>
                      </a:cubicBezTo>
                      <a:cubicBezTo>
                        <a:pt x="928" y="2048"/>
                        <a:pt x="924" y="2058"/>
                        <a:pt x="931" y="2071"/>
                      </a:cubicBezTo>
                      <a:cubicBezTo>
                        <a:pt x="931" y="2072"/>
                        <a:pt x="930" y="2067"/>
                        <a:pt x="930" y="2066"/>
                      </a:cubicBezTo>
                      <a:cubicBezTo>
                        <a:pt x="930" y="2065"/>
                        <a:pt x="926" y="2047"/>
                        <a:pt x="931" y="2045"/>
                      </a:cubicBezTo>
                      <a:cubicBezTo>
                        <a:pt x="935" y="2044"/>
                        <a:pt x="945" y="2053"/>
                        <a:pt x="949" y="2045"/>
                      </a:cubicBezTo>
                      <a:cubicBezTo>
                        <a:pt x="950" y="2044"/>
                        <a:pt x="949" y="2042"/>
                        <a:pt x="947" y="2041"/>
                      </a:cubicBezTo>
                      <a:cubicBezTo>
                        <a:pt x="942" y="2038"/>
                        <a:pt x="936" y="2040"/>
                        <a:pt x="931" y="2038"/>
                      </a:cubicBezTo>
                      <a:cubicBezTo>
                        <a:pt x="928" y="2036"/>
                        <a:pt x="925" y="2032"/>
                        <a:pt x="922" y="2032"/>
                      </a:cubicBezTo>
                      <a:cubicBezTo>
                        <a:pt x="906" y="2028"/>
                        <a:pt x="907" y="2037"/>
                        <a:pt x="897" y="2024"/>
                      </a:cubicBezTo>
                      <a:cubicBezTo>
                        <a:pt x="895" y="2021"/>
                        <a:pt x="892" y="2020"/>
                        <a:pt x="893" y="2018"/>
                      </a:cubicBezTo>
                      <a:cubicBezTo>
                        <a:pt x="894" y="2016"/>
                        <a:pt x="897" y="2019"/>
                        <a:pt x="899" y="2019"/>
                      </a:cubicBezTo>
                      <a:cubicBezTo>
                        <a:pt x="902" y="2019"/>
                        <a:pt x="905" y="2017"/>
                        <a:pt x="907" y="2016"/>
                      </a:cubicBezTo>
                      <a:cubicBezTo>
                        <a:pt x="911" y="2012"/>
                        <a:pt x="911" y="2005"/>
                        <a:pt x="916" y="2003"/>
                      </a:cubicBezTo>
                      <a:cubicBezTo>
                        <a:pt x="917" y="2002"/>
                        <a:pt x="918" y="2005"/>
                        <a:pt x="919" y="2006"/>
                      </a:cubicBezTo>
                      <a:cubicBezTo>
                        <a:pt x="921" y="2007"/>
                        <a:pt x="935" y="2007"/>
                        <a:pt x="933" y="2002"/>
                      </a:cubicBezTo>
                      <a:cubicBezTo>
                        <a:pt x="932" y="1999"/>
                        <a:pt x="925" y="2004"/>
                        <a:pt x="922" y="2002"/>
                      </a:cubicBezTo>
                      <a:cubicBezTo>
                        <a:pt x="910" y="1993"/>
                        <a:pt x="925" y="1990"/>
                        <a:pt x="926" y="1990"/>
                      </a:cubicBezTo>
                      <a:cubicBezTo>
                        <a:pt x="935" y="1986"/>
                        <a:pt x="942" y="1967"/>
                        <a:pt x="945" y="1965"/>
                      </a:cubicBezTo>
                      <a:cubicBezTo>
                        <a:pt x="946" y="1965"/>
                        <a:pt x="946" y="1968"/>
                        <a:pt x="947" y="1968"/>
                      </a:cubicBezTo>
                      <a:cubicBezTo>
                        <a:pt x="950" y="1967"/>
                        <a:pt x="953" y="1967"/>
                        <a:pt x="955" y="1964"/>
                      </a:cubicBezTo>
                      <a:cubicBezTo>
                        <a:pt x="961" y="1956"/>
                        <a:pt x="957" y="1950"/>
                        <a:pt x="948" y="1947"/>
                      </a:cubicBezTo>
                      <a:cubicBezTo>
                        <a:pt x="945" y="1946"/>
                        <a:pt x="941" y="1947"/>
                        <a:pt x="938" y="1948"/>
                      </a:cubicBezTo>
                      <a:cubicBezTo>
                        <a:pt x="928" y="1953"/>
                        <a:pt x="936" y="1952"/>
                        <a:pt x="935" y="1958"/>
                      </a:cubicBezTo>
                      <a:cubicBezTo>
                        <a:pt x="933" y="1967"/>
                        <a:pt x="910" y="1971"/>
                        <a:pt x="905" y="1976"/>
                      </a:cubicBezTo>
                      <a:cubicBezTo>
                        <a:pt x="905" y="1977"/>
                        <a:pt x="904" y="1977"/>
                        <a:pt x="904" y="1977"/>
                      </a:cubicBezTo>
                      <a:cubicBezTo>
                        <a:pt x="904" y="1977"/>
                        <a:pt x="904" y="1977"/>
                        <a:pt x="904" y="1977"/>
                      </a:cubicBezTo>
                      <a:cubicBezTo>
                        <a:pt x="899" y="1972"/>
                        <a:pt x="902" y="1970"/>
                        <a:pt x="903" y="1965"/>
                      </a:cubicBezTo>
                      <a:cubicBezTo>
                        <a:pt x="905" y="1959"/>
                        <a:pt x="897" y="1967"/>
                        <a:pt x="897" y="1963"/>
                      </a:cubicBezTo>
                      <a:cubicBezTo>
                        <a:pt x="897" y="1959"/>
                        <a:pt x="894" y="1946"/>
                        <a:pt x="895" y="1942"/>
                      </a:cubicBezTo>
                      <a:cubicBezTo>
                        <a:pt x="896" y="1942"/>
                        <a:pt x="912" y="1927"/>
                        <a:pt x="912" y="1927"/>
                      </a:cubicBezTo>
                      <a:cubicBezTo>
                        <a:pt x="914" y="1925"/>
                        <a:pt x="911" y="1922"/>
                        <a:pt x="911" y="1920"/>
                      </a:cubicBezTo>
                      <a:cubicBezTo>
                        <a:pt x="910" y="1917"/>
                        <a:pt x="910" y="1915"/>
                        <a:pt x="911" y="1912"/>
                      </a:cubicBezTo>
                      <a:cubicBezTo>
                        <a:pt x="920" y="1902"/>
                        <a:pt x="946" y="1907"/>
                        <a:pt x="954" y="1895"/>
                      </a:cubicBezTo>
                      <a:cubicBezTo>
                        <a:pt x="956" y="1892"/>
                        <a:pt x="953" y="1889"/>
                        <a:pt x="952" y="1886"/>
                      </a:cubicBezTo>
                      <a:cubicBezTo>
                        <a:pt x="951" y="1885"/>
                        <a:pt x="949" y="1885"/>
                        <a:pt x="949" y="1883"/>
                      </a:cubicBezTo>
                      <a:cubicBezTo>
                        <a:pt x="949" y="1882"/>
                        <a:pt x="953" y="1882"/>
                        <a:pt x="953" y="1881"/>
                      </a:cubicBezTo>
                      <a:cubicBezTo>
                        <a:pt x="953" y="1879"/>
                        <a:pt x="950" y="1878"/>
                        <a:pt x="950" y="1876"/>
                      </a:cubicBezTo>
                      <a:cubicBezTo>
                        <a:pt x="949" y="1873"/>
                        <a:pt x="950" y="1870"/>
                        <a:pt x="950" y="1866"/>
                      </a:cubicBezTo>
                      <a:cubicBezTo>
                        <a:pt x="950" y="1865"/>
                        <a:pt x="952" y="1864"/>
                        <a:pt x="952" y="1863"/>
                      </a:cubicBezTo>
                      <a:cubicBezTo>
                        <a:pt x="954" y="1856"/>
                        <a:pt x="944" y="1862"/>
                        <a:pt x="944" y="1862"/>
                      </a:cubicBezTo>
                      <a:cubicBezTo>
                        <a:pt x="942" y="1861"/>
                        <a:pt x="946" y="1859"/>
                        <a:pt x="945" y="1856"/>
                      </a:cubicBezTo>
                      <a:cubicBezTo>
                        <a:pt x="943" y="1852"/>
                        <a:pt x="940" y="1848"/>
                        <a:pt x="937" y="1845"/>
                      </a:cubicBezTo>
                      <a:cubicBezTo>
                        <a:pt x="933" y="1841"/>
                        <a:pt x="927" y="1851"/>
                        <a:pt x="926" y="1844"/>
                      </a:cubicBezTo>
                      <a:cubicBezTo>
                        <a:pt x="923" y="1826"/>
                        <a:pt x="925" y="1831"/>
                        <a:pt x="935" y="1827"/>
                      </a:cubicBezTo>
                      <a:cubicBezTo>
                        <a:pt x="936" y="1826"/>
                        <a:pt x="940" y="1817"/>
                        <a:pt x="937" y="1818"/>
                      </a:cubicBezTo>
                      <a:cubicBezTo>
                        <a:pt x="929" y="1819"/>
                        <a:pt x="925" y="1825"/>
                        <a:pt x="918" y="1819"/>
                      </a:cubicBezTo>
                      <a:cubicBezTo>
                        <a:pt x="911" y="1813"/>
                        <a:pt x="924" y="1812"/>
                        <a:pt x="925" y="1809"/>
                      </a:cubicBezTo>
                      <a:cubicBezTo>
                        <a:pt x="927" y="1807"/>
                        <a:pt x="925" y="1804"/>
                        <a:pt x="925" y="1802"/>
                      </a:cubicBezTo>
                      <a:cubicBezTo>
                        <a:pt x="927" y="1795"/>
                        <a:pt x="934" y="1791"/>
                        <a:pt x="927" y="1784"/>
                      </a:cubicBezTo>
                      <a:cubicBezTo>
                        <a:pt x="925" y="1781"/>
                        <a:pt x="921" y="1780"/>
                        <a:pt x="919" y="1778"/>
                      </a:cubicBezTo>
                      <a:cubicBezTo>
                        <a:pt x="916" y="1775"/>
                        <a:pt x="923" y="1767"/>
                        <a:pt x="918" y="1767"/>
                      </a:cubicBezTo>
                      <a:cubicBezTo>
                        <a:pt x="907" y="1766"/>
                        <a:pt x="914" y="1775"/>
                        <a:pt x="906" y="1777"/>
                      </a:cubicBezTo>
                      <a:cubicBezTo>
                        <a:pt x="877" y="1782"/>
                        <a:pt x="913" y="1773"/>
                        <a:pt x="890" y="1769"/>
                      </a:cubicBezTo>
                      <a:cubicBezTo>
                        <a:pt x="882" y="1768"/>
                        <a:pt x="882" y="1776"/>
                        <a:pt x="876" y="1772"/>
                      </a:cubicBezTo>
                      <a:cubicBezTo>
                        <a:pt x="873" y="1771"/>
                        <a:pt x="872" y="1769"/>
                        <a:pt x="870" y="1767"/>
                      </a:cubicBezTo>
                      <a:cubicBezTo>
                        <a:pt x="865" y="1763"/>
                        <a:pt x="867" y="1776"/>
                        <a:pt x="861" y="1776"/>
                      </a:cubicBezTo>
                      <a:cubicBezTo>
                        <a:pt x="857" y="1776"/>
                        <a:pt x="853" y="1775"/>
                        <a:pt x="849" y="1774"/>
                      </a:cubicBezTo>
                      <a:cubicBezTo>
                        <a:pt x="847" y="1772"/>
                        <a:pt x="846" y="1769"/>
                        <a:pt x="844" y="1769"/>
                      </a:cubicBezTo>
                      <a:cubicBezTo>
                        <a:pt x="841" y="1769"/>
                        <a:pt x="840" y="1775"/>
                        <a:pt x="837" y="1775"/>
                      </a:cubicBezTo>
                      <a:cubicBezTo>
                        <a:pt x="833" y="1775"/>
                        <a:pt x="830" y="1771"/>
                        <a:pt x="825" y="1770"/>
                      </a:cubicBezTo>
                      <a:cubicBezTo>
                        <a:pt x="811" y="1768"/>
                        <a:pt x="833" y="1790"/>
                        <a:pt x="817" y="1787"/>
                      </a:cubicBezTo>
                      <a:cubicBezTo>
                        <a:pt x="813" y="1787"/>
                        <a:pt x="812" y="1782"/>
                        <a:pt x="809" y="1780"/>
                      </a:cubicBezTo>
                      <a:cubicBezTo>
                        <a:pt x="807" y="1779"/>
                        <a:pt x="803" y="1780"/>
                        <a:pt x="800" y="1779"/>
                      </a:cubicBezTo>
                      <a:cubicBezTo>
                        <a:pt x="792" y="1776"/>
                        <a:pt x="786" y="1766"/>
                        <a:pt x="778" y="1760"/>
                      </a:cubicBezTo>
                      <a:cubicBezTo>
                        <a:pt x="776" y="1758"/>
                        <a:pt x="755" y="1780"/>
                        <a:pt x="748" y="1790"/>
                      </a:cubicBezTo>
                      <a:cubicBezTo>
                        <a:pt x="746" y="1793"/>
                        <a:pt x="740" y="1787"/>
                        <a:pt x="736" y="1787"/>
                      </a:cubicBezTo>
                      <a:cubicBezTo>
                        <a:pt x="734" y="1787"/>
                        <a:pt x="734" y="1790"/>
                        <a:pt x="732" y="1791"/>
                      </a:cubicBezTo>
                      <a:cubicBezTo>
                        <a:pt x="729" y="1793"/>
                        <a:pt x="727" y="1786"/>
                        <a:pt x="723" y="1785"/>
                      </a:cubicBezTo>
                      <a:cubicBezTo>
                        <a:pt x="710" y="1782"/>
                        <a:pt x="707" y="1801"/>
                        <a:pt x="697" y="1796"/>
                      </a:cubicBezTo>
                      <a:cubicBezTo>
                        <a:pt x="693" y="1795"/>
                        <a:pt x="690" y="1792"/>
                        <a:pt x="687" y="1789"/>
                      </a:cubicBezTo>
                      <a:cubicBezTo>
                        <a:pt x="685" y="1787"/>
                        <a:pt x="683" y="1784"/>
                        <a:pt x="682" y="1781"/>
                      </a:cubicBezTo>
                      <a:cubicBezTo>
                        <a:pt x="682" y="1779"/>
                        <a:pt x="686" y="1779"/>
                        <a:pt x="685" y="1777"/>
                      </a:cubicBezTo>
                      <a:cubicBezTo>
                        <a:pt x="685" y="1775"/>
                        <a:pt x="670" y="1762"/>
                        <a:pt x="670" y="1760"/>
                      </a:cubicBezTo>
                      <a:cubicBezTo>
                        <a:pt x="669" y="1758"/>
                        <a:pt x="673" y="1756"/>
                        <a:pt x="671" y="1754"/>
                      </a:cubicBezTo>
                      <a:cubicBezTo>
                        <a:pt x="671" y="1754"/>
                        <a:pt x="670" y="1754"/>
                        <a:pt x="669" y="1754"/>
                      </a:cubicBezTo>
                      <a:cubicBezTo>
                        <a:pt x="667" y="1754"/>
                        <a:pt x="665" y="1756"/>
                        <a:pt x="663" y="1756"/>
                      </a:cubicBezTo>
                      <a:cubicBezTo>
                        <a:pt x="659" y="1757"/>
                        <a:pt x="658" y="1750"/>
                        <a:pt x="656" y="1747"/>
                      </a:cubicBezTo>
                      <a:cubicBezTo>
                        <a:pt x="656" y="1746"/>
                        <a:pt x="654" y="1746"/>
                        <a:pt x="653" y="1746"/>
                      </a:cubicBezTo>
                      <a:cubicBezTo>
                        <a:pt x="651" y="1748"/>
                        <a:pt x="639" y="1755"/>
                        <a:pt x="637" y="1755"/>
                      </a:cubicBezTo>
                      <a:cubicBezTo>
                        <a:pt x="636" y="1756"/>
                        <a:pt x="636" y="1752"/>
                        <a:pt x="634" y="1752"/>
                      </a:cubicBezTo>
                      <a:cubicBezTo>
                        <a:pt x="630" y="1752"/>
                        <a:pt x="626" y="1753"/>
                        <a:pt x="623" y="1754"/>
                      </a:cubicBezTo>
                      <a:cubicBezTo>
                        <a:pt x="622" y="1754"/>
                        <a:pt x="618" y="1762"/>
                        <a:pt x="615" y="1757"/>
                      </a:cubicBezTo>
                      <a:cubicBezTo>
                        <a:pt x="615" y="1756"/>
                        <a:pt x="617" y="1754"/>
                        <a:pt x="617" y="1753"/>
                      </a:cubicBezTo>
                      <a:cubicBezTo>
                        <a:pt x="618" y="1752"/>
                        <a:pt x="618" y="1749"/>
                        <a:pt x="617" y="1748"/>
                      </a:cubicBezTo>
                      <a:cubicBezTo>
                        <a:pt x="615" y="1746"/>
                        <a:pt x="613" y="1748"/>
                        <a:pt x="611" y="1746"/>
                      </a:cubicBezTo>
                      <a:cubicBezTo>
                        <a:pt x="608" y="1744"/>
                        <a:pt x="611" y="1739"/>
                        <a:pt x="609" y="1736"/>
                      </a:cubicBezTo>
                      <a:cubicBezTo>
                        <a:pt x="607" y="1733"/>
                        <a:pt x="599" y="1732"/>
                        <a:pt x="601" y="1728"/>
                      </a:cubicBezTo>
                      <a:cubicBezTo>
                        <a:pt x="603" y="1726"/>
                        <a:pt x="616" y="1723"/>
                        <a:pt x="613" y="1718"/>
                      </a:cubicBezTo>
                      <a:cubicBezTo>
                        <a:pt x="608" y="1711"/>
                        <a:pt x="597" y="1711"/>
                        <a:pt x="594" y="1709"/>
                      </a:cubicBezTo>
                      <a:cubicBezTo>
                        <a:pt x="592" y="1707"/>
                        <a:pt x="590" y="1705"/>
                        <a:pt x="589" y="1702"/>
                      </a:cubicBezTo>
                      <a:cubicBezTo>
                        <a:pt x="588" y="1700"/>
                        <a:pt x="590" y="1697"/>
                        <a:pt x="589" y="1696"/>
                      </a:cubicBezTo>
                      <a:cubicBezTo>
                        <a:pt x="587" y="1694"/>
                        <a:pt x="583" y="1694"/>
                        <a:pt x="581" y="1692"/>
                      </a:cubicBezTo>
                      <a:cubicBezTo>
                        <a:pt x="577" y="1690"/>
                        <a:pt x="576" y="1685"/>
                        <a:pt x="572" y="1685"/>
                      </a:cubicBezTo>
                      <a:cubicBezTo>
                        <a:pt x="567" y="1684"/>
                        <a:pt x="566" y="1694"/>
                        <a:pt x="561" y="1694"/>
                      </a:cubicBezTo>
                      <a:cubicBezTo>
                        <a:pt x="559" y="1694"/>
                        <a:pt x="559" y="1690"/>
                        <a:pt x="558" y="1690"/>
                      </a:cubicBezTo>
                      <a:cubicBezTo>
                        <a:pt x="536" y="1688"/>
                        <a:pt x="549" y="1701"/>
                        <a:pt x="536" y="1706"/>
                      </a:cubicBezTo>
                      <a:cubicBezTo>
                        <a:pt x="536" y="1706"/>
                        <a:pt x="512" y="1708"/>
                        <a:pt x="511" y="1708"/>
                      </a:cubicBezTo>
                      <a:cubicBezTo>
                        <a:pt x="510" y="1708"/>
                        <a:pt x="514" y="1725"/>
                        <a:pt x="509" y="1730"/>
                      </a:cubicBezTo>
                      <a:cubicBezTo>
                        <a:pt x="506" y="1733"/>
                        <a:pt x="502" y="1736"/>
                        <a:pt x="497" y="1736"/>
                      </a:cubicBezTo>
                      <a:cubicBezTo>
                        <a:pt x="495" y="1736"/>
                        <a:pt x="496" y="1733"/>
                        <a:pt x="494" y="1732"/>
                      </a:cubicBezTo>
                      <a:cubicBezTo>
                        <a:pt x="493" y="1731"/>
                        <a:pt x="491" y="1734"/>
                        <a:pt x="490" y="1733"/>
                      </a:cubicBezTo>
                      <a:cubicBezTo>
                        <a:pt x="489" y="1732"/>
                        <a:pt x="490" y="1730"/>
                        <a:pt x="489" y="1728"/>
                      </a:cubicBezTo>
                      <a:cubicBezTo>
                        <a:pt x="489" y="1728"/>
                        <a:pt x="477" y="1721"/>
                        <a:pt x="477" y="1720"/>
                      </a:cubicBezTo>
                      <a:cubicBezTo>
                        <a:pt x="476" y="1719"/>
                        <a:pt x="478" y="1718"/>
                        <a:pt x="478" y="1716"/>
                      </a:cubicBezTo>
                      <a:cubicBezTo>
                        <a:pt x="476" y="1713"/>
                        <a:pt x="472" y="1710"/>
                        <a:pt x="472" y="1707"/>
                      </a:cubicBezTo>
                      <a:cubicBezTo>
                        <a:pt x="471" y="1705"/>
                        <a:pt x="475" y="1705"/>
                        <a:pt x="475" y="1703"/>
                      </a:cubicBezTo>
                      <a:cubicBezTo>
                        <a:pt x="473" y="1699"/>
                        <a:pt x="465" y="1699"/>
                        <a:pt x="465" y="1694"/>
                      </a:cubicBezTo>
                      <a:cubicBezTo>
                        <a:pt x="464" y="1693"/>
                        <a:pt x="468" y="1692"/>
                        <a:pt x="468" y="1690"/>
                      </a:cubicBezTo>
                      <a:cubicBezTo>
                        <a:pt x="470" y="1684"/>
                        <a:pt x="450" y="1680"/>
                        <a:pt x="448" y="1675"/>
                      </a:cubicBezTo>
                      <a:cubicBezTo>
                        <a:pt x="446" y="1671"/>
                        <a:pt x="450" y="1665"/>
                        <a:pt x="449" y="1660"/>
                      </a:cubicBezTo>
                      <a:cubicBezTo>
                        <a:pt x="449" y="1651"/>
                        <a:pt x="476" y="1663"/>
                        <a:pt x="484" y="1658"/>
                      </a:cubicBezTo>
                      <a:cubicBezTo>
                        <a:pt x="489" y="1655"/>
                        <a:pt x="494" y="1645"/>
                        <a:pt x="494" y="1639"/>
                      </a:cubicBezTo>
                      <a:cubicBezTo>
                        <a:pt x="494" y="1638"/>
                        <a:pt x="491" y="1639"/>
                        <a:pt x="492" y="1638"/>
                      </a:cubicBezTo>
                      <a:cubicBezTo>
                        <a:pt x="495" y="1636"/>
                        <a:pt x="500" y="1634"/>
                        <a:pt x="502" y="1631"/>
                      </a:cubicBezTo>
                      <a:cubicBezTo>
                        <a:pt x="503" y="1629"/>
                        <a:pt x="502" y="1624"/>
                        <a:pt x="499" y="1623"/>
                      </a:cubicBezTo>
                      <a:cubicBezTo>
                        <a:pt x="490" y="1619"/>
                        <a:pt x="489" y="1623"/>
                        <a:pt x="484" y="1617"/>
                      </a:cubicBezTo>
                      <a:cubicBezTo>
                        <a:pt x="482" y="1615"/>
                        <a:pt x="488" y="1607"/>
                        <a:pt x="481" y="1608"/>
                      </a:cubicBezTo>
                      <a:cubicBezTo>
                        <a:pt x="475" y="1608"/>
                        <a:pt x="471" y="1606"/>
                        <a:pt x="462" y="1609"/>
                      </a:cubicBezTo>
                      <a:cubicBezTo>
                        <a:pt x="458" y="1610"/>
                        <a:pt x="455" y="1614"/>
                        <a:pt x="451" y="1612"/>
                      </a:cubicBezTo>
                      <a:cubicBezTo>
                        <a:pt x="448" y="1611"/>
                        <a:pt x="454" y="1595"/>
                        <a:pt x="448" y="1592"/>
                      </a:cubicBezTo>
                      <a:cubicBezTo>
                        <a:pt x="447" y="1591"/>
                        <a:pt x="429" y="1591"/>
                        <a:pt x="424" y="1587"/>
                      </a:cubicBezTo>
                      <a:cubicBezTo>
                        <a:pt x="415" y="1581"/>
                        <a:pt x="420" y="1576"/>
                        <a:pt x="407" y="1572"/>
                      </a:cubicBezTo>
                      <a:cubicBezTo>
                        <a:pt x="405" y="1571"/>
                        <a:pt x="411" y="1561"/>
                        <a:pt x="408" y="1560"/>
                      </a:cubicBezTo>
                      <a:cubicBezTo>
                        <a:pt x="400" y="1560"/>
                        <a:pt x="398" y="1560"/>
                        <a:pt x="389" y="1554"/>
                      </a:cubicBezTo>
                      <a:cubicBezTo>
                        <a:pt x="385" y="1551"/>
                        <a:pt x="392" y="1539"/>
                        <a:pt x="391" y="1537"/>
                      </a:cubicBezTo>
                      <a:cubicBezTo>
                        <a:pt x="387" y="1532"/>
                        <a:pt x="395" y="1536"/>
                        <a:pt x="393" y="1533"/>
                      </a:cubicBezTo>
                      <a:cubicBezTo>
                        <a:pt x="391" y="1530"/>
                        <a:pt x="378" y="1519"/>
                        <a:pt x="378" y="1516"/>
                      </a:cubicBezTo>
                      <a:cubicBezTo>
                        <a:pt x="381" y="1508"/>
                        <a:pt x="382" y="1503"/>
                        <a:pt x="377" y="1495"/>
                      </a:cubicBezTo>
                      <a:cubicBezTo>
                        <a:pt x="376" y="1492"/>
                        <a:pt x="373" y="1497"/>
                        <a:pt x="370" y="1497"/>
                      </a:cubicBezTo>
                      <a:cubicBezTo>
                        <a:pt x="370" y="1497"/>
                        <a:pt x="352" y="1486"/>
                        <a:pt x="352" y="1486"/>
                      </a:cubicBezTo>
                      <a:cubicBezTo>
                        <a:pt x="338" y="1480"/>
                        <a:pt x="348" y="1485"/>
                        <a:pt x="340" y="1488"/>
                      </a:cubicBezTo>
                      <a:cubicBezTo>
                        <a:pt x="339" y="1488"/>
                        <a:pt x="332" y="1487"/>
                        <a:pt x="330" y="1489"/>
                      </a:cubicBezTo>
                      <a:cubicBezTo>
                        <a:pt x="327" y="1493"/>
                        <a:pt x="323" y="1504"/>
                        <a:pt x="318" y="1506"/>
                      </a:cubicBezTo>
                      <a:cubicBezTo>
                        <a:pt x="309" y="1511"/>
                        <a:pt x="310" y="1487"/>
                        <a:pt x="310" y="1487"/>
                      </a:cubicBezTo>
                      <a:cubicBezTo>
                        <a:pt x="292" y="1483"/>
                        <a:pt x="296" y="1486"/>
                        <a:pt x="284" y="1495"/>
                      </a:cubicBezTo>
                      <a:cubicBezTo>
                        <a:pt x="281" y="1497"/>
                        <a:pt x="279" y="1489"/>
                        <a:pt x="276" y="1487"/>
                      </a:cubicBezTo>
                      <a:cubicBezTo>
                        <a:pt x="266" y="1480"/>
                        <a:pt x="269" y="1499"/>
                        <a:pt x="255" y="1487"/>
                      </a:cubicBezTo>
                      <a:cubicBezTo>
                        <a:pt x="260" y="1471"/>
                        <a:pt x="243" y="1456"/>
                        <a:pt x="233" y="1448"/>
                      </a:cubicBezTo>
                      <a:cubicBezTo>
                        <a:pt x="230" y="1445"/>
                        <a:pt x="237" y="1440"/>
                        <a:pt x="230" y="1439"/>
                      </a:cubicBezTo>
                      <a:cubicBezTo>
                        <a:pt x="227" y="1438"/>
                        <a:pt x="224" y="1443"/>
                        <a:pt x="222" y="1442"/>
                      </a:cubicBezTo>
                      <a:cubicBezTo>
                        <a:pt x="220" y="1442"/>
                        <a:pt x="222" y="1440"/>
                        <a:pt x="222" y="1439"/>
                      </a:cubicBezTo>
                      <a:cubicBezTo>
                        <a:pt x="222" y="1439"/>
                        <a:pt x="222" y="1438"/>
                        <a:pt x="222" y="1437"/>
                      </a:cubicBezTo>
                      <a:cubicBezTo>
                        <a:pt x="222" y="1433"/>
                        <a:pt x="223" y="1429"/>
                        <a:pt x="223" y="1425"/>
                      </a:cubicBezTo>
                      <a:cubicBezTo>
                        <a:pt x="222" y="1423"/>
                        <a:pt x="218" y="1424"/>
                        <a:pt x="218" y="1422"/>
                      </a:cubicBezTo>
                      <a:cubicBezTo>
                        <a:pt x="218" y="1415"/>
                        <a:pt x="232" y="1410"/>
                        <a:pt x="213" y="1404"/>
                      </a:cubicBezTo>
                      <a:cubicBezTo>
                        <a:pt x="211" y="1403"/>
                        <a:pt x="207" y="1403"/>
                        <a:pt x="206" y="1401"/>
                      </a:cubicBezTo>
                      <a:cubicBezTo>
                        <a:pt x="204" y="1399"/>
                        <a:pt x="207" y="1395"/>
                        <a:pt x="205" y="1394"/>
                      </a:cubicBezTo>
                      <a:cubicBezTo>
                        <a:pt x="202" y="1392"/>
                        <a:pt x="200" y="1395"/>
                        <a:pt x="197" y="1396"/>
                      </a:cubicBezTo>
                      <a:cubicBezTo>
                        <a:pt x="198" y="1393"/>
                        <a:pt x="194" y="1385"/>
                        <a:pt x="196" y="1383"/>
                      </a:cubicBezTo>
                      <a:cubicBezTo>
                        <a:pt x="197" y="1382"/>
                        <a:pt x="200" y="1382"/>
                        <a:pt x="201" y="1380"/>
                      </a:cubicBezTo>
                      <a:cubicBezTo>
                        <a:pt x="201" y="1379"/>
                        <a:pt x="199" y="1379"/>
                        <a:pt x="199" y="1377"/>
                      </a:cubicBezTo>
                      <a:cubicBezTo>
                        <a:pt x="198" y="1376"/>
                        <a:pt x="198" y="1374"/>
                        <a:pt x="199" y="1373"/>
                      </a:cubicBezTo>
                      <a:cubicBezTo>
                        <a:pt x="206" y="1367"/>
                        <a:pt x="206" y="1374"/>
                        <a:pt x="209" y="1367"/>
                      </a:cubicBezTo>
                      <a:cubicBezTo>
                        <a:pt x="209" y="1365"/>
                        <a:pt x="204" y="1366"/>
                        <a:pt x="202" y="1365"/>
                      </a:cubicBezTo>
                      <a:cubicBezTo>
                        <a:pt x="198" y="1361"/>
                        <a:pt x="201" y="1358"/>
                        <a:pt x="200" y="1354"/>
                      </a:cubicBezTo>
                      <a:cubicBezTo>
                        <a:pt x="199" y="1352"/>
                        <a:pt x="190" y="1347"/>
                        <a:pt x="188" y="1345"/>
                      </a:cubicBezTo>
                      <a:cubicBezTo>
                        <a:pt x="184" y="1337"/>
                        <a:pt x="189" y="1341"/>
                        <a:pt x="189" y="1333"/>
                      </a:cubicBezTo>
                      <a:cubicBezTo>
                        <a:pt x="189" y="1323"/>
                        <a:pt x="177" y="1312"/>
                        <a:pt x="176" y="1302"/>
                      </a:cubicBezTo>
                      <a:cubicBezTo>
                        <a:pt x="175" y="1296"/>
                        <a:pt x="182" y="1292"/>
                        <a:pt x="184" y="1287"/>
                      </a:cubicBezTo>
                      <a:cubicBezTo>
                        <a:pt x="184" y="1273"/>
                        <a:pt x="184" y="1273"/>
                        <a:pt x="184" y="1273"/>
                      </a:cubicBezTo>
                      <a:cubicBezTo>
                        <a:pt x="184" y="1270"/>
                        <a:pt x="182" y="1267"/>
                        <a:pt x="184" y="1264"/>
                      </a:cubicBezTo>
                      <a:cubicBezTo>
                        <a:pt x="189" y="1253"/>
                        <a:pt x="199" y="1258"/>
                        <a:pt x="185" y="1249"/>
                      </a:cubicBezTo>
                      <a:cubicBezTo>
                        <a:pt x="187" y="1241"/>
                        <a:pt x="174" y="1232"/>
                        <a:pt x="180" y="1225"/>
                      </a:cubicBezTo>
                      <a:cubicBezTo>
                        <a:pt x="182" y="1224"/>
                        <a:pt x="184" y="1227"/>
                        <a:pt x="185" y="1228"/>
                      </a:cubicBezTo>
                      <a:cubicBezTo>
                        <a:pt x="188" y="1229"/>
                        <a:pt x="191" y="1234"/>
                        <a:pt x="193" y="1232"/>
                      </a:cubicBezTo>
                      <a:cubicBezTo>
                        <a:pt x="196" y="1229"/>
                        <a:pt x="192" y="1224"/>
                        <a:pt x="193" y="1220"/>
                      </a:cubicBezTo>
                      <a:cubicBezTo>
                        <a:pt x="193" y="1213"/>
                        <a:pt x="206" y="1219"/>
                        <a:pt x="208" y="1219"/>
                      </a:cubicBezTo>
                      <a:cubicBezTo>
                        <a:pt x="222" y="1216"/>
                        <a:pt x="197" y="1200"/>
                        <a:pt x="227" y="1199"/>
                      </a:cubicBezTo>
                      <a:cubicBezTo>
                        <a:pt x="237" y="1198"/>
                        <a:pt x="270" y="1204"/>
                        <a:pt x="254" y="1191"/>
                      </a:cubicBezTo>
                      <a:cubicBezTo>
                        <a:pt x="252" y="1189"/>
                        <a:pt x="246" y="1192"/>
                        <a:pt x="243" y="1190"/>
                      </a:cubicBezTo>
                      <a:cubicBezTo>
                        <a:pt x="234" y="1186"/>
                        <a:pt x="238" y="1176"/>
                        <a:pt x="224" y="1182"/>
                      </a:cubicBezTo>
                      <a:cubicBezTo>
                        <a:pt x="219" y="1183"/>
                        <a:pt x="213" y="1191"/>
                        <a:pt x="206" y="1188"/>
                      </a:cubicBezTo>
                      <a:cubicBezTo>
                        <a:pt x="205" y="1187"/>
                        <a:pt x="204" y="1185"/>
                        <a:pt x="203" y="1184"/>
                      </a:cubicBezTo>
                      <a:cubicBezTo>
                        <a:pt x="201" y="1181"/>
                        <a:pt x="198" y="1178"/>
                        <a:pt x="195" y="1177"/>
                      </a:cubicBezTo>
                      <a:cubicBezTo>
                        <a:pt x="193" y="1176"/>
                        <a:pt x="189" y="1180"/>
                        <a:pt x="187" y="1178"/>
                      </a:cubicBezTo>
                      <a:cubicBezTo>
                        <a:pt x="182" y="1171"/>
                        <a:pt x="187" y="1159"/>
                        <a:pt x="182" y="1152"/>
                      </a:cubicBezTo>
                      <a:cubicBezTo>
                        <a:pt x="181" y="1151"/>
                        <a:pt x="171" y="1168"/>
                        <a:pt x="171" y="1168"/>
                      </a:cubicBezTo>
                      <a:cubicBezTo>
                        <a:pt x="166" y="1170"/>
                        <a:pt x="161" y="1170"/>
                        <a:pt x="157" y="1172"/>
                      </a:cubicBezTo>
                      <a:cubicBezTo>
                        <a:pt x="156" y="1173"/>
                        <a:pt x="157" y="1174"/>
                        <a:pt x="157" y="1175"/>
                      </a:cubicBezTo>
                      <a:cubicBezTo>
                        <a:pt x="155" y="1174"/>
                        <a:pt x="155" y="1174"/>
                        <a:pt x="155" y="1174"/>
                      </a:cubicBezTo>
                      <a:cubicBezTo>
                        <a:pt x="159" y="1161"/>
                        <a:pt x="170" y="1147"/>
                        <a:pt x="176" y="1136"/>
                      </a:cubicBezTo>
                      <a:cubicBezTo>
                        <a:pt x="194" y="1105"/>
                        <a:pt x="205" y="1069"/>
                        <a:pt x="217" y="1036"/>
                      </a:cubicBezTo>
                      <a:cubicBezTo>
                        <a:pt x="226" y="1011"/>
                        <a:pt x="228" y="1005"/>
                        <a:pt x="230" y="979"/>
                      </a:cubicBezTo>
                      <a:cubicBezTo>
                        <a:pt x="230" y="975"/>
                        <a:pt x="232" y="971"/>
                        <a:pt x="231" y="967"/>
                      </a:cubicBezTo>
                      <a:cubicBezTo>
                        <a:pt x="226" y="954"/>
                        <a:pt x="176" y="935"/>
                        <a:pt x="163" y="926"/>
                      </a:cubicBezTo>
                      <a:cubicBezTo>
                        <a:pt x="161" y="925"/>
                        <a:pt x="181" y="894"/>
                        <a:pt x="167" y="883"/>
                      </a:cubicBezTo>
                      <a:cubicBezTo>
                        <a:pt x="162" y="879"/>
                        <a:pt x="151" y="883"/>
                        <a:pt x="148" y="877"/>
                      </a:cubicBezTo>
                      <a:cubicBezTo>
                        <a:pt x="133" y="852"/>
                        <a:pt x="151" y="864"/>
                        <a:pt x="147" y="856"/>
                      </a:cubicBezTo>
                      <a:cubicBezTo>
                        <a:pt x="140" y="846"/>
                        <a:pt x="133" y="854"/>
                        <a:pt x="124" y="844"/>
                      </a:cubicBezTo>
                      <a:cubicBezTo>
                        <a:pt x="117" y="836"/>
                        <a:pt x="122" y="835"/>
                        <a:pt x="126" y="827"/>
                      </a:cubicBezTo>
                      <a:cubicBezTo>
                        <a:pt x="128" y="822"/>
                        <a:pt x="115" y="822"/>
                        <a:pt x="115" y="820"/>
                      </a:cubicBezTo>
                      <a:cubicBezTo>
                        <a:pt x="115" y="816"/>
                        <a:pt x="115" y="795"/>
                        <a:pt x="115" y="795"/>
                      </a:cubicBezTo>
                      <a:cubicBezTo>
                        <a:pt x="103" y="785"/>
                        <a:pt x="117" y="791"/>
                        <a:pt x="121" y="787"/>
                      </a:cubicBezTo>
                      <a:cubicBezTo>
                        <a:pt x="123" y="783"/>
                        <a:pt x="109" y="763"/>
                        <a:pt x="107" y="761"/>
                      </a:cubicBezTo>
                      <a:cubicBezTo>
                        <a:pt x="98" y="748"/>
                        <a:pt x="87" y="733"/>
                        <a:pt x="76" y="721"/>
                      </a:cubicBezTo>
                      <a:cubicBezTo>
                        <a:pt x="74" y="720"/>
                        <a:pt x="65" y="713"/>
                        <a:pt x="63" y="709"/>
                      </a:cubicBezTo>
                      <a:cubicBezTo>
                        <a:pt x="55" y="694"/>
                        <a:pt x="82" y="653"/>
                        <a:pt x="71" y="644"/>
                      </a:cubicBezTo>
                      <a:cubicBezTo>
                        <a:pt x="68" y="640"/>
                        <a:pt x="63" y="640"/>
                        <a:pt x="60" y="638"/>
                      </a:cubicBezTo>
                      <a:cubicBezTo>
                        <a:pt x="54" y="634"/>
                        <a:pt x="51" y="626"/>
                        <a:pt x="45" y="622"/>
                      </a:cubicBezTo>
                      <a:cubicBezTo>
                        <a:pt x="44" y="622"/>
                        <a:pt x="25" y="619"/>
                        <a:pt x="24" y="619"/>
                      </a:cubicBezTo>
                      <a:cubicBezTo>
                        <a:pt x="21" y="616"/>
                        <a:pt x="20" y="611"/>
                        <a:pt x="17" y="608"/>
                      </a:cubicBezTo>
                      <a:cubicBezTo>
                        <a:pt x="5" y="587"/>
                        <a:pt x="20" y="589"/>
                        <a:pt x="13" y="574"/>
                      </a:cubicBezTo>
                      <a:cubicBezTo>
                        <a:pt x="11" y="567"/>
                        <a:pt x="0" y="574"/>
                        <a:pt x="2" y="570"/>
                      </a:cubicBezTo>
                      <a:cubicBezTo>
                        <a:pt x="14" y="557"/>
                        <a:pt x="14" y="557"/>
                        <a:pt x="14" y="557"/>
                      </a:cubicBezTo>
                      <a:cubicBezTo>
                        <a:pt x="21" y="559"/>
                        <a:pt x="17" y="544"/>
                        <a:pt x="16" y="537"/>
                      </a:cubicBezTo>
                      <a:cubicBezTo>
                        <a:pt x="16" y="538"/>
                        <a:pt x="16" y="540"/>
                        <a:pt x="17" y="541"/>
                      </a:cubicBezTo>
                      <a:cubicBezTo>
                        <a:pt x="20" y="529"/>
                        <a:pt x="20" y="529"/>
                        <a:pt x="20" y="529"/>
                      </a:cubicBezTo>
                      <a:cubicBezTo>
                        <a:pt x="18" y="531"/>
                        <a:pt x="17" y="532"/>
                        <a:pt x="17" y="533"/>
                      </a:cubicBezTo>
                      <a:cubicBezTo>
                        <a:pt x="22" y="525"/>
                        <a:pt x="38" y="514"/>
                        <a:pt x="29" y="506"/>
                      </a:cubicBezTo>
                      <a:cubicBezTo>
                        <a:pt x="23" y="501"/>
                        <a:pt x="41" y="510"/>
                        <a:pt x="47" y="508"/>
                      </a:cubicBezTo>
                      <a:cubicBezTo>
                        <a:pt x="54" y="506"/>
                        <a:pt x="46" y="495"/>
                        <a:pt x="43" y="490"/>
                      </a:cubicBezTo>
                      <a:cubicBezTo>
                        <a:pt x="51" y="490"/>
                        <a:pt x="68" y="490"/>
                        <a:pt x="68" y="489"/>
                      </a:cubicBezTo>
                      <a:cubicBezTo>
                        <a:pt x="70" y="487"/>
                        <a:pt x="64" y="485"/>
                        <a:pt x="63" y="482"/>
                      </a:cubicBezTo>
                      <a:cubicBezTo>
                        <a:pt x="62" y="477"/>
                        <a:pt x="63" y="473"/>
                        <a:pt x="64" y="468"/>
                      </a:cubicBezTo>
                      <a:cubicBezTo>
                        <a:pt x="65" y="466"/>
                        <a:pt x="80" y="473"/>
                        <a:pt x="82" y="475"/>
                      </a:cubicBezTo>
                      <a:cubicBezTo>
                        <a:pt x="86" y="479"/>
                        <a:pt x="94" y="470"/>
                        <a:pt x="98" y="473"/>
                      </a:cubicBezTo>
                      <a:cubicBezTo>
                        <a:pt x="101" y="477"/>
                        <a:pt x="100" y="484"/>
                        <a:pt x="97" y="487"/>
                      </a:cubicBezTo>
                      <a:cubicBezTo>
                        <a:pt x="91" y="493"/>
                        <a:pt x="79" y="476"/>
                        <a:pt x="74" y="482"/>
                      </a:cubicBezTo>
                      <a:cubicBezTo>
                        <a:pt x="71" y="486"/>
                        <a:pt x="73" y="493"/>
                        <a:pt x="76" y="495"/>
                      </a:cubicBezTo>
                      <a:cubicBezTo>
                        <a:pt x="79" y="498"/>
                        <a:pt x="84" y="490"/>
                        <a:pt x="87" y="492"/>
                      </a:cubicBezTo>
                      <a:cubicBezTo>
                        <a:pt x="89" y="494"/>
                        <a:pt x="88" y="497"/>
                        <a:pt x="87" y="501"/>
                      </a:cubicBezTo>
                      <a:cubicBezTo>
                        <a:pt x="95" y="494"/>
                        <a:pt x="116" y="488"/>
                        <a:pt x="117" y="493"/>
                      </a:cubicBezTo>
                      <a:cubicBezTo>
                        <a:pt x="120" y="506"/>
                        <a:pt x="110" y="486"/>
                        <a:pt x="115" y="506"/>
                      </a:cubicBezTo>
                      <a:cubicBezTo>
                        <a:pt x="115" y="509"/>
                        <a:pt x="121" y="509"/>
                        <a:pt x="121" y="512"/>
                      </a:cubicBezTo>
                      <a:cubicBezTo>
                        <a:pt x="122" y="518"/>
                        <a:pt x="107" y="523"/>
                        <a:pt x="117" y="530"/>
                      </a:cubicBezTo>
                      <a:cubicBezTo>
                        <a:pt x="120" y="531"/>
                        <a:pt x="115" y="525"/>
                        <a:pt x="116" y="523"/>
                      </a:cubicBezTo>
                      <a:cubicBezTo>
                        <a:pt x="117" y="518"/>
                        <a:pt x="122" y="515"/>
                        <a:pt x="124" y="511"/>
                      </a:cubicBezTo>
                      <a:cubicBezTo>
                        <a:pt x="125" y="510"/>
                        <a:pt x="124" y="509"/>
                        <a:pt x="124" y="507"/>
                      </a:cubicBezTo>
                      <a:cubicBezTo>
                        <a:pt x="126" y="503"/>
                        <a:pt x="127" y="498"/>
                        <a:pt x="130" y="495"/>
                      </a:cubicBezTo>
                      <a:cubicBezTo>
                        <a:pt x="138" y="487"/>
                        <a:pt x="142" y="497"/>
                        <a:pt x="150" y="494"/>
                      </a:cubicBezTo>
                      <a:cubicBezTo>
                        <a:pt x="163" y="489"/>
                        <a:pt x="170" y="483"/>
                        <a:pt x="185" y="486"/>
                      </a:cubicBezTo>
                      <a:cubicBezTo>
                        <a:pt x="202" y="490"/>
                        <a:pt x="228" y="495"/>
                        <a:pt x="246" y="502"/>
                      </a:cubicBezTo>
                      <a:cubicBezTo>
                        <a:pt x="250" y="504"/>
                        <a:pt x="253" y="508"/>
                        <a:pt x="257" y="510"/>
                      </a:cubicBezTo>
                      <a:cubicBezTo>
                        <a:pt x="260" y="511"/>
                        <a:pt x="263" y="510"/>
                        <a:pt x="266" y="511"/>
                      </a:cubicBezTo>
                      <a:cubicBezTo>
                        <a:pt x="268" y="512"/>
                        <a:pt x="268" y="516"/>
                        <a:pt x="270" y="517"/>
                      </a:cubicBezTo>
                      <a:cubicBezTo>
                        <a:pt x="274" y="518"/>
                        <a:pt x="280" y="520"/>
                        <a:pt x="281" y="516"/>
                      </a:cubicBezTo>
                      <a:cubicBezTo>
                        <a:pt x="283" y="513"/>
                        <a:pt x="275" y="515"/>
                        <a:pt x="272" y="514"/>
                      </a:cubicBezTo>
                      <a:cubicBezTo>
                        <a:pt x="271" y="514"/>
                        <a:pt x="274" y="514"/>
                        <a:pt x="275" y="514"/>
                      </a:cubicBezTo>
                      <a:cubicBezTo>
                        <a:pt x="275" y="513"/>
                        <a:pt x="274" y="511"/>
                        <a:pt x="274" y="511"/>
                      </a:cubicBezTo>
                      <a:cubicBezTo>
                        <a:pt x="280" y="511"/>
                        <a:pt x="314" y="528"/>
                        <a:pt x="317" y="520"/>
                      </a:cubicBezTo>
                      <a:cubicBezTo>
                        <a:pt x="318" y="517"/>
                        <a:pt x="310" y="515"/>
                        <a:pt x="310" y="512"/>
                      </a:cubicBezTo>
                      <a:cubicBezTo>
                        <a:pt x="310" y="510"/>
                        <a:pt x="314" y="514"/>
                        <a:pt x="316" y="515"/>
                      </a:cubicBezTo>
                      <a:cubicBezTo>
                        <a:pt x="320" y="517"/>
                        <a:pt x="323" y="520"/>
                        <a:pt x="326" y="522"/>
                      </a:cubicBezTo>
                      <a:cubicBezTo>
                        <a:pt x="329" y="523"/>
                        <a:pt x="332" y="522"/>
                        <a:pt x="334" y="523"/>
                      </a:cubicBezTo>
                      <a:cubicBezTo>
                        <a:pt x="338" y="525"/>
                        <a:pt x="339" y="529"/>
                        <a:pt x="342" y="531"/>
                      </a:cubicBezTo>
                      <a:cubicBezTo>
                        <a:pt x="346" y="535"/>
                        <a:pt x="351" y="527"/>
                        <a:pt x="356" y="527"/>
                      </a:cubicBezTo>
                      <a:cubicBezTo>
                        <a:pt x="362" y="528"/>
                        <a:pt x="361" y="540"/>
                        <a:pt x="365" y="544"/>
                      </a:cubicBezTo>
                      <a:cubicBezTo>
                        <a:pt x="366" y="544"/>
                        <a:pt x="366" y="542"/>
                        <a:pt x="367" y="542"/>
                      </a:cubicBezTo>
                      <a:cubicBezTo>
                        <a:pt x="373" y="544"/>
                        <a:pt x="373" y="554"/>
                        <a:pt x="376" y="557"/>
                      </a:cubicBezTo>
                      <a:cubicBezTo>
                        <a:pt x="378" y="558"/>
                        <a:pt x="382" y="555"/>
                        <a:pt x="384" y="557"/>
                      </a:cubicBezTo>
                      <a:cubicBezTo>
                        <a:pt x="391" y="562"/>
                        <a:pt x="392" y="587"/>
                        <a:pt x="391" y="596"/>
                      </a:cubicBezTo>
                      <a:cubicBezTo>
                        <a:pt x="390" y="605"/>
                        <a:pt x="391" y="609"/>
                        <a:pt x="390" y="617"/>
                      </a:cubicBezTo>
                      <a:cubicBezTo>
                        <a:pt x="385" y="643"/>
                        <a:pt x="357" y="670"/>
                        <a:pt x="332" y="674"/>
                      </a:cubicBezTo>
                      <a:cubicBezTo>
                        <a:pt x="321" y="676"/>
                        <a:pt x="314" y="673"/>
                        <a:pt x="304" y="673"/>
                      </a:cubicBezTo>
                      <a:cubicBezTo>
                        <a:pt x="293" y="673"/>
                        <a:pt x="282" y="678"/>
                        <a:pt x="271" y="679"/>
                      </a:cubicBezTo>
                      <a:cubicBezTo>
                        <a:pt x="266" y="680"/>
                        <a:pt x="261" y="683"/>
                        <a:pt x="256" y="682"/>
                      </a:cubicBezTo>
                      <a:cubicBezTo>
                        <a:pt x="249" y="682"/>
                        <a:pt x="236" y="673"/>
                        <a:pt x="229" y="675"/>
                      </a:cubicBezTo>
                      <a:cubicBezTo>
                        <a:pt x="226" y="677"/>
                        <a:pt x="226" y="682"/>
                        <a:pt x="222" y="683"/>
                      </a:cubicBezTo>
                      <a:cubicBezTo>
                        <a:pt x="220" y="684"/>
                        <a:pt x="219" y="679"/>
                        <a:pt x="217" y="679"/>
                      </a:cubicBezTo>
                      <a:cubicBezTo>
                        <a:pt x="214" y="678"/>
                        <a:pt x="210" y="680"/>
                        <a:pt x="208" y="678"/>
                      </a:cubicBezTo>
                      <a:cubicBezTo>
                        <a:pt x="206" y="677"/>
                        <a:pt x="210" y="670"/>
                        <a:pt x="207" y="670"/>
                      </a:cubicBezTo>
                      <a:cubicBezTo>
                        <a:pt x="204" y="671"/>
                        <a:pt x="206" y="677"/>
                        <a:pt x="203" y="678"/>
                      </a:cubicBezTo>
                      <a:cubicBezTo>
                        <a:pt x="200" y="680"/>
                        <a:pt x="196" y="680"/>
                        <a:pt x="192" y="680"/>
                      </a:cubicBezTo>
                      <a:cubicBezTo>
                        <a:pt x="188" y="680"/>
                        <a:pt x="167" y="674"/>
                        <a:pt x="164" y="669"/>
                      </a:cubicBezTo>
                      <a:cubicBezTo>
                        <a:pt x="163" y="666"/>
                        <a:pt x="168" y="663"/>
                        <a:pt x="166" y="660"/>
                      </a:cubicBezTo>
                      <a:cubicBezTo>
                        <a:pt x="165" y="659"/>
                        <a:pt x="138" y="664"/>
                        <a:pt x="134" y="665"/>
                      </a:cubicBezTo>
                      <a:cubicBezTo>
                        <a:pt x="133" y="665"/>
                        <a:pt x="136" y="668"/>
                        <a:pt x="137" y="668"/>
                      </a:cubicBezTo>
                      <a:cubicBezTo>
                        <a:pt x="145" y="667"/>
                        <a:pt x="153" y="662"/>
                        <a:pt x="158" y="673"/>
                      </a:cubicBezTo>
                      <a:cubicBezTo>
                        <a:pt x="159" y="674"/>
                        <a:pt x="154" y="674"/>
                        <a:pt x="154" y="675"/>
                      </a:cubicBezTo>
                      <a:cubicBezTo>
                        <a:pt x="153" y="677"/>
                        <a:pt x="157" y="674"/>
                        <a:pt x="157" y="675"/>
                      </a:cubicBezTo>
                      <a:cubicBezTo>
                        <a:pt x="158" y="677"/>
                        <a:pt x="155" y="678"/>
                        <a:pt x="157" y="679"/>
                      </a:cubicBezTo>
                      <a:cubicBezTo>
                        <a:pt x="157" y="680"/>
                        <a:pt x="159" y="678"/>
                        <a:pt x="160" y="678"/>
                      </a:cubicBezTo>
                      <a:cubicBezTo>
                        <a:pt x="164" y="680"/>
                        <a:pt x="167" y="687"/>
                        <a:pt x="171" y="687"/>
                      </a:cubicBezTo>
                      <a:cubicBezTo>
                        <a:pt x="189" y="691"/>
                        <a:pt x="180" y="683"/>
                        <a:pt x="197" y="693"/>
                      </a:cubicBezTo>
                      <a:cubicBezTo>
                        <a:pt x="199" y="695"/>
                        <a:pt x="203" y="695"/>
                        <a:pt x="205" y="698"/>
                      </a:cubicBezTo>
                      <a:cubicBezTo>
                        <a:pt x="205" y="700"/>
                        <a:pt x="190" y="706"/>
                        <a:pt x="196" y="710"/>
                      </a:cubicBezTo>
                      <a:cubicBezTo>
                        <a:pt x="198" y="712"/>
                        <a:pt x="201" y="707"/>
                        <a:pt x="204" y="706"/>
                      </a:cubicBezTo>
                      <a:cubicBezTo>
                        <a:pt x="207" y="705"/>
                        <a:pt x="241" y="714"/>
                        <a:pt x="245" y="718"/>
                      </a:cubicBezTo>
                      <a:cubicBezTo>
                        <a:pt x="249" y="725"/>
                        <a:pt x="248" y="722"/>
                        <a:pt x="253" y="729"/>
                      </a:cubicBezTo>
                      <a:cubicBezTo>
                        <a:pt x="254" y="731"/>
                        <a:pt x="262" y="733"/>
                        <a:pt x="260" y="734"/>
                      </a:cubicBezTo>
                      <a:cubicBezTo>
                        <a:pt x="257" y="737"/>
                        <a:pt x="252" y="730"/>
                        <a:pt x="249" y="732"/>
                      </a:cubicBezTo>
                      <a:cubicBezTo>
                        <a:pt x="248" y="732"/>
                        <a:pt x="257" y="744"/>
                        <a:pt x="257" y="744"/>
                      </a:cubicBezTo>
                      <a:cubicBezTo>
                        <a:pt x="265" y="764"/>
                        <a:pt x="256" y="749"/>
                        <a:pt x="249" y="765"/>
                      </a:cubicBezTo>
                      <a:cubicBezTo>
                        <a:pt x="249" y="766"/>
                        <a:pt x="254" y="764"/>
                        <a:pt x="256" y="765"/>
                      </a:cubicBezTo>
                      <a:cubicBezTo>
                        <a:pt x="258" y="767"/>
                        <a:pt x="274" y="783"/>
                        <a:pt x="274" y="783"/>
                      </a:cubicBezTo>
                      <a:cubicBezTo>
                        <a:pt x="274" y="785"/>
                        <a:pt x="272" y="786"/>
                        <a:pt x="273" y="788"/>
                      </a:cubicBezTo>
                      <a:cubicBezTo>
                        <a:pt x="273" y="793"/>
                        <a:pt x="282" y="790"/>
                        <a:pt x="283" y="795"/>
                      </a:cubicBezTo>
                      <a:cubicBezTo>
                        <a:pt x="284" y="797"/>
                        <a:pt x="278" y="800"/>
                        <a:pt x="280" y="803"/>
                      </a:cubicBezTo>
                      <a:cubicBezTo>
                        <a:pt x="282" y="805"/>
                        <a:pt x="286" y="798"/>
                        <a:pt x="288" y="799"/>
                      </a:cubicBezTo>
                      <a:cubicBezTo>
                        <a:pt x="290" y="801"/>
                        <a:pt x="283" y="803"/>
                        <a:pt x="283" y="806"/>
                      </a:cubicBezTo>
                      <a:cubicBezTo>
                        <a:pt x="283" y="809"/>
                        <a:pt x="283" y="815"/>
                        <a:pt x="286" y="817"/>
                      </a:cubicBezTo>
                      <a:cubicBezTo>
                        <a:pt x="286" y="818"/>
                        <a:pt x="310" y="825"/>
                        <a:pt x="312" y="825"/>
                      </a:cubicBezTo>
                      <a:cubicBezTo>
                        <a:pt x="316" y="824"/>
                        <a:pt x="309" y="813"/>
                        <a:pt x="334" y="823"/>
                      </a:cubicBezTo>
                      <a:cubicBezTo>
                        <a:pt x="382" y="841"/>
                        <a:pt x="305" y="812"/>
                        <a:pt x="347" y="836"/>
                      </a:cubicBezTo>
                      <a:cubicBezTo>
                        <a:pt x="348" y="837"/>
                        <a:pt x="389" y="835"/>
                        <a:pt x="390" y="834"/>
                      </a:cubicBezTo>
                      <a:cubicBezTo>
                        <a:pt x="392" y="833"/>
                        <a:pt x="389" y="828"/>
                        <a:pt x="391" y="826"/>
                      </a:cubicBezTo>
                      <a:cubicBezTo>
                        <a:pt x="392" y="824"/>
                        <a:pt x="395" y="826"/>
                        <a:pt x="396" y="825"/>
                      </a:cubicBezTo>
                      <a:cubicBezTo>
                        <a:pt x="404" y="815"/>
                        <a:pt x="397" y="803"/>
                        <a:pt x="390" y="795"/>
                      </a:cubicBezTo>
                      <a:cubicBezTo>
                        <a:pt x="386" y="791"/>
                        <a:pt x="386" y="795"/>
                        <a:pt x="381" y="792"/>
                      </a:cubicBezTo>
                      <a:cubicBezTo>
                        <a:pt x="379" y="791"/>
                        <a:pt x="379" y="787"/>
                        <a:pt x="378" y="788"/>
                      </a:cubicBezTo>
                      <a:cubicBezTo>
                        <a:pt x="376" y="788"/>
                        <a:pt x="377" y="791"/>
                        <a:pt x="376" y="793"/>
                      </a:cubicBezTo>
                      <a:cubicBezTo>
                        <a:pt x="376" y="794"/>
                        <a:pt x="377" y="795"/>
                        <a:pt x="376" y="795"/>
                      </a:cubicBezTo>
                      <a:cubicBezTo>
                        <a:pt x="373" y="798"/>
                        <a:pt x="368" y="800"/>
                        <a:pt x="362" y="800"/>
                      </a:cubicBezTo>
                      <a:cubicBezTo>
                        <a:pt x="359" y="799"/>
                        <a:pt x="322" y="774"/>
                        <a:pt x="323" y="770"/>
                      </a:cubicBezTo>
                      <a:cubicBezTo>
                        <a:pt x="325" y="766"/>
                        <a:pt x="331" y="766"/>
                        <a:pt x="334" y="763"/>
                      </a:cubicBezTo>
                      <a:cubicBezTo>
                        <a:pt x="338" y="760"/>
                        <a:pt x="329" y="754"/>
                        <a:pt x="329" y="749"/>
                      </a:cubicBezTo>
                      <a:cubicBezTo>
                        <a:pt x="329" y="734"/>
                        <a:pt x="369" y="756"/>
                        <a:pt x="370" y="756"/>
                      </a:cubicBezTo>
                      <a:cubicBezTo>
                        <a:pt x="375" y="755"/>
                        <a:pt x="379" y="751"/>
                        <a:pt x="383" y="751"/>
                      </a:cubicBezTo>
                      <a:cubicBezTo>
                        <a:pt x="385" y="751"/>
                        <a:pt x="385" y="753"/>
                        <a:pt x="386" y="755"/>
                      </a:cubicBezTo>
                      <a:cubicBezTo>
                        <a:pt x="386" y="754"/>
                        <a:pt x="386" y="754"/>
                        <a:pt x="386" y="754"/>
                      </a:cubicBezTo>
                      <a:cubicBezTo>
                        <a:pt x="392" y="748"/>
                        <a:pt x="421" y="759"/>
                        <a:pt x="425" y="756"/>
                      </a:cubicBezTo>
                      <a:cubicBezTo>
                        <a:pt x="429" y="755"/>
                        <a:pt x="427" y="748"/>
                        <a:pt x="430" y="746"/>
                      </a:cubicBezTo>
                      <a:cubicBezTo>
                        <a:pt x="435" y="742"/>
                        <a:pt x="443" y="752"/>
                        <a:pt x="454" y="746"/>
                      </a:cubicBezTo>
                      <a:cubicBezTo>
                        <a:pt x="458" y="743"/>
                        <a:pt x="447" y="738"/>
                        <a:pt x="445" y="733"/>
                      </a:cubicBezTo>
                      <a:cubicBezTo>
                        <a:pt x="444" y="732"/>
                        <a:pt x="446" y="731"/>
                        <a:pt x="446" y="730"/>
                      </a:cubicBezTo>
                      <a:cubicBezTo>
                        <a:pt x="443" y="720"/>
                        <a:pt x="411" y="709"/>
                        <a:pt x="403" y="699"/>
                      </a:cubicBezTo>
                      <a:cubicBezTo>
                        <a:pt x="391" y="685"/>
                        <a:pt x="404" y="677"/>
                        <a:pt x="408" y="663"/>
                      </a:cubicBezTo>
                      <a:cubicBezTo>
                        <a:pt x="410" y="658"/>
                        <a:pt x="407" y="652"/>
                        <a:pt x="410" y="647"/>
                      </a:cubicBezTo>
                      <a:cubicBezTo>
                        <a:pt x="415" y="637"/>
                        <a:pt x="424" y="633"/>
                        <a:pt x="428" y="621"/>
                      </a:cubicBezTo>
                      <a:cubicBezTo>
                        <a:pt x="429" y="618"/>
                        <a:pt x="428" y="590"/>
                        <a:pt x="430" y="589"/>
                      </a:cubicBezTo>
                      <a:cubicBezTo>
                        <a:pt x="433" y="588"/>
                        <a:pt x="438" y="588"/>
                        <a:pt x="442" y="588"/>
                      </a:cubicBezTo>
                      <a:cubicBezTo>
                        <a:pt x="450" y="589"/>
                        <a:pt x="443" y="594"/>
                        <a:pt x="444" y="594"/>
                      </a:cubicBezTo>
                      <a:cubicBezTo>
                        <a:pt x="462" y="585"/>
                        <a:pt x="450" y="579"/>
                        <a:pt x="467" y="586"/>
                      </a:cubicBezTo>
                      <a:cubicBezTo>
                        <a:pt x="471" y="587"/>
                        <a:pt x="476" y="586"/>
                        <a:pt x="479" y="588"/>
                      </a:cubicBezTo>
                      <a:cubicBezTo>
                        <a:pt x="481" y="588"/>
                        <a:pt x="481" y="590"/>
                        <a:pt x="480" y="591"/>
                      </a:cubicBezTo>
                      <a:cubicBezTo>
                        <a:pt x="481" y="590"/>
                        <a:pt x="483" y="589"/>
                        <a:pt x="485" y="589"/>
                      </a:cubicBezTo>
                      <a:cubicBezTo>
                        <a:pt x="494" y="590"/>
                        <a:pt x="497" y="606"/>
                        <a:pt x="506" y="605"/>
                      </a:cubicBezTo>
                      <a:cubicBezTo>
                        <a:pt x="507" y="605"/>
                        <a:pt x="502" y="601"/>
                        <a:pt x="491" y="585"/>
                      </a:cubicBezTo>
                      <a:cubicBezTo>
                        <a:pt x="482" y="572"/>
                        <a:pt x="489" y="561"/>
                        <a:pt x="485" y="547"/>
                      </a:cubicBezTo>
                      <a:cubicBezTo>
                        <a:pt x="485" y="546"/>
                        <a:pt x="484" y="549"/>
                        <a:pt x="482" y="549"/>
                      </a:cubicBezTo>
                      <a:cubicBezTo>
                        <a:pt x="480" y="547"/>
                        <a:pt x="477" y="545"/>
                        <a:pt x="475" y="542"/>
                      </a:cubicBezTo>
                      <a:cubicBezTo>
                        <a:pt x="475" y="541"/>
                        <a:pt x="476" y="539"/>
                        <a:pt x="476" y="538"/>
                      </a:cubicBezTo>
                      <a:cubicBezTo>
                        <a:pt x="476" y="536"/>
                        <a:pt x="475" y="533"/>
                        <a:pt x="474" y="532"/>
                      </a:cubicBezTo>
                      <a:cubicBezTo>
                        <a:pt x="470" y="529"/>
                        <a:pt x="458" y="521"/>
                        <a:pt x="455" y="520"/>
                      </a:cubicBezTo>
                      <a:cubicBezTo>
                        <a:pt x="451" y="520"/>
                        <a:pt x="447" y="524"/>
                        <a:pt x="443" y="523"/>
                      </a:cubicBezTo>
                      <a:cubicBezTo>
                        <a:pt x="438" y="522"/>
                        <a:pt x="435" y="503"/>
                        <a:pt x="435" y="499"/>
                      </a:cubicBezTo>
                      <a:cubicBezTo>
                        <a:pt x="433" y="489"/>
                        <a:pt x="435" y="488"/>
                        <a:pt x="435" y="488"/>
                      </a:cubicBezTo>
                      <a:cubicBezTo>
                        <a:pt x="433" y="485"/>
                        <a:pt x="425" y="475"/>
                        <a:pt x="424" y="471"/>
                      </a:cubicBezTo>
                      <a:cubicBezTo>
                        <a:pt x="424" y="467"/>
                        <a:pt x="428" y="463"/>
                        <a:pt x="426" y="459"/>
                      </a:cubicBezTo>
                      <a:cubicBezTo>
                        <a:pt x="426" y="457"/>
                        <a:pt x="424" y="465"/>
                        <a:pt x="422" y="464"/>
                      </a:cubicBezTo>
                      <a:cubicBezTo>
                        <a:pt x="414" y="462"/>
                        <a:pt x="425" y="448"/>
                        <a:pt x="395" y="442"/>
                      </a:cubicBezTo>
                      <a:cubicBezTo>
                        <a:pt x="394" y="442"/>
                        <a:pt x="372" y="438"/>
                        <a:pt x="378" y="433"/>
                      </a:cubicBezTo>
                      <a:cubicBezTo>
                        <a:pt x="385" y="428"/>
                        <a:pt x="393" y="434"/>
                        <a:pt x="400" y="434"/>
                      </a:cubicBezTo>
                      <a:cubicBezTo>
                        <a:pt x="406" y="434"/>
                        <a:pt x="421" y="418"/>
                        <a:pt x="426" y="416"/>
                      </a:cubicBezTo>
                      <a:cubicBezTo>
                        <a:pt x="433" y="413"/>
                        <a:pt x="441" y="411"/>
                        <a:pt x="447" y="412"/>
                      </a:cubicBezTo>
                      <a:cubicBezTo>
                        <a:pt x="448" y="412"/>
                        <a:pt x="447" y="414"/>
                        <a:pt x="447" y="415"/>
                      </a:cubicBezTo>
                      <a:cubicBezTo>
                        <a:pt x="449" y="417"/>
                        <a:pt x="452" y="420"/>
                        <a:pt x="455" y="421"/>
                      </a:cubicBezTo>
                      <a:cubicBezTo>
                        <a:pt x="467" y="426"/>
                        <a:pt x="484" y="427"/>
                        <a:pt x="491" y="442"/>
                      </a:cubicBezTo>
                      <a:cubicBezTo>
                        <a:pt x="491" y="442"/>
                        <a:pt x="481" y="449"/>
                        <a:pt x="478" y="452"/>
                      </a:cubicBezTo>
                      <a:cubicBezTo>
                        <a:pt x="475" y="456"/>
                        <a:pt x="460" y="465"/>
                        <a:pt x="462" y="470"/>
                      </a:cubicBezTo>
                      <a:cubicBezTo>
                        <a:pt x="462" y="471"/>
                        <a:pt x="464" y="470"/>
                        <a:pt x="464" y="471"/>
                      </a:cubicBezTo>
                      <a:cubicBezTo>
                        <a:pt x="465" y="472"/>
                        <a:pt x="467" y="474"/>
                        <a:pt x="467" y="476"/>
                      </a:cubicBezTo>
                      <a:cubicBezTo>
                        <a:pt x="467" y="482"/>
                        <a:pt x="456" y="489"/>
                        <a:pt x="467" y="498"/>
                      </a:cubicBezTo>
                      <a:cubicBezTo>
                        <a:pt x="472" y="503"/>
                        <a:pt x="485" y="498"/>
                        <a:pt x="491" y="500"/>
                      </a:cubicBezTo>
                      <a:cubicBezTo>
                        <a:pt x="496" y="502"/>
                        <a:pt x="508" y="520"/>
                        <a:pt x="515" y="516"/>
                      </a:cubicBezTo>
                      <a:cubicBezTo>
                        <a:pt x="520" y="514"/>
                        <a:pt x="523" y="501"/>
                        <a:pt x="527" y="505"/>
                      </a:cubicBezTo>
                      <a:cubicBezTo>
                        <a:pt x="529" y="507"/>
                        <a:pt x="525" y="513"/>
                        <a:pt x="527" y="516"/>
                      </a:cubicBezTo>
                      <a:cubicBezTo>
                        <a:pt x="529" y="518"/>
                        <a:pt x="528" y="510"/>
                        <a:pt x="529" y="507"/>
                      </a:cubicBezTo>
                      <a:cubicBezTo>
                        <a:pt x="533" y="501"/>
                        <a:pt x="538" y="494"/>
                        <a:pt x="545" y="489"/>
                      </a:cubicBezTo>
                      <a:cubicBezTo>
                        <a:pt x="546" y="488"/>
                        <a:pt x="549" y="491"/>
                        <a:pt x="551" y="489"/>
                      </a:cubicBezTo>
                      <a:cubicBezTo>
                        <a:pt x="553" y="486"/>
                        <a:pt x="541" y="469"/>
                        <a:pt x="540" y="468"/>
                      </a:cubicBezTo>
                      <a:cubicBezTo>
                        <a:pt x="537" y="463"/>
                        <a:pt x="538" y="452"/>
                        <a:pt x="536" y="448"/>
                      </a:cubicBezTo>
                      <a:cubicBezTo>
                        <a:pt x="532" y="440"/>
                        <a:pt x="523" y="443"/>
                        <a:pt x="528" y="434"/>
                      </a:cubicBezTo>
                      <a:cubicBezTo>
                        <a:pt x="529" y="432"/>
                        <a:pt x="533" y="438"/>
                        <a:pt x="533" y="436"/>
                      </a:cubicBezTo>
                      <a:cubicBezTo>
                        <a:pt x="534" y="433"/>
                        <a:pt x="532" y="430"/>
                        <a:pt x="532" y="428"/>
                      </a:cubicBezTo>
                      <a:cubicBezTo>
                        <a:pt x="533" y="425"/>
                        <a:pt x="538" y="426"/>
                        <a:pt x="540" y="424"/>
                      </a:cubicBezTo>
                      <a:cubicBezTo>
                        <a:pt x="541" y="423"/>
                        <a:pt x="539" y="420"/>
                        <a:pt x="541" y="419"/>
                      </a:cubicBezTo>
                      <a:cubicBezTo>
                        <a:pt x="545" y="417"/>
                        <a:pt x="550" y="420"/>
                        <a:pt x="554" y="417"/>
                      </a:cubicBezTo>
                      <a:cubicBezTo>
                        <a:pt x="558" y="415"/>
                        <a:pt x="545" y="419"/>
                        <a:pt x="542" y="417"/>
                      </a:cubicBezTo>
                      <a:cubicBezTo>
                        <a:pt x="540" y="415"/>
                        <a:pt x="541" y="411"/>
                        <a:pt x="538" y="410"/>
                      </a:cubicBezTo>
                      <a:cubicBezTo>
                        <a:pt x="536" y="408"/>
                        <a:pt x="531" y="409"/>
                        <a:pt x="529" y="407"/>
                      </a:cubicBezTo>
                      <a:cubicBezTo>
                        <a:pt x="528" y="405"/>
                        <a:pt x="534" y="409"/>
                        <a:pt x="537" y="408"/>
                      </a:cubicBezTo>
                      <a:cubicBezTo>
                        <a:pt x="541" y="407"/>
                        <a:pt x="544" y="404"/>
                        <a:pt x="547" y="401"/>
                      </a:cubicBezTo>
                      <a:cubicBezTo>
                        <a:pt x="551" y="396"/>
                        <a:pt x="551" y="381"/>
                        <a:pt x="555" y="376"/>
                      </a:cubicBezTo>
                      <a:cubicBezTo>
                        <a:pt x="556" y="374"/>
                        <a:pt x="554" y="380"/>
                        <a:pt x="554" y="382"/>
                      </a:cubicBezTo>
                      <a:cubicBezTo>
                        <a:pt x="555" y="383"/>
                        <a:pt x="556" y="381"/>
                        <a:pt x="556" y="379"/>
                      </a:cubicBezTo>
                      <a:cubicBezTo>
                        <a:pt x="557" y="369"/>
                        <a:pt x="557" y="357"/>
                        <a:pt x="559" y="346"/>
                      </a:cubicBezTo>
                      <a:cubicBezTo>
                        <a:pt x="560" y="344"/>
                        <a:pt x="565" y="345"/>
                        <a:pt x="567" y="343"/>
                      </a:cubicBezTo>
                      <a:cubicBezTo>
                        <a:pt x="568" y="339"/>
                        <a:pt x="568" y="335"/>
                        <a:pt x="570" y="332"/>
                      </a:cubicBezTo>
                      <a:cubicBezTo>
                        <a:pt x="571" y="331"/>
                        <a:pt x="573" y="331"/>
                        <a:pt x="573" y="330"/>
                      </a:cubicBezTo>
                      <a:cubicBezTo>
                        <a:pt x="574" y="329"/>
                        <a:pt x="571" y="328"/>
                        <a:pt x="571" y="326"/>
                      </a:cubicBezTo>
                      <a:cubicBezTo>
                        <a:pt x="572" y="325"/>
                        <a:pt x="575" y="325"/>
                        <a:pt x="575" y="323"/>
                      </a:cubicBezTo>
                      <a:cubicBezTo>
                        <a:pt x="577" y="320"/>
                        <a:pt x="576" y="313"/>
                        <a:pt x="580" y="310"/>
                      </a:cubicBezTo>
                      <a:cubicBezTo>
                        <a:pt x="588" y="304"/>
                        <a:pt x="589" y="327"/>
                        <a:pt x="594" y="326"/>
                      </a:cubicBezTo>
                      <a:cubicBezTo>
                        <a:pt x="599" y="326"/>
                        <a:pt x="597" y="317"/>
                        <a:pt x="597" y="313"/>
                      </a:cubicBezTo>
                      <a:cubicBezTo>
                        <a:pt x="598" y="312"/>
                        <a:pt x="598" y="309"/>
                        <a:pt x="597" y="309"/>
                      </a:cubicBezTo>
                      <a:cubicBezTo>
                        <a:pt x="593" y="307"/>
                        <a:pt x="589" y="308"/>
                        <a:pt x="585" y="306"/>
                      </a:cubicBezTo>
                      <a:cubicBezTo>
                        <a:pt x="584" y="305"/>
                        <a:pt x="587" y="299"/>
                        <a:pt x="585" y="300"/>
                      </a:cubicBezTo>
                      <a:cubicBezTo>
                        <a:pt x="584" y="301"/>
                        <a:pt x="584" y="303"/>
                        <a:pt x="583" y="305"/>
                      </a:cubicBezTo>
                      <a:cubicBezTo>
                        <a:pt x="583" y="305"/>
                        <a:pt x="584" y="306"/>
                        <a:pt x="584" y="308"/>
                      </a:cubicBezTo>
                      <a:cubicBezTo>
                        <a:pt x="583" y="308"/>
                        <a:pt x="581" y="309"/>
                        <a:pt x="581" y="308"/>
                      </a:cubicBezTo>
                      <a:cubicBezTo>
                        <a:pt x="577" y="295"/>
                        <a:pt x="595" y="258"/>
                        <a:pt x="605" y="249"/>
                      </a:cubicBezTo>
                      <a:cubicBezTo>
                        <a:pt x="606" y="248"/>
                        <a:pt x="608" y="247"/>
                        <a:pt x="609" y="248"/>
                      </a:cubicBezTo>
                      <a:cubicBezTo>
                        <a:pt x="609" y="250"/>
                        <a:pt x="607" y="252"/>
                        <a:pt x="606" y="254"/>
                      </a:cubicBezTo>
                      <a:cubicBezTo>
                        <a:pt x="606" y="254"/>
                        <a:pt x="593" y="268"/>
                        <a:pt x="594" y="269"/>
                      </a:cubicBezTo>
                      <a:cubicBezTo>
                        <a:pt x="597" y="271"/>
                        <a:pt x="601" y="265"/>
                        <a:pt x="605" y="265"/>
                      </a:cubicBezTo>
                      <a:cubicBezTo>
                        <a:pt x="606" y="266"/>
                        <a:pt x="604" y="269"/>
                        <a:pt x="604" y="271"/>
                      </a:cubicBezTo>
                      <a:cubicBezTo>
                        <a:pt x="605" y="275"/>
                        <a:pt x="606" y="279"/>
                        <a:pt x="608" y="282"/>
                      </a:cubicBezTo>
                      <a:cubicBezTo>
                        <a:pt x="613" y="286"/>
                        <a:pt x="622" y="287"/>
                        <a:pt x="625" y="292"/>
                      </a:cubicBezTo>
                      <a:cubicBezTo>
                        <a:pt x="629" y="300"/>
                        <a:pt x="598" y="313"/>
                        <a:pt x="620" y="313"/>
                      </a:cubicBezTo>
                      <a:cubicBezTo>
                        <a:pt x="624" y="313"/>
                        <a:pt x="624" y="308"/>
                        <a:pt x="627" y="305"/>
                      </a:cubicBezTo>
                      <a:cubicBezTo>
                        <a:pt x="630" y="304"/>
                        <a:pt x="634" y="305"/>
                        <a:pt x="635" y="303"/>
                      </a:cubicBezTo>
                      <a:cubicBezTo>
                        <a:pt x="637" y="300"/>
                        <a:pt x="632" y="295"/>
                        <a:pt x="635" y="293"/>
                      </a:cubicBezTo>
                      <a:cubicBezTo>
                        <a:pt x="637" y="292"/>
                        <a:pt x="638" y="301"/>
                        <a:pt x="640" y="300"/>
                      </a:cubicBezTo>
                      <a:cubicBezTo>
                        <a:pt x="644" y="298"/>
                        <a:pt x="639" y="291"/>
                        <a:pt x="642" y="289"/>
                      </a:cubicBezTo>
                      <a:cubicBezTo>
                        <a:pt x="646" y="287"/>
                        <a:pt x="651" y="293"/>
                        <a:pt x="655" y="291"/>
                      </a:cubicBezTo>
                      <a:cubicBezTo>
                        <a:pt x="657" y="291"/>
                        <a:pt x="646" y="278"/>
                        <a:pt x="646" y="276"/>
                      </a:cubicBezTo>
                      <a:cubicBezTo>
                        <a:pt x="642" y="263"/>
                        <a:pt x="649" y="262"/>
                        <a:pt x="653" y="253"/>
                      </a:cubicBezTo>
                      <a:cubicBezTo>
                        <a:pt x="654" y="250"/>
                        <a:pt x="652" y="246"/>
                        <a:pt x="653" y="243"/>
                      </a:cubicBezTo>
                      <a:cubicBezTo>
                        <a:pt x="654" y="241"/>
                        <a:pt x="657" y="242"/>
                        <a:pt x="658" y="242"/>
                      </a:cubicBezTo>
                      <a:cubicBezTo>
                        <a:pt x="673" y="238"/>
                        <a:pt x="663" y="236"/>
                        <a:pt x="669" y="233"/>
                      </a:cubicBezTo>
                      <a:cubicBezTo>
                        <a:pt x="671" y="232"/>
                        <a:pt x="674" y="234"/>
                        <a:pt x="677" y="233"/>
                      </a:cubicBezTo>
                      <a:cubicBezTo>
                        <a:pt x="680" y="231"/>
                        <a:pt x="683" y="229"/>
                        <a:pt x="686" y="226"/>
                      </a:cubicBezTo>
                      <a:cubicBezTo>
                        <a:pt x="689" y="222"/>
                        <a:pt x="682" y="216"/>
                        <a:pt x="682" y="211"/>
                      </a:cubicBezTo>
                      <a:cubicBezTo>
                        <a:pt x="682" y="208"/>
                        <a:pt x="687" y="207"/>
                        <a:pt x="687" y="204"/>
                      </a:cubicBezTo>
                      <a:cubicBezTo>
                        <a:pt x="688" y="200"/>
                        <a:pt x="683" y="193"/>
                        <a:pt x="687" y="191"/>
                      </a:cubicBezTo>
                      <a:cubicBezTo>
                        <a:pt x="690" y="188"/>
                        <a:pt x="698" y="200"/>
                        <a:pt x="698" y="196"/>
                      </a:cubicBezTo>
                      <a:cubicBezTo>
                        <a:pt x="698" y="192"/>
                        <a:pt x="689" y="193"/>
                        <a:pt x="687" y="189"/>
                      </a:cubicBezTo>
                      <a:cubicBezTo>
                        <a:pt x="686" y="188"/>
                        <a:pt x="692" y="174"/>
                        <a:pt x="693" y="172"/>
                      </a:cubicBezTo>
                      <a:cubicBezTo>
                        <a:pt x="695" y="171"/>
                        <a:pt x="695" y="176"/>
                        <a:pt x="696" y="176"/>
                      </a:cubicBezTo>
                      <a:cubicBezTo>
                        <a:pt x="698" y="177"/>
                        <a:pt x="700" y="175"/>
                        <a:pt x="702" y="175"/>
                      </a:cubicBezTo>
                      <a:cubicBezTo>
                        <a:pt x="731" y="174"/>
                        <a:pt x="709" y="180"/>
                        <a:pt x="717" y="191"/>
                      </a:cubicBezTo>
                      <a:cubicBezTo>
                        <a:pt x="725" y="202"/>
                        <a:pt x="725" y="202"/>
                        <a:pt x="735" y="198"/>
                      </a:cubicBezTo>
                      <a:cubicBezTo>
                        <a:pt x="738" y="196"/>
                        <a:pt x="742" y="198"/>
                        <a:pt x="743" y="195"/>
                      </a:cubicBezTo>
                      <a:cubicBezTo>
                        <a:pt x="752" y="175"/>
                        <a:pt x="731" y="185"/>
                        <a:pt x="727" y="173"/>
                      </a:cubicBezTo>
                      <a:cubicBezTo>
                        <a:pt x="726" y="170"/>
                        <a:pt x="735" y="163"/>
                        <a:pt x="738" y="159"/>
                      </a:cubicBezTo>
                      <a:cubicBezTo>
                        <a:pt x="740" y="153"/>
                        <a:pt x="735" y="146"/>
                        <a:pt x="736" y="140"/>
                      </a:cubicBezTo>
                      <a:cubicBezTo>
                        <a:pt x="738" y="133"/>
                        <a:pt x="693" y="124"/>
                        <a:pt x="685" y="120"/>
                      </a:cubicBezTo>
                      <a:cubicBezTo>
                        <a:pt x="677" y="115"/>
                        <a:pt x="687" y="111"/>
                        <a:pt x="689" y="105"/>
                      </a:cubicBezTo>
                      <a:cubicBezTo>
                        <a:pt x="691" y="100"/>
                        <a:pt x="682" y="96"/>
                        <a:pt x="682" y="91"/>
                      </a:cubicBezTo>
                      <a:cubicBezTo>
                        <a:pt x="682" y="88"/>
                        <a:pt x="700" y="84"/>
                        <a:pt x="700" y="84"/>
                      </a:cubicBezTo>
                      <a:cubicBezTo>
                        <a:pt x="712" y="76"/>
                        <a:pt x="722" y="62"/>
                        <a:pt x="736" y="55"/>
                      </a:cubicBezTo>
                      <a:cubicBezTo>
                        <a:pt x="751" y="48"/>
                        <a:pt x="767" y="43"/>
                        <a:pt x="783" y="42"/>
                      </a:cubicBezTo>
                      <a:cubicBezTo>
                        <a:pt x="784" y="42"/>
                        <a:pt x="786" y="43"/>
                        <a:pt x="787" y="43"/>
                      </a:cubicBezTo>
                      <a:cubicBezTo>
                        <a:pt x="790" y="43"/>
                        <a:pt x="794" y="42"/>
                        <a:pt x="797" y="41"/>
                      </a:cubicBezTo>
                      <a:cubicBezTo>
                        <a:pt x="801" y="39"/>
                        <a:pt x="804" y="36"/>
                        <a:pt x="808" y="34"/>
                      </a:cubicBezTo>
                      <a:cubicBezTo>
                        <a:pt x="815" y="31"/>
                        <a:pt x="798" y="39"/>
                        <a:pt x="808" y="40"/>
                      </a:cubicBezTo>
                      <a:cubicBezTo>
                        <a:pt x="812" y="39"/>
                        <a:pt x="815" y="36"/>
                        <a:pt x="818" y="34"/>
                      </a:cubicBezTo>
                      <a:cubicBezTo>
                        <a:pt x="823" y="32"/>
                        <a:pt x="829" y="33"/>
                        <a:pt x="834" y="31"/>
                      </a:cubicBezTo>
                      <a:cubicBezTo>
                        <a:pt x="836" y="30"/>
                        <a:pt x="842" y="22"/>
                        <a:pt x="845" y="22"/>
                      </a:cubicBezTo>
                      <a:cubicBezTo>
                        <a:pt x="847" y="22"/>
                        <a:pt x="846" y="26"/>
                        <a:pt x="847" y="26"/>
                      </a:cubicBezTo>
                      <a:cubicBezTo>
                        <a:pt x="854" y="30"/>
                        <a:pt x="863" y="25"/>
                        <a:pt x="870" y="25"/>
                      </a:cubicBezTo>
                      <a:cubicBezTo>
                        <a:pt x="872" y="24"/>
                        <a:pt x="875" y="24"/>
                        <a:pt x="877" y="25"/>
                      </a:cubicBezTo>
                      <a:cubicBezTo>
                        <a:pt x="879" y="25"/>
                        <a:pt x="875" y="25"/>
                        <a:pt x="875" y="26"/>
                      </a:cubicBezTo>
                      <a:cubicBezTo>
                        <a:pt x="876" y="27"/>
                        <a:pt x="877" y="26"/>
                        <a:pt x="879" y="26"/>
                      </a:cubicBezTo>
                      <a:cubicBezTo>
                        <a:pt x="882" y="25"/>
                        <a:pt x="885" y="21"/>
                        <a:pt x="889" y="21"/>
                      </a:cubicBezTo>
                      <a:cubicBezTo>
                        <a:pt x="892" y="21"/>
                        <a:pt x="894" y="26"/>
                        <a:pt x="897" y="25"/>
                      </a:cubicBezTo>
                      <a:cubicBezTo>
                        <a:pt x="900" y="24"/>
                        <a:pt x="902" y="20"/>
                        <a:pt x="902" y="16"/>
                      </a:cubicBezTo>
                      <a:cubicBezTo>
                        <a:pt x="902" y="14"/>
                        <a:pt x="899" y="16"/>
                        <a:pt x="898" y="15"/>
                      </a:cubicBezTo>
                      <a:cubicBezTo>
                        <a:pt x="895" y="13"/>
                        <a:pt x="895" y="9"/>
                        <a:pt x="893" y="6"/>
                      </a:cubicBezTo>
                      <a:cubicBezTo>
                        <a:pt x="893" y="5"/>
                        <a:pt x="892" y="3"/>
                        <a:pt x="890" y="0"/>
                      </a:cubicBezTo>
                      <a:cubicBezTo>
                        <a:pt x="1032" y="0"/>
                        <a:pt x="1032" y="0"/>
                        <a:pt x="1032" y="0"/>
                      </a:cubicBezTo>
                      <a:cubicBezTo>
                        <a:pt x="1035" y="3"/>
                        <a:pt x="1037" y="4"/>
                        <a:pt x="1036" y="7"/>
                      </a:cubicBezTo>
                      <a:cubicBezTo>
                        <a:pt x="1034" y="11"/>
                        <a:pt x="1031" y="15"/>
                        <a:pt x="1030" y="19"/>
                      </a:cubicBezTo>
                      <a:cubicBezTo>
                        <a:pt x="1029" y="20"/>
                        <a:pt x="1032" y="17"/>
                        <a:pt x="1034" y="17"/>
                      </a:cubicBezTo>
                      <a:cubicBezTo>
                        <a:pt x="1037" y="17"/>
                        <a:pt x="1051" y="23"/>
                        <a:pt x="1052" y="26"/>
                      </a:cubicBezTo>
                      <a:cubicBezTo>
                        <a:pt x="1053" y="28"/>
                        <a:pt x="1052" y="31"/>
                        <a:pt x="1050" y="32"/>
                      </a:cubicBezTo>
                      <a:cubicBezTo>
                        <a:pt x="1049" y="33"/>
                        <a:pt x="1048" y="29"/>
                        <a:pt x="1047" y="29"/>
                      </a:cubicBezTo>
                      <a:cubicBezTo>
                        <a:pt x="1046" y="29"/>
                        <a:pt x="1049" y="31"/>
                        <a:pt x="1049" y="32"/>
                      </a:cubicBezTo>
                      <a:cubicBezTo>
                        <a:pt x="1048" y="33"/>
                        <a:pt x="1046" y="34"/>
                        <a:pt x="1046" y="35"/>
                      </a:cubicBezTo>
                      <a:cubicBezTo>
                        <a:pt x="1046" y="37"/>
                        <a:pt x="1049" y="34"/>
                        <a:pt x="1049" y="35"/>
                      </a:cubicBezTo>
                      <a:cubicBezTo>
                        <a:pt x="1049" y="37"/>
                        <a:pt x="1046" y="37"/>
                        <a:pt x="1045" y="39"/>
                      </a:cubicBezTo>
                      <a:cubicBezTo>
                        <a:pt x="1045" y="39"/>
                        <a:pt x="1047" y="40"/>
                        <a:pt x="1047" y="41"/>
                      </a:cubicBezTo>
                      <a:cubicBezTo>
                        <a:pt x="1048" y="45"/>
                        <a:pt x="1050" y="50"/>
                        <a:pt x="1048" y="53"/>
                      </a:cubicBezTo>
                      <a:cubicBezTo>
                        <a:pt x="1045" y="58"/>
                        <a:pt x="1038" y="60"/>
                        <a:pt x="1034" y="58"/>
                      </a:cubicBezTo>
                      <a:cubicBezTo>
                        <a:pt x="1033" y="58"/>
                        <a:pt x="1032" y="56"/>
                        <a:pt x="1032" y="55"/>
                      </a:cubicBezTo>
                      <a:cubicBezTo>
                        <a:pt x="1032" y="55"/>
                        <a:pt x="1034" y="54"/>
                        <a:pt x="1034" y="54"/>
                      </a:cubicBezTo>
                      <a:cubicBezTo>
                        <a:pt x="1034" y="50"/>
                        <a:pt x="1037" y="41"/>
                        <a:pt x="1032" y="41"/>
                      </a:cubicBezTo>
                      <a:cubicBezTo>
                        <a:pt x="1028" y="42"/>
                        <a:pt x="1033" y="51"/>
                        <a:pt x="1030" y="54"/>
                      </a:cubicBezTo>
                      <a:cubicBezTo>
                        <a:pt x="1027" y="57"/>
                        <a:pt x="1022" y="56"/>
                        <a:pt x="1017" y="56"/>
                      </a:cubicBezTo>
                      <a:cubicBezTo>
                        <a:pt x="1015" y="56"/>
                        <a:pt x="1014" y="55"/>
                        <a:pt x="1012" y="55"/>
                      </a:cubicBezTo>
                      <a:cubicBezTo>
                        <a:pt x="1010" y="55"/>
                        <a:pt x="1014" y="59"/>
                        <a:pt x="1013" y="60"/>
                      </a:cubicBezTo>
                      <a:cubicBezTo>
                        <a:pt x="1012" y="62"/>
                        <a:pt x="1009" y="62"/>
                        <a:pt x="1009" y="64"/>
                      </a:cubicBezTo>
                      <a:cubicBezTo>
                        <a:pt x="1008" y="65"/>
                        <a:pt x="1013" y="65"/>
                        <a:pt x="1012" y="66"/>
                      </a:cubicBezTo>
                      <a:cubicBezTo>
                        <a:pt x="1004" y="77"/>
                        <a:pt x="1002" y="52"/>
                        <a:pt x="1000" y="80"/>
                      </a:cubicBezTo>
                      <a:cubicBezTo>
                        <a:pt x="1000" y="81"/>
                        <a:pt x="1004" y="77"/>
                        <a:pt x="1005" y="78"/>
                      </a:cubicBezTo>
                      <a:cubicBezTo>
                        <a:pt x="1017" y="82"/>
                        <a:pt x="1011" y="90"/>
                        <a:pt x="1026" y="84"/>
                      </a:cubicBezTo>
                      <a:cubicBezTo>
                        <a:pt x="1028" y="83"/>
                        <a:pt x="1051" y="70"/>
                        <a:pt x="1053" y="68"/>
                      </a:cubicBezTo>
                      <a:cubicBezTo>
                        <a:pt x="1059" y="62"/>
                        <a:pt x="1060" y="52"/>
                        <a:pt x="1066" y="45"/>
                      </a:cubicBezTo>
                      <a:cubicBezTo>
                        <a:pt x="1071" y="39"/>
                        <a:pt x="1082" y="41"/>
                        <a:pt x="1087" y="35"/>
                      </a:cubicBezTo>
                      <a:cubicBezTo>
                        <a:pt x="1098" y="21"/>
                        <a:pt x="1072" y="16"/>
                        <a:pt x="1070" y="7"/>
                      </a:cubicBezTo>
                      <a:cubicBezTo>
                        <a:pt x="1069" y="5"/>
                        <a:pt x="1070" y="3"/>
                        <a:pt x="1071" y="0"/>
                      </a:cubicBezTo>
                      <a:cubicBezTo>
                        <a:pt x="1825" y="0"/>
                        <a:pt x="1825" y="0"/>
                        <a:pt x="1825" y="0"/>
                      </a:cubicBezTo>
                      <a:cubicBezTo>
                        <a:pt x="1825" y="596"/>
                        <a:pt x="1825" y="596"/>
                        <a:pt x="1825" y="596"/>
                      </a:cubicBezTo>
                      <a:cubicBezTo>
                        <a:pt x="1821" y="596"/>
                        <a:pt x="1815" y="593"/>
                        <a:pt x="1810" y="603"/>
                      </a:cubicBezTo>
                      <a:cubicBezTo>
                        <a:pt x="1809" y="605"/>
                        <a:pt x="1817" y="608"/>
                        <a:pt x="1815" y="614"/>
                      </a:cubicBezTo>
                      <a:cubicBezTo>
                        <a:pt x="1811" y="627"/>
                        <a:pt x="1804" y="606"/>
                        <a:pt x="1801" y="619"/>
                      </a:cubicBezTo>
                      <a:cubicBezTo>
                        <a:pt x="1800" y="623"/>
                        <a:pt x="1808" y="629"/>
                        <a:pt x="1804" y="631"/>
                      </a:cubicBezTo>
                      <a:cubicBezTo>
                        <a:pt x="1802" y="631"/>
                        <a:pt x="1785" y="627"/>
                        <a:pt x="1786" y="625"/>
                      </a:cubicBezTo>
                      <a:cubicBezTo>
                        <a:pt x="1787" y="622"/>
                        <a:pt x="1790" y="621"/>
                        <a:pt x="1791" y="618"/>
                      </a:cubicBezTo>
                      <a:cubicBezTo>
                        <a:pt x="1792" y="615"/>
                        <a:pt x="1783" y="617"/>
                        <a:pt x="1775" y="606"/>
                      </a:cubicBezTo>
                      <a:cubicBezTo>
                        <a:pt x="1769" y="599"/>
                        <a:pt x="1782" y="602"/>
                        <a:pt x="1772" y="598"/>
                      </a:cubicBezTo>
                      <a:cubicBezTo>
                        <a:pt x="1766" y="595"/>
                        <a:pt x="1765" y="608"/>
                        <a:pt x="1752" y="598"/>
                      </a:cubicBezTo>
                      <a:cubicBezTo>
                        <a:pt x="1752" y="598"/>
                        <a:pt x="1745" y="588"/>
                        <a:pt x="1741" y="588"/>
                      </a:cubicBezTo>
                      <a:cubicBezTo>
                        <a:pt x="1736" y="587"/>
                        <a:pt x="1732" y="588"/>
                        <a:pt x="1728" y="586"/>
                      </a:cubicBezTo>
                      <a:cubicBezTo>
                        <a:pt x="1727" y="586"/>
                        <a:pt x="1726" y="578"/>
                        <a:pt x="1723" y="583"/>
                      </a:cubicBezTo>
                      <a:cubicBezTo>
                        <a:pt x="1718" y="594"/>
                        <a:pt x="1718" y="596"/>
                        <a:pt x="1719" y="606"/>
                      </a:cubicBezTo>
                      <a:cubicBezTo>
                        <a:pt x="1719" y="608"/>
                        <a:pt x="1722" y="610"/>
                        <a:pt x="1720" y="611"/>
                      </a:cubicBezTo>
                      <a:cubicBezTo>
                        <a:pt x="1712" y="619"/>
                        <a:pt x="1703" y="613"/>
                        <a:pt x="1694" y="618"/>
                      </a:cubicBezTo>
                      <a:cubicBezTo>
                        <a:pt x="1663" y="637"/>
                        <a:pt x="1701" y="618"/>
                        <a:pt x="1681" y="634"/>
                      </a:cubicBezTo>
                      <a:cubicBezTo>
                        <a:pt x="1680" y="635"/>
                        <a:pt x="1679" y="632"/>
                        <a:pt x="1678" y="632"/>
                      </a:cubicBezTo>
                      <a:cubicBezTo>
                        <a:pt x="1675" y="633"/>
                        <a:pt x="1672" y="634"/>
                        <a:pt x="1670" y="636"/>
                      </a:cubicBezTo>
                      <a:cubicBezTo>
                        <a:pt x="1667" y="639"/>
                        <a:pt x="1680" y="642"/>
                        <a:pt x="1680" y="644"/>
                      </a:cubicBezTo>
                      <a:cubicBezTo>
                        <a:pt x="1681" y="645"/>
                        <a:pt x="1676" y="643"/>
                        <a:pt x="1673" y="644"/>
                      </a:cubicBezTo>
                      <a:cubicBezTo>
                        <a:pt x="1671" y="644"/>
                        <a:pt x="1670" y="647"/>
                        <a:pt x="1668" y="648"/>
                      </a:cubicBezTo>
                      <a:cubicBezTo>
                        <a:pt x="1665" y="651"/>
                        <a:pt x="1675" y="656"/>
                        <a:pt x="1675" y="660"/>
                      </a:cubicBezTo>
                      <a:cubicBezTo>
                        <a:pt x="1676" y="666"/>
                        <a:pt x="1666" y="669"/>
                        <a:pt x="1666" y="674"/>
                      </a:cubicBezTo>
                      <a:cubicBezTo>
                        <a:pt x="1666" y="676"/>
                        <a:pt x="1667" y="677"/>
                        <a:pt x="1669" y="677"/>
                      </a:cubicBezTo>
                      <a:cubicBezTo>
                        <a:pt x="1675" y="677"/>
                        <a:pt x="1679" y="676"/>
                        <a:pt x="1677" y="686"/>
                      </a:cubicBezTo>
                      <a:cubicBezTo>
                        <a:pt x="1677" y="696"/>
                        <a:pt x="1668" y="690"/>
                        <a:pt x="1668" y="697"/>
                      </a:cubicBezTo>
                      <a:cubicBezTo>
                        <a:pt x="1668" y="719"/>
                        <a:pt x="1667" y="703"/>
                        <a:pt x="1659" y="720"/>
                      </a:cubicBezTo>
                      <a:cubicBezTo>
                        <a:pt x="1659" y="721"/>
                        <a:pt x="1662" y="723"/>
                        <a:pt x="1662" y="725"/>
                      </a:cubicBezTo>
                      <a:cubicBezTo>
                        <a:pt x="1660" y="733"/>
                        <a:pt x="1651" y="744"/>
                        <a:pt x="1647" y="752"/>
                      </a:cubicBezTo>
                      <a:cubicBezTo>
                        <a:pt x="1645" y="758"/>
                        <a:pt x="1641" y="764"/>
                        <a:pt x="1638" y="769"/>
                      </a:cubicBezTo>
                      <a:cubicBezTo>
                        <a:pt x="1638" y="771"/>
                        <a:pt x="1639" y="774"/>
                        <a:pt x="1637" y="775"/>
                      </a:cubicBezTo>
                      <a:cubicBezTo>
                        <a:pt x="1634" y="775"/>
                        <a:pt x="1634" y="770"/>
                        <a:pt x="1631" y="770"/>
                      </a:cubicBezTo>
                      <a:cubicBezTo>
                        <a:pt x="1627" y="770"/>
                        <a:pt x="1633" y="779"/>
                        <a:pt x="1632" y="783"/>
                      </a:cubicBezTo>
                      <a:cubicBezTo>
                        <a:pt x="1630" y="786"/>
                        <a:pt x="1625" y="787"/>
                        <a:pt x="1623" y="789"/>
                      </a:cubicBezTo>
                      <a:cubicBezTo>
                        <a:pt x="1621" y="790"/>
                        <a:pt x="1626" y="791"/>
                        <a:pt x="1626" y="793"/>
                      </a:cubicBezTo>
                      <a:cubicBezTo>
                        <a:pt x="1625" y="798"/>
                        <a:pt x="1617" y="798"/>
                        <a:pt x="1621" y="804"/>
                      </a:cubicBezTo>
                      <a:cubicBezTo>
                        <a:pt x="1624" y="808"/>
                        <a:pt x="1633" y="810"/>
                        <a:pt x="1632" y="815"/>
                      </a:cubicBezTo>
                      <a:cubicBezTo>
                        <a:pt x="1629" y="822"/>
                        <a:pt x="1625" y="817"/>
                        <a:pt x="1620" y="818"/>
                      </a:cubicBezTo>
                      <a:cubicBezTo>
                        <a:pt x="1614" y="819"/>
                        <a:pt x="1620" y="830"/>
                        <a:pt x="1611" y="831"/>
                      </a:cubicBezTo>
                      <a:cubicBezTo>
                        <a:pt x="1610" y="831"/>
                        <a:pt x="1610" y="829"/>
                        <a:pt x="1610" y="830"/>
                      </a:cubicBezTo>
                      <a:cubicBezTo>
                        <a:pt x="1607" y="838"/>
                        <a:pt x="1601" y="846"/>
                        <a:pt x="1597" y="854"/>
                      </a:cubicBezTo>
                      <a:cubicBezTo>
                        <a:pt x="1596" y="857"/>
                        <a:pt x="1610" y="855"/>
                        <a:pt x="1600" y="863"/>
                      </a:cubicBezTo>
                      <a:cubicBezTo>
                        <a:pt x="1598" y="864"/>
                        <a:pt x="1594" y="862"/>
                        <a:pt x="1591" y="864"/>
                      </a:cubicBezTo>
                      <a:cubicBezTo>
                        <a:pt x="1587" y="868"/>
                        <a:pt x="1590" y="875"/>
                        <a:pt x="1587" y="880"/>
                      </a:cubicBezTo>
                      <a:cubicBezTo>
                        <a:pt x="1586" y="881"/>
                        <a:pt x="1585" y="880"/>
                        <a:pt x="1584" y="881"/>
                      </a:cubicBezTo>
                      <a:cubicBezTo>
                        <a:pt x="1582" y="883"/>
                        <a:pt x="1580" y="885"/>
                        <a:pt x="1579" y="888"/>
                      </a:cubicBezTo>
                      <a:cubicBezTo>
                        <a:pt x="1578" y="889"/>
                        <a:pt x="1583" y="890"/>
                        <a:pt x="1582" y="892"/>
                      </a:cubicBezTo>
                      <a:cubicBezTo>
                        <a:pt x="1580" y="898"/>
                        <a:pt x="1565" y="905"/>
                        <a:pt x="1569" y="912"/>
                      </a:cubicBezTo>
                      <a:cubicBezTo>
                        <a:pt x="1570" y="915"/>
                        <a:pt x="1576" y="918"/>
                        <a:pt x="1577" y="921"/>
                      </a:cubicBezTo>
                      <a:cubicBezTo>
                        <a:pt x="1578" y="924"/>
                        <a:pt x="1570" y="923"/>
                        <a:pt x="1568" y="922"/>
                      </a:cubicBezTo>
                      <a:cubicBezTo>
                        <a:pt x="1566" y="920"/>
                        <a:pt x="1567" y="915"/>
                        <a:pt x="1565" y="916"/>
                      </a:cubicBezTo>
                      <a:cubicBezTo>
                        <a:pt x="1560" y="919"/>
                        <a:pt x="1553" y="923"/>
                        <a:pt x="1552" y="929"/>
                      </a:cubicBezTo>
                      <a:cubicBezTo>
                        <a:pt x="1552" y="932"/>
                        <a:pt x="1558" y="932"/>
                        <a:pt x="1558" y="935"/>
                      </a:cubicBezTo>
                      <a:cubicBezTo>
                        <a:pt x="1558" y="937"/>
                        <a:pt x="1554" y="939"/>
                        <a:pt x="1552" y="939"/>
                      </a:cubicBezTo>
                      <a:cubicBezTo>
                        <a:pt x="1550" y="939"/>
                        <a:pt x="1550" y="936"/>
                        <a:pt x="1548" y="937"/>
                      </a:cubicBezTo>
                      <a:cubicBezTo>
                        <a:pt x="1544" y="939"/>
                        <a:pt x="1544" y="946"/>
                        <a:pt x="1543" y="946"/>
                      </a:cubicBezTo>
                      <a:cubicBezTo>
                        <a:pt x="1541" y="946"/>
                        <a:pt x="1535" y="944"/>
                        <a:pt x="1534" y="944"/>
                      </a:cubicBezTo>
                      <a:cubicBezTo>
                        <a:pt x="1522" y="947"/>
                        <a:pt x="1535" y="960"/>
                        <a:pt x="1533" y="961"/>
                      </a:cubicBezTo>
                      <a:cubicBezTo>
                        <a:pt x="1527" y="963"/>
                        <a:pt x="1531" y="949"/>
                        <a:pt x="1526" y="963"/>
                      </a:cubicBezTo>
                      <a:cubicBezTo>
                        <a:pt x="1523" y="974"/>
                        <a:pt x="1539" y="959"/>
                        <a:pt x="1540" y="967"/>
                      </a:cubicBezTo>
                      <a:cubicBezTo>
                        <a:pt x="1540" y="970"/>
                        <a:pt x="1539" y="974"/>
                        <a:pt x="1540" y="977"/>
                      </a:cubicBezTo>
                      <a:cubicBezTo>
                        <a:pt x="1540" y="978"/>
                        <a:pt x="1543" y="979"/>
                        <a:pt x="1543" y="980"/>
                      </a:cubicBezTo>
                      <a:cubicBezTo>
                        <a:pt x="1542" y="982"/>
                        <a:pt x="1537" y="987"/>
                        <a:pt x="1539" y="987"/>
                      </a:cubicBezTo>
                      <a:cubicBezTo>
                        <a:pt x="1539" y="987"/>
                        <a:pt x="1556" y="977"/>
                        <a:pt x="1556" y="977"/>
                      </a:cubicBezTo>
                      <a:cubicBezTo>
                        <a:pt x="1557" y="976"/>
                        <a:pt x="1555" y="974"/>
                        <a:pt x="1555" y="972"/>
                      </a:cubicBezTo>
                      <a:cubicBezTo>
                        <a:pt x="1556" y="970"/>
                        <a:pt x="1563" y="964"/>
                        <a:pt x="1565" y="972"/>
                      </a:cubicBezTo>
                      <a:cubicBezTo>
                        <a:pt x="1566" y="975"/>
                        <a:pt x="1565" y="979"/>
                        <a:pt x="1563" y="981"/>
                      </a:cubicBezTo>
                      <a:cubicBezTo>
                        <a:pt x="1561" y="983"/>
                        <a:pt x="1559" y="979"/>
                        <a:pt x="1557" y="980"/>
                      </a:cubicBezTo>
                      <a:cubicBezTo>
                        <a:pt x="1552" y="981"/>
                        <a:pt x="1558" y="995"/>
                        <a:pt x="1563" y="996"/>
                      </a:cubicBezTo>
                      <a:cubicBezTo>
                        <a:pt x="1572" y="999"/>
                        <a:pt x="1580" y="985"/>
                        <a:pt x="1582" y="984"/>
                      </a:cubicBezTo>
                      <a:cubicBezTo>
                        <a:pt x="1585" y="983"/>
                        <a:pt x="1587" y="985"/>
                        <a:pt x="1590" y="984"/>
                      </a:cubicBezTo>
                      <a:cubicBezTo>
                        <a:pt x="1593" y="984"/>
                        <a:pt x="1601" y="974"/>
                        <a:pt x="1606" y="980"/>
                      </a:cubicBezTo>
                      <a:cubicBezTo>
                        <a:pt x="1615" y="992"/>
                        <a:pt x="1604" y="992"/>
                        <a:pt x="1600" y="994"/>
                      </a:cubicBezTo>
                      <a:cubicBezTo>
                        <a:pt x="1598" y="996"/>
                        <a:pt x="1598" y="1001"/>
                        <a:pt x="1595" y="1003"/>
                      </a:cubicBezTo>
                      <a:cubicBezTo>
                        <a:pt x="1593" y="1005"/>
                        <a:pt x="1589" y="1001"/>
                        <a:pt x="1586" y="1003"/>
                      </a:cubicBezTo>
                      <a:cubicBezTo>
                        <a:pt x="1583" y="1005"/>
                        <a:pt x="1582" y="1009"/>
                        <a:pt x="1580" y="1011"/>
                      </a:cubicBezTo>
                      <a:cubicBezTo>
                        <a:pt x="1578" y="1014"/>
                        <a:pt x="1574" y="1017"/>
                        <a:pt x="1574" y="1020"/>
                      </a:cubicBezTo>
                      <a:cubicBezTo>
                        <a:pt x="1573" y="1022"/>
                        <a:pt x="1578" y="1019"/>
                        <a:pt x="1579" y="1021"/>
                      </a:cubicBezTo>
                      <a:cubicBezTo>
                        <a:pt x="1583" y="1024"/>
                        <a:pt x="1571" y="1047"/>
                        <a:pt x="1580" y="1047"/>
                      </a:cubicBezTo>
                      <a:cubicBezTo>
                        <a:pt x="1582" y="1048"/>
                        <a:pt x="1583" y="1044"/>
                        <a:pt x="1586" y="1045"/>
                      </a:cubicBezTo>
                      <a:cubicBezTo>
                        <a:pt x="1588" y="1046"/>
                        <a:pt x="1588" y="1050"/>
                        <a:pt x="1591" y="1051"/>
                      </a:cubicBezTo>
                      <a:cubicBezTo>
                        <a:pt x="1593" y="1052"/>
                        <a:pt x="1595" y="1048"/>
                        <a:pt x="1597" y="1049"/>
                      </a:cubicBezTo>
                      <a:cubicBezTo>
                        <a:pt x="1601" y="1050"/>
                        <a:pt x="1606" y="1052"/>
                        <a:pt x="1608" y="1056"/>
                      </a:cubicBezTo>
                      <a:cubicBezTo>
                        <a:pt x="1608" y="1056"/>
                        <a:pt x="1605" y="1078"/>
                        <a:pt x="1604" y="1078"/>
                      </a:cubicBezTo>
                      <a:cubicBezTo>
                        <a:pt x="1603" y="1081"/>
                        <a:pt x="1599" y="1082"/>
                        <a:pt x="1598" y="1084"/>
                      </a:cubicBezTo>
                      <a:cubicBezTo>
                        <a:pt x="1595" y="1090"/>
                        <a:pt x="1599" y="1096"/>
                        <a:pt x="1597" y="1101"/>
                      </a:cubicBezTo>
                      <a:cubicBezTo>
                        <a:pt x="1595" y="1105"/>
                        <a:pt x="1586" y="1105"/>
                        <a:pt x="1593" y="1110"/>
                      </a:cubicBezTo>
                      <a:cubicBezTo>
                        <a:pt x="1602" y="1116"/>
                        <a:pt x="1606" y="1106"/>
                        <a:pt x="1615" y="1103"/>
                      </a:cubicBezTo>
                      <a:cubicBezTo>
                        <a:pt x="1620" y="1101"/>
                        <a:pt x="1613" y="1118"/>
                        <a:pt x="1619" y="1114"/>
                      </a:cubicBezTo>
                      <a:cubicBezTo>
                        <a:pt x="1627" y="1111"/>
                        <a:pt x="1632" y="1103"/>
                        <a:pt x="1640" y="1100"/>
                      </a:cubicBezTo>
                      <a:cubicBezTo>
                        <a:pt x="1643" y="1100"/>
                        <a:pt x="1645" y="1107"/>
                        <a:pt x="1649" y="1106"/>
                      </a:cubicBezTo>
                      <a:cubicBezTo>
                        <a:pt x="1667" y="1101"/>
                        <a:pt x="1648" y="1091"/>
                        <a:pt x="1677" y="1099"/>
                      </a:cubicBezTo>
                      <a:cubicBezTo>
                        <a:pt x="1678" y="1099"/>
                        <a:pt x="1680" y="1096"/>
                        <a:pt x="1681" y="1097"/>
                      </a:cubicBezTo>
                      <a:cubicBezTo>
                        <a:pt x="1682" y="1100"/>
                        <a:pt x="1679" y="1101"/>
                        <a:pt x="1679" y="1103"/>
                      </a:cubicBezTo>
                      <a:cubicBezTo>
                        <a:pt x="1680" y="1112"/>
                        <a:pt x="1698" y="1125"/>
                        <a:pt x="1695" y="1133"/>
                      </a:cubicBezTo>
                      <a:cubicBezTo>
                        <a:pt x="1691" y="1147"/>
                        <a:pt x="1679" y="1169"/>
                        <a:pt x="1664" y="1174"/>
                      </a:cubicBezTo>
                      <a:cubicBezTo>
                        <a:pt x="1656" y="1177"/>
                        <a:pt x="1653" y="1168"/>
                        <a:pt x="1647" y="1170"/>
                      </a:cubicBezTo>
                      <a:cubicBezTo>
                        <a:pt x="1641" y="1175"/>
                        <a:pt x="1662" y="1195"/>
                        <a:pt x="1647" y="1211"/>
                      </a:cubicBezTo>
                      <a:cubicBezTo>
                        <a:pt x="1635" y="1223"/>
                        <a:pt x="1653" y="1195"/>
                        <a:pt x="1637" y="1204"/>
                      </a:cubicBezTo>
                      <a:cubicBezTo>
                        <a:pt x="1631" y="1208"/>
                        <a:pt x="1625" y="1215"/>
                        <a:pt x="1616" y="1217"/>
                      </a:cubicBezTo>
                      <a:cubicBezTo>
                        <a:pt x="1614" y="1219"/>
                        <a:pt x="1612" y="1218"/>
                        <a:pt x="1609" y="1217"/>
                      </a:cubicBezTo>
                      <a:cubicBezTo>
                        <a:pt x="1608" y="1217"/>
                        <a:pt x="1607" y="1215"/>
                        <a:pt x="1606" y="1215"/>
                      </a:cubicBezTo>
                      <a:cubicBezTo>
                        <a:pt x="1604" y="1216"/>
                        <a:pt x="1603" y="1219"/>
                        <a:pt x="1602" y="1219"/>
                      </a:cubicBezTo>
                      <a:cubicBezTo>
                        <a:pt x="1600" y="1219"/>
                        <a:pt x="1600" y="1215"/>
                        <a:pt x="1599" y="1215"/>
                      </a:cubicBezTo>
                      <a:cubicBezTo>
                        <a:pt x="1598" y="1215"/>
                        <a:pt x="1597" y="1217"/>
                        <a:pt x="1596" y="1217"/>
                      </a:cubicBezTo>
                      <a:cubicBezTo>
                        <a:pt x="1595" y="1217"/>
                        <a:pt x="1594" y="1216"/>
                        <a:pt x="1593" y="1215"/>
                      </a:cubicBezTo>
                      <a:cubicBezTo>
                        <a:pt x="1591" y="1212"/>
                        <a:pt x="1592" y="1204"/>
                        <a:pt x="1585" y="1207"/>
                      </a:cubicBezTo>
                      <a:cubicBezTo>
                        <a:pt x="1583" y="1207"/>
                        <a:pt x="1581" y="1210"/>
                        <a:pt x="1578" y="1211"/>
                      </a:cubicBezTo>
                      <a:cubicBezTo>
                        <a:pt x="1577" y="1211"/>
                        <a:pt x="1576" y="1208"/>
                        <a:pt x="1574" y="1208"/>
                      </a:cubicBezTo>
                      <a:cubicBezTo>
                        <a:pt x="1573" y="1208"/>
                        <a:pt x="1573" y="1208"/>
                        <a:pt x="1573" y="1208"/>
                      </a:cubicBezTo>
                      <a:cubicBezTo>
                        <a:pt x="1573" y="1208"/>
                        <a:pt x="1573" y="1208"/>
                        <a:pt x="1573" y="1208"/>
                      </a:cubicBezTo>
                      <a:cubicBezTo>
                        <a:pt x="1573" y="1208"/>
                        <a:pt x="1573" y="1208"/>
                        <a:pt x="1573" y="1208"/>
                      </a:cubicBezTo>
                      <a:cubicBezTo>
                        <a:pt x="1566" y="1212"/>
                        <a:pt x="1573" y="1214"/>
                        <a:pt x="1573" y="1217"/>
                      </a:cubicBezTo>
                      <a:cubicBezTo>
                        <a:pt x="1569" y="1220"/>
                        <a:pt x="1561" y="1222"/>
                        <a:pt x="1560" y="1223"/>
                      </a:cubicBezTo>
                      <a:cubicBezTo>
                        <a:pt x="1559" y="1224"/>
                        <a:pt x="1559" y="1224"/>
                        <a:pt x="1559" y="1225"/>
                      </a:cubicBezTo>
                      <a:cubicBezTo>
                        <a:pt x="1563" y="1223"/>
                        <a:pt x="1571" y="1221"/>
                        <a:pt x="1573" y="1217"/>
                      </a:cubicBezTo>
                      <a:cubicBezTo>
                        <a:pt x="1570" y="1221"/>
                        <a:pt x="1558" y="1225"/>
                        <a:pt x="1557" y="1226"/>
                      </a:cubicBezTo>
                      <a:cubicBezTo>
                        <a:pt x="1553" y="1229"/>
                        <a:pt x="1562" y="1236"/>
                        <a:pt x="1564" y="1240"/>
                      </a:cubicBezTo>
                      <a:cubicBezTo>
                        <a:pt x="1563" y="1240"/>
                        <a:pt x="1561" y="1240"/>
                        <a:pt x="1560" y="1241"/>
                      </a:cubicBezTo>
                      <a:cubicBezTo>
                        <a:pt x="1560" y="1241"/>
                        <a:pt x="1560" y="1242"/>
                        <a:pt x="1560" y="1242"/>
                      </a:cubicBezTo>
                      <a:cubicBezTo>
                        <a:pt x="1560" y="1242"/>
                        <a:pt x="1561" y="1242"/>
                        <a:pt x="1563" y="1242"/>
                      </a:cubicBezTo>
                      <a:cubicBezTo>
                        <a:pt x="1560" y="1242"/>
                        <a:pt x="1558" y="1242"/>
                        <a:pt x="1557" y="1244"/>
                      </a:cubicBezTo>
                      <a:cubicBezTo>
                        <a:pt x="1556" y="1246"/>
                        <a:pt x="1558" y="1248"/>
                        <a:pt x="1557" y="1250"/>
                      </a:cubicBezTo>
                      <a:cubicBezTo>
                        <a:pt x="1552" y="1250"/>
                        <a:pt x="1540" y="1242"/>
                        <a:pt x="1539" y="1242"/>
                      </a:cubicBezTo>
                      <a:cubicBezTo>
                        <a:pt x="1538" y="1242"/>
                        <a:pt x="1537" y="1243"/>
                        <a:pt x="1536" y="1245"/>
                      </a:cubicBezTo>
                      <a:cubicBezTo>
                        <a:pt x="1534" y="1245"/>
                        <a:pt x="1533" y="1249"/>
                        <a:pt x="1531" y="1250"/>
                      </a:cubicBezTo>
                      <a:cubicBezTo>
                        <a:pt x="1532" y="1250"/>
                        <a:pt x="1532" y="1250"/>
                        <a:pt x="1532" y="1250"/>
                      </a:cubicBezTo>
                      <a:cubicBezTo>
                        <a:pt x="1530" y="1251"/>
                        <a:pt x="1525" y="1254"/>
                        <a:pt x="1524" y="1256"/>
                      </a:cubicBezTo>
                      <a:cubicBezTo>
                        <a:pt x="1525" y="1255"/>
                        <a:pt x="1527" y="1254"/>
                        <a:pt x="1529" y="1253"/>
                      </a:cubicBezTo>
                      <a:cubicBezTo>
                        <a:pt x="1525" y="1255"/>
                        <a:pt x="1520" y="1259"/>
                        <a:pt x="1520" y="1262"/>
                      </a:cubicBezTo>
                      <a:cubicBezTo>
                        <a:pt x="1521" y="1263"/>
                        <a:pt x="1525" y="1263"/>
                        <a:pt x="1525" y="1266"/>
                      </a:cubicBezTo>
                      <a:cubicBezTo>
                        <a:pt x="1521" y="1265"/>
                        <a:pt x="1516" y="1263"/>
                        <a:pt x="1516" y="1263"/>
                      </a:cubicBezTo>
                      <a:cubicBezTo>
                        <a:pt x="1514" y="1264"/>
                        <a:pt x="1514" y="1266"/>
                        <a:pt x="1515" y="1267"/>
                      </a:cubicBezTo>
                      <a:cubicBezTo>
                        <a:pt x="1513" y="1266"/>
                        <a:pt x="1513" y="1266"/>
                        <a:pt x="1512" y="1266"/>
                      </a:cubicBezTo>
                      <a:cubicBezTo>
                        <a:pt x="1509" y="1272"/>
                        <a:pt x="1520" y="1275"/>
                        <a:pt x="1516" y="1283"/>
                      </a:cubicBezTo>
                      <a:cubicBezTo>
                        <a:pt x="1516" y="1283"/>
                        <a:pt x="1516" y="1282"/>
                        <a:pt x="1516" y="1281"/>
                      </a:cubicBezTo>
                      <a:cubicBezTo>
                        <a:pt x="1514" y="1281"/>
                        <a:pt x="1512" y="1281"/>
                        <a:pt x="1512" y="1283"/>
                      </a:cubicBezTo>
                      <a:cubicBezTo>
                        <a:pt x="1511" y="1283"/>
                        <a:pt x="1511" y="1284"/>
                        <a:pt x="1511" y="1285"/>
                      </a:cubicBezTo>
                      <a:cubicBezTo>
                        <a:pt x="1512" y="1284"/>
                        <a:pt x="1512" y="1284"/>
                        <a:pt x="1513" y="1284"/>
                      </a:cubicBezTo>
                      <a:cubicBezTo>
                        <a:pt x="1511" y="1285"/>
                        <a:pt x="1509" y="1284"/>
                        <a:pt x="1509" y="1286"/>
                      </a:cubicBezTo>
                      <a:cubicBezTo>
                        <a:pt x="1507" y="1289"/>
                        <a:pt x="1514" y="1295"/>
                        <a:pt x="1514" y="1298"/>
                      </a:cubicBezTo>
                      <a:cubicBezTo>
                        <a:pt x="1514" y="1298"/>
                        <a:pt x="1510" y="1316"/>
                        <a:pt x="1509" y="1322"/>
                      </a:cubicBezTo>
                      <a:cubicBezTo>
                        <a:pt x="1505" y="1321"/>
                        <a:pt x="1501" y="1318"/>
                        <a:pt x="1498" y="1318"/>
                      </a:cubicBezTo>
                      <a:cubicBezTo>
                        <a:pt x="1497" y="1318"/>
                        <a:pt x="1496" y="1319"/>
                        <a:pt x="1496" y="1320"/>
                      </a:cubicBezTo>
                      <a:cubicBezTo>
                        <a:pt x="1496" y="1321"/>
                        <a:pt x="1497" y="1321"/>
                        <a:pt x="1499" y="1322"/>
                      </a:cubicBezTo>
                      <a:cubicBezTo>
                        <a:pt x="1497" y="1321"/>
                        <a:pt x="1496" y="1320"/>
                        <a:pt x="1495" y="1321"/>
                      </a:cubicBezTo>
                      <a:cubicBezTo>
                        <a:pt x="1494" y="1321"/>
                        <a:pt x="1494" y="1322"/>
                        <a:pt x="1493" y="1323"/>
                      </a:cubicBezTo>
                      <a:cubicBezTo>
                        <a:pt x="1493" y="1323"/>
                        <a:pt x="1493" y="1323"/>
                        <a:pt x="1493" y="1323"/>
                      </a:cubicBezTo>
                      <a:cubicBezTo>
                        <a:pt x="1486" y="1323"/>
                        <a:pt x="1454" y="1310"/>
                        <a:pt x="1449" y="1321"/>
                      </a:cubicBezTo>
                      <a:cubicBezTo>
                        <a:pt x="1453" y="1319"/>
                        <a:pt x="1458" y="1319"/>
                        <a:pt x="1465" y="1320"/>
                      </a:cubicBezTo>
                      <a:cubicBezTo>
                        <a:pt x="1455" y="1319"/>
                        <a:pt x="1447" y="1319"/>
                        <a:pt x="1446" y="1326"/>
                      </a:cubicBezTo>
                      <a:cubicBezTo>
                        <a:pt x="1445" y="1328"/>
                        <a:pt x="1445" y="1331"/>
                        <a:pt x="1448" y="1332"/>
                      </a:cubicBezTo>
                      <a:cubicBezTo>
                        <a:pt x="1449" y="1333"/>
                        <a:pt x="1454" y="1328"/>
                        <a:pt x="1457" y="1332"/>
                      </a:cubicBezTo>
                      <a:cubicBezTo>
                        <a:pt x="1460" y="1336"/>
                        <a:pt x="1470" y="1347"/>
                        <a:pt x="1469" y="1353"/>
                      </a:cubicBezTo>
                      <a:cubicBezTo>
                        <a:pt x="1468" y="1354"/>
                        <a:pt x="1467" y="1355"/>
                        <a:pt x="1466" y="1356"/>
                      </a:cubicBezTo>
                      <a:cubicBezTo>
                        <a:pt x="1467" y="1355"/>
                        <a:pt x="1468" y="1354"/>
                        <a:pt x="1468" y="1353"/>
                      </a:cubicBezTo>
                      <a:cubicBezTo>
                        <a:pt x="1465" y="1355"/>
                        <a:pt x="1462" y="1355"/>
                        <a:pt x="1460" y="1352"/>
                      </a:cubicBezTo>
                      <a:cubicBezTo>
                        <a:pt x="1457" y="1349"/>
                        <a:pt x="1456" y="1345"/>
                        <a:pt x="1454" y="1342"/>
                      </a:cubicBezTo>
                      <a:cubicBezTo>
                        <a:pt x="1454" y="1340"/>
                        <a:pt x="1456" y="1335"/>
                        <a:pt x="1453" y="1335"/>
                      </a:cubicBezTo>
                      <a:cubicBezTo>
                        <a:pt x="1453" y="1335"/>
                        <a:pt x="1436" y="1336"/>
                        <a:pt x="1436" y="1336"/>
                      </a:cubicBezTo>
                      <a:cubicBezTo>
                        <a:pt x="1436" y="1336"/>
                        <a:pt x="1435" y="1336"/>
                        <a:pt x="1432" y="1338"/>
                      </a:cubicBezTo>
                      <a:cubicBezTo>
                        <a:pt x="1421" y="1333"/>
                        <a:pt x="1435" y="1327"/>
                        <a:pt x="1415" y="1331"/>
                      </a:cubicBezTo>
                      <a:cubicBezTo>
                        <a:pt x="1411" y="1332"/>
                        <a:pt x="1408" y="1337"/>
                        <a:pt x="1404" y="1337"/>
                      </a:cubicBezTo>
                      <a:cubicBezTo>
                        <a:pt x="1387" y="1336"/>
                        <a:pt x="1403" y="1322"/>
                        <a:pt x="1380" y="1329"/>
                      </a:cubicBezTo>
                      <a:cubicBezTo>
                        <a:pt x="1374" y="1331"/>
                        <a:pt x="1355" y="1355"/>
                        <a:pt x="1350" y="1353"/>
                      </a:cubicBezTo>
                      <a:cubicBezTo>
                        <a:pt x="1344" y="1349"/>
                        <a:pt x="1339" y="1341"/>
                        <a:pt x="1332" y="1338"/>
                      </a:cubicBezTo>
                      <a:cubicBezTo>
                        <a:pt x="1331" y="1337"/>
                        <a:pt x="1332" y="1340"/>
                        <a:pt x="1332" y="1341"/>
                      </a:cubicBezTo>
                      <a:cubicBezTo>
                        <a:pt x="1331" y="1345"/>
                        <a:pt x="1330" y="1349"/>
                        <a:pt x="1327" y="1352"/>
                      </a:cubicBezTo>
                      <a:cubicBezTo>
                        <a:pt x="1325" y="1354"/>
                        <a:pt x="1322" y="1354"/>
                        <a:pt x="1320" y="1355"/>
                      </a:cubicBezTo>
                      <a:cubicBezTo>
                        <a:pt x="1312" y="1365"/>
                        <a:pt x="1326" y="1367"/>
                        <a:pt x="1322" y="1376"/>
                      </a:cubicBezTo>
                      <a:cubicBezTo>
                        <a:pt x="1319" y="1380"/>
                        <a:pt x="1316" y="1367"/>
                        <a:pt x="1313" y="1373"/>
                      </a:cubicBezTo>
                      <a:cubicBezTo>
                        <a:pt x="1310" y="1380"/>
                        <a:pt x="1315" y="1384"/>
                        <a:pt x="1305" y="1384"/>
                      </a:cubicBezTo>
                      <a:cubicBezTo>
                        <a:pt x="1294" y="1385"/>
                        <a:pt x="1310" y="1377"/>
                        <a:pt x="1303" y="1374"/>
                      </a:cubicBezTo>
                      <a:cubicBezTo>
                        <a:pt x="1291" y="1367"/>
                        <a:pt x="1293" y="1379"/>
                        <a:pt x="1284" y="1381"/>
                      </a:cubicBezTo>
                      <a:cubicBezTo>
                        <a:pt x="1280" y="1382"/>
                        <a:pt x="1277" y="1379"/>
                        <a:pt x="1273" y="1380"/>
                      </a:cubicBezTo>
                      <a:cubicBezTo>
                        <a:pt x="1272" y="1380"/>
                        <a:pt x="1282" y="1388"/>
                        <a:pt x="1282" y="1389"/>
                      </a:cubicBezTo>
                      <a:cubicBezTo>
                        <a:pt x="1278" y="1407"/>
                        <a:pt x="1279" y="1381"/>
                        <a:pt x="1273" y="1392"/>
                      </a:cubicBezTo>
                      <a:cubicBezTo>
                        <a:pt x="1269" y="1398"/>
                        <a:pt x="1277" y="1400"/>
                        <a:pt x="1277" y="1405"/>
                      </a:cubicBezTo>
                      <a:cubicBezTo>
                        <a:pt x="1277" y="1405"/>
                        <a:pt x="1274" y="1425"/>
                        <a:pt x="1273" y="1426"/>
                      </a:cubicBezTo>
                      <a:cubicBezTo>
                        <a:pt x="1271" y="1429"/>
                        <a:pt x="1267" y="1431"/>
                        <a:pt x="1265" y="1434"/>
                      </a:cubicBezTo>
                      <a:cubicBezTo>
                        <a:pt x="1263" y="1438"/>
                        <a:pt x="1265" y="1443"/>
                        <a:pt x="1263" y="1447"/>
                      </a:cubicBezTo>
                      <a:cubicBezTo>
                        <a:pt x="1260" y="1451"/>
                        <a:pt x="1251" y="1449"/>
                        <a:pt x="1249" y="1454"/>
                      </a:cubicBezTo>
                      <a:cubicBezTo>
                        <a:pt x="1245" y="1469"/>
                        <a:pt x="1259" y="1469"/>
                        <a:pt x="1258" y="1472"/>
                      </a:cubicBezTo>
                      <a:cubicBezTo>
                        <a:pt x="1257" y="1475"/>
                        <a:pt x="1255" y="1478"/>
                        <a:pt x="1253" y="1481"/>
                      </a:cubicBezTo>
                      <a:cubicBezTo>
                        <a:pt x="1253" y="1482"/>
                        <a:pt x="1251" y="1482"/>
                        <a:pt x="1250" y="1483"/>
                      </a:cubicBezTo>
                      <a:cubicBezTo>
                        <a:pt x="1250" y="1483"/>
                        <a:pt x="1247" y="1501"/>
                        <a:pt x="1246" y="1502"/>
                      </a:cubicBezTo>
                      <a:cubicBezTo>
                        <a:pt x="1244" y="1507"/>
                        <a:pt x="1233" y="1505"/>
                        <a:pt x="1233" y="1507"/>
                      </a:cubicBezTo>
                      <a:cubicBezTo>
                        <a:pt x="1233" y="1511"/>
                        <a:pt x="1239" y="1508"/>
                        <a:pt x="1239" y="1508"/>
                      </a:cubicBezTo>
                      <a:cubicBezTo>
                        <a:pt x="1243" y="1511"/>
                        <a:pt x="1256" y="1527"/>
                        <a:pt x="1260" y="1530"/>
                      </a:cubicBezTo>
                      <a:cubicBezTo>
                        <a:pt x="1261" y="1532"/>
                        <a:pt x="1260" y="1535"/>
                        <a:pt x="1262" y="1537"/>
                      </a:cubicBezTo>
                      <a:cubicBezTo>
                        <a:pt x="1266" y="1541"/>
                        <a:pt x="1267" y="1528"/>
                        <a:pt x="1270" y="1539"/>
                      </a:cubicBezTo>
                      <a:cubicBezTo>
                        <a:pt x="1271" y="1541"/>
                        <a:pt x="1271" y="1544"/>
                        <a:pt x="1270" y="1546"/>
                      </a:cubicBezTo>
                      <a:cubicBezTo>
                        <a:pt x="1256" y="1579"/>
                        <a:pt x="1248" y="1560"/>
                        <a:pt x="1228" y="1552"/>
                      </a:cubicBezTo>
                      <a:cubicBezTo>
                        <a:pt x="1226" y="1551"/>
                        <a:pt x="1203" y="1541"/>
                        <a:pt x="1201" y="1544"/>
                      </a:cubicBezTo>
                      <a:cubicBezTo>
                        <a:pt x="1199" y="1551"/>
                        <a:pt x="1194" y="1562"/>
                        <a:pt x="1199" y="1569"/>
                      </a:cubicBezTo>
                      <a:cubicBezTo>
                        <a:pt x="1200" y="1571"/>
                        <a:pt x="1205" y="1572"/>
                        <a:pt x="1205" y="1574"/>
                      </a:cubicBezTo>
                      <a:cubicBezTo>
                        <a:pt x="1206" y="1587"/>
                        <a:pt x="1196" y="1590"/>
                        <a:pt x="1196" y="1597"/>
                      </a:cubicBezTo>
                      <a:cubicBezTo>
                        <a:pt x="1196" y="1599"/>
                        <a:pt x="1210" y="1637"/>
                        <a:pt x="1210" y="1637"/>
                      </a:cubicBezTo>
                      <a:cubicBezTo>
                        <a:pt x="1213" y="1640"/>
                        <a:pt x="1224" y="1635"/>
                        <a:pt x="1227" y="1642"/>
                      </a:cubicBezTo>
                      <a:cubicBezTo>
                        <a:pt x="1231" y="1651"/>
                        <a:pt x="1225" y="1656"/>
                        <a:pt x="1224" y="1664"/>
                      </a:cubicBezTo>
                      <a:cubicBezTo>
                        <a:pt x="1223" y="1672"/>
                        <a:pt x="1227" y="1686"/>
                        <a:pt x="1228" y="1695"/>
                      </a:cubicBezTo>
                      <a:cubicBezTo>
                        <a:pt x="1229" y="1698"/>
                        <a:pt x="1228" y="1703"/>
                        <a:pt x="1230" y="1705"/>
                      </a:cubicBezTo>
                      <a:cubicBezTo>
                        <a:pt x="1232" y="1706"/>
                        <a:pt x="1259" y="1700"/>
                        <a:pt x="1263" y="1701"/>
                      </a:cubicBezTo>
                      <a:cubicBezTo>
                        <a:pt x="1267" y="1702"/>
                        <a:pt x="1264" y="1709"/>
                        <a:pt x="1267" y="1711"/>
                      </a:cubicBezTo>
                      <a:cubicBezTo>
                        <a:pt x="1269" y="1712"/>
                        <a:pt x="1271" y="1709"/>
                        <a:pt x="1272" y="1710"/>
                      </a:cubicBezTo>
                      <a:cubicBezTo>
                        <a:pt x="1273" y="1711"/>
                        <a:pt x="1272" y="1714"/>
                        <a:pt x="1272" y="1716"/>
                      </a:cubicBezTo>
                      <a:cubicBezTo>
                        <a:pt x="1271" y="1717"/>
                        <a:pt x="1268" y="1718"/>
                        <a:pt x="1269" y="1719"/>
                      </a:cubicBezTo>
                      <a:cubicBezTo>
                        <a:pt x="1271" y="1722"/>
                        <a:pt x="1276" y="1722"/>
                        <a:pt x="1279" y="1725"/>
                      </a:cubicBezTo>
                      <a:cubicBezTo>
                        <a:pt x="1280" y="1726"/>
                        <a:pt x="1278" y="1727"/>
                        <a:pt x="1277" y="1728"/>
                      </a:cubicBezTo>
                      <a:cubicBezTo>
                        <a:pt x="1277" y="1728"/>
                        <a:pt x="1278" y="1729"/>
                        <a:pt x="1278" y="1729"/>
                      </a:cubicBezTo>
                      <a:cubicBezTo>
                        <a:pt x="1279" y="1729"/>
                        <a:pt x="1294" y="1732"/>
                        <a:pt x="1294" y="1732"/>
                      </a:cubicBezTo>
                      <a:cubicBezTo>
                        <a:pt x="1295" y="1731"/>
                        <a:pt x="1289" y="1720"/>
                        <a:pt x="1290" y="1719"/>
                      </a:cubicBezTo>
                      <a:cubicBezTo>
                        <a:pt x="1294" y="1719"/>
                        <a:pt x="1298" y="1720"/>
                        <a:pt x="1303" y="1719"/>
                      </a:cubicBezTo>
                      <a:cubicBezTo>
                        <a:pt x="1310" y="1717"/>
                        <a:pt x="1314" y="1706"/>
                        <a:pt x="1323" y="1708"/>
                      </a:cubicBezTo>
                      <a:cubicBezTo>
                        <a:pt x="1345" y="1714"/>
                        <a:pt x="1354" y="1724"/>
                        <a:pt x="1372" y="1736"/>
                      </a:cubicBezTo>
                      <a:cubicBezTo>
                        <a:pt x="1380" y="1741"/>
                        <a:pt x="1391" y="1741"/>
                        <a:pt x="1397" y="1748"/>
                      </a:cubicBezTo>
                      <a:cubicBezTo>
                        <a:pt x="1400" y="1752"/>
                        <a:pt x="1392" y="1761"/>
                        <a:pt x="1389" y="1762"/>
                      </a:cubicBezTo>
                      <a:cubicBezTo>
                        <a:pt x="1386" y="1762"/>
                        <a:pt x="1379" y="1753"/>
                        <a:pt x="1376" y="1763"/>
                      </a:cubicBezTo>
                      <a:cubicBezTo>
                        <a:pt x="1372" y="1779"/>
                        <a:pt x="1407" y="1772"/>
                        <a:pt x="1419" y="1771"/>
                      </a:cubicBezTo>
                      <a:cubicBezTo>
                        <a:pt x="1419" y="1773"/>
                        <a:pt x="1420" y="1775"/>
                        <a:pt x="1421" y="1776"/>
                      </a:cubicBezTo>
                      <a:cubicBezTo>
                        <a:pt x="1421" y="1778"/>
                        <a:pt x="1422" y="1779"/>
                        <a:pt x="1422" y="1780"/>
                      </a:cubicBezTo>
                      <a:cubicBezTo>
                        <a:pt x="1422" y="1781"/>
                        <a:pt x="1422" y="1781"/>
                        <a:pt x="1422" y="1782"/>
                      </a:cubicBezTo>
                      <a:cubicBezTo>
                        <a:pt x="1423" y="1782"/>
                        <a:pt x="1423" y="1783"/>
                        <a:pt x="1423" y="1783"/>
                      </a:cubicBezTo>
                      <a:cubicBezTo>
                        <a:pt x="1423" y="1783"/>
                        <a:pt x="1423" y="1784"/>
                        <a:pt x="1423" y="1784"/>
                      </a:cubicBezTo>
                      <a:cubicBezTo>
                        <a:pt x="1423" y="1784"/>
                        <a:pt x="1423" y="1784"/>
                        <a:pt x="1423" y="1784"/>
                      </a:cubicBezTo>
                      <a:cubicBezTo>
                        <a:pt x="1423" y="1785"/>
                        <a:pt x="1423" y="1785"/>
                        <a:pt x="1423" y="1785"/>
                      </a:cubicBezTo>
                      <a:cubicBezTo>
                        <a:pt x="1423" y="1785"/>
                        <a:pt x="1423" y="1785"/>
                        <a:pt x="1423" y="1786"/>
                      </a:cubicBezTo>
                      <a:cubicBezTo>
                        <a:pt x="1424" y="1786"/>
                        <a:pt x="1424" y="1786"/>
                        <a:pt x="1424" y="1786"/>
                      </a:cubicBezTo>
                      <a:cubicBezTo>
                        <a:pt x="1424" y="1786"/>
                        <a:pt x="1424" y="1786"/>
                        <a:pt x="1424" y="1786"/>
                      </a:cubicBezTo>
                      <a:cubicBezTo>
                        <a:pt x="1424" y="1787"/>
                        <a:pt x="1424" y="1787"/>
                        <a:pt x="1424" y="1787"/>
                      </a:cubicBezTo>
                      <a:cubicBezTo>
                        <a:pt x="1424" y="1787"/>
                        <a:pt x="1424" y="1787"/>
                        <a:pt x="1424" y="1787"/>
                      </a:cubicBezTo>
                      <a:cubicBezTo>
                        <a:pt x="1422" y="1817"/>
                        <a:pt x="1413" y="1789"/>
                        <a:pt x="1410" y="1797"/>
                      </a:cubicBezTo>
                      <a:cubicBezTo>
                        <a:pt x="1409" y="1799"/>
                        <a:pt x="1417" y="1801"/>
                        <a:pt x="1414" y="1802"/>
                      </a:cubicBezTo>
                      <a:cubicBezTo>
                        <a:pt x="1408" y="1806"/>
                        <a:pt x="1407" y="1795"/>
                        <a:pt x="1406" y="1801"/>
                      </a:cubicBezTo>
                      <a:cubicBezTo>
                        <a:pt x="1404" y="1809"/>
                        <a:pt x="1417" y="1809"/>
                        <a:pt x="1421" y="1815"/>
                      </a:cubicBezTo>
                      <a:cubicBezTo>
                        <a:pt x="1425" y="1826"/>
                        <a:pt x="1409" y="1813"/>
                        <a:pt x="1407" y="1814"/>
                      </a:cubicBezTo>
                      <a:cubicBezTo>
                        <a:pt x="1402" y="1816"/>
                        <a:pt x="1406" y="1823"/>
                        <a:pt x="1404" y="1827"/>
                      </a:cubicBezTo>
                      <a:cubicBezTo>
                        <a:pt x="1404" y="1829"/>
                        <a:pt x="1400" y="1829"/>
                        <a:pt x="1399" y="1830"/>
                      </a:cubicBezTo>
                      <a:cubicBezTo>
                        <a:pt x="1398" y="1832"/>
                        <a:pt x="1401" y="1834"/>
                        <a:pt x="1400" y="1836"/>
                      </a:cubicBezTo>
                      <a:cubicBezTo>
                        <a:pt x="1398" y="1840"/>
                        <a:pt x="1395" y="1843"/>
                        <a:pt x="1392" y="1847"/>
                      </a:cubicBezTo>
                      <a:cubicBezTo>
                        <a:pt x="1385" y="1852"/>
                        <a:pt x="1385" y="1843"/>
                        <a:pt x="1384" y="1849"/>
                      </a:cubicBezTo>
                      <a:cubicBezTo>
                        <a:pt x="1384" y="1853"/>
                        <a:pt x="1389" y="1856"/>
                        <a:pt x="1387" y="1858"/>
                      </a:cubicBezTo>
                      <a:cubicBezTo>
                        <a:pt x="1382" y="1862"/>
                        <a:pt x="1377" y="1855"/>
                        <a:pt x="1373" y="1853"/>
                      </a:cubicBezTo>
                      <a:cubicBezTo>
                        <a:pt x="1371" y="1853"/>
                        <a:pt x="1368" y="1853"/>
                        <a:pt x="1369" y="1854"/>
                      </a:cubicBezTo>
                      <a:cubicBezTo>
                        <a:pt x="1372" y="1857"/>
                        <a:pt x="1376" y="1859"/>
                        <a:pt x="1379" y="1861"/>
                      </a:cubicBezTo>
                      <a:cubicBezTo>
                        <a:pt x="1380" y="1863"/>
                        <a:pt x="1382" y="1866"/>
                        <a:pt x="1380" y="1866"/>
                      </a:cubicBezTo>
                      <a:cubicBezTo>
                        <a:pt x="1379" y="1866"/>
                        <a:pt x="1378" y="1866"/>
                        <a:pt x="1376" y="1866"/>
                      </a:cubicBezTo>
                      <a:cubicBezTo>
                        <a:pt x="1376" y="1866"/>
                        <a:pt x="1376" y="1866"/>
                        <a:pt x="1377" y="1866"/>
                      </a:cubicBezTo>
                      <a:cubicBezTo>
                        <a:pt x="1373" y="1866"/>
                        <a:pt x="1370" y="1865"/>
                        <a:pt x="1367" y="1863"/>
                      </a:cubicBezTo>
                      <a:cubicBezTo>
                        <a:pt x="1366" y="1862"/>
                        <a:pt x="1369" y="1860"/>
                        <a:pt x="1368" y="1859"/>
                      </a:cubicBezTo>
                      <a:cubicBezTo>
                        <a:pt x="1366" y="1859"/>
                        <a:pt x="1361" y="1859"/>
                        <a:pt x="1362" y="1860"/>
                      </a:cubicBezTo>
                      <a:cubicBezTo>
                        <a:pt x="1366" y="1862"/>
                        <a:pt x="1370" y="1861"/>
                        <a:pt x="1374" y="1863"/>
                      </a:cubicBezTo>
                      <a:cubicBezTo>
                        <a:pt x="1375" y="1864"/>
                        <a:pt x="1376" y="1865"/>
                        <a:pt x="1377" y="1868"/>
                      </a:cubicBezTo>
                      <a:cubicBezTo>
                        <a:pt x="1378" y="1868"/>
                        <a:pt x="1378" y="1868"/>
                        <a:pt x="1378" y="1869"/>
                      </a:cubicBezTo>
                      <a:cubicBezTo>
                        <a:pt x="1378" y="1869"/>
                        <a:pt x="1378" y="1869"/>
                        <a:pt x="1378" y="1869"/>
                      </a:cubicBezTo>
                      <a:cubicBezTo>
                        <a:pt x="1378" y="1870"/>
                        <a:pt x="1378" y="1870"/>
                        <a:pt x="1378" y="1870"/>
                      </a:cubicBezTo>
                      <a:cubicBezTo>
                        <a:pt x="1378" y="1870"/>
                        <a:pt x="1378" y="1870"/>
                        <a:pt x="1378" y="1871"/>
                      </a:cubicBezTo>
                      <a:cubicBezTo>
                        <a:pt x="1378" y="1872"/>
                        <a:pt x="1378" y="1872"/>
                        <a:pt x="1378" y="1872"/>
                      </a:cubicBezTo>
                      <a:cubicBezTo>
                        <a:pt x="1378" y="1872"/>
                        <a:pt x="1378" y="1872"/>
                        <a:pt x="1378" y="1873"/>
                      </a:cubicBezTo>
                      <a:cubicBezTo>
                        <a:pt x="1379" y="1874"/>
                        <a:pt x="1379" y="1875"/>
                        <a:pt x="1379" y="1876"/>
                      </a:cubicBezTo>
                      <a:cubicBezTo>
                        <a:pt x="1379" y="1877"/>
                        <a:pt x="1379" y="1877"/>
                        <a:pt x="1379" y="1877"/>
                      </a:cubicBezTo>
                      <a:cubicBezTo>
                        <a:pt x="1379" y="1877"/>
                        <a:pt x="1379" y="1877"/>
                        <a:pt x="1379" y="1878"/>
                      </a:cubicBezTo>
                      <a:cubicBezTo>
                        <a:pt x="1379" y="1878"/>
                        <a:pt x="1379" y="1878"/>
                        <a:pt x="1379" y="1878"/>
                      </a:cubicBezTo>
                      <a:cubicBezTo>
                        <a:pt x="1379" y="1879"/>
                        <a:pt x="1379" y="1879"/>
                        <a:pt x="1379" y="1879"/>
                      </a:cubicBezTo>
                      <a:cubicBezTo>
                        <a:pt x="1379" y="1879"/>
                        <a:pt x="1379" y="1879"/>
                        <a:pt x="1379" y="1879"/>
                      </a:cubicBezTo>
                      <a:cubicBezTo>
                        <a:pt x="1378" y="1881"/>
                        <a:pt x="1374" y="1880"/>
                        <a:pt x="1374" y="1882"/>
                      </a:cubicBezTo>
                      <a:cubicBezTo>
                        <a:pt x="1374" y="1883"/>
                        <a:pt x="1378" y="1881"/>
                        <a:pt x="1379" y="1882"/>
                      </a:cubicBezTo>
                      <a:cubicBezTo>
                        <a:pt x="1380" y="1884"/>
                        <a:pt x="1378" y="1887"/>
                        <a:pt x="1378" y="1890"/>
                      </a:cubicBezTo>
                      <a:cubicBezTo>
                        <a:pt x="1379" y="1892"/>
                        <a:pt x="1382" y="1894"/>
                        <a:pt x="1382" y="1898"/>
                      </a:cubicBezTo>
                      <a:cubicBezTo>
                        <a:pt x="1383" y="1899"/>
                        <a:pt x="1379" y="1898"/>
                        <a:pt x="1379" y="1899"/>
                      </a:cubicBezTo>
                      <a:cubicBezTo>
                        <a:pt x="1378" y="1905"/>
                        <a:pt x="1383" y="1911"/>
                        <a:pt x="1382" y="1917"/>
                      </a:cubicBezTo>
                      <a:cubicBezTo>
                        <a:pt x="1382" y="1918"/>
                        <a:pt x="1378" y="1918"/>
                        <a:pt x="1378" y="1920"/>
                      </a:cubicBezTo>
                      <a:cubicBezTo>
                        <a:pt x="1378" y="1925"/>
                        <a:pt x="1387" y="1932"/>
                        <a:pt x="1383" y="1932"/>
                      </a:cubicBezTo>
                      <a:cubicBezTo>
                        <a:pt x="1379" y="1931"/>
                        <a:pt x="1377" y="1923"/>
                        <a:pt x="1374" y="1925"/>
                      </a:cubicBezTo>
                      <a:cubicBezTo>
                        <a:pt x="1371" y="1928"/>
                        <a:pt x="1378" y="1932"/>
                        <a:pt x="1378" y="1936"/>
                      </a:cubicBezTo>
                      <a:cubicBezTo>
                        <a:pt x="1378" y="1945"/>
                        <a:pt x="1364" y="1949"/>
                        <a:pt x="1374" y="1960"/>
                      </a:cubicBezTo>
                      <a:cubicBezTo>
                        <a:pt x="1385" y="1973"/>
                        <a:pt x="1379" y="1960"/>
                        <a:pt x="1394" y="1961"/>
                      </a:cubicBezTo>
                      <a:cubicBezTo>
                        <a:pt x="1398" y="1961"/>
                        <a:pt x="1399" y="1967"/>
                        <a:pt x="1402" y="1968"/>
                      </a:cubicBezTo>
                      <a:cubicBezTo>
                        <a:pt x="1405" y="1969"/>
                        <a:pt x="1407" y="1965"/>
                        <a:pt x="1409" y="1965"/>
                      </a:cubicBezTo>
                      <a:cubicBezTo>
                        <a:pt x="1413" y="1967"/>
                        <a:pt x="1413" y="1971"/>
                        <a:pt x="1416" y="1973"/>
                      </a:cubicBezTo>
                      <a:cubicBezTo>
                        <a:pt x="1421" y="1977"/>
                        <a:pt x="1437" y="1986"/>
                        <a:pt x="1437" y="1988"/>
                      </a:cubicBezTo>
                      <a:cubicBezTo>
                        <a:pt x="1438" y="2002"/>
                        <a:pt x="1431" y="2001"/>
                        <a:pt x="1441" y="2008"/>
                      </a:cubicBezTo>
                      <a:cubicBezTo>
                        <a:pt x="1442" y="2009"/>
                        <a:pt x="1443" y="2008"/>
                        <a:pt x="1443" y="2008"/>
                      </a:cubicBezTo>
                      <a:cubicBezTo>
                        <a:pt x="1442" y="2002"/>
                        <a:pt x="1435" y="1981"/>
                        <a:pt x="1435" y="1981"/>
                      </a:cubicBezTo>
                      <a:cubicBezTo>
                        <a:pt x="1436" y="1978"/>
                        <a:pt x="1441" y="1974"/>
                        <a:pt x="1443" y="1976"/>
                      </a:cubicBezTo>
                      <a:cubicBezTo>
                        <a:pt x="1445" y="1980"/>
                        <a:pt x="1442" y="1985"/>
                        <a:pt x="1443" y="1989"/>
                      </a:cubicBezTo>
                      <a:cubicBezTo>
                        <a:pt x="1443" y="1993"/>
                        <a:pt x="1444" y="1997"/>
                        <a:pt x="1445" y="2001"/>
                      </a:cubicBezTo>
                      <a:cubicBezTo>
                        <a:pt x="1447" y="2006"/>
                        <a:pt x="1447" y="2016"/>
                        <a:pt x="1452" y="2020"/>
                      </a:cubicBezTo>
                      <a:cubicBezTo>
                        <a:pt x="1454" y="2021"/>
                        <a:pt x="1457" y="2015"/>
                        <a:pt x="1457" y="2017"/>
                      </a:cubicBezTo>
                      <a:cubicBezTo>
                        <a:pt x="1458" y="2027"/>
                        <a:pt x="1451" y="2029"/>
                        <a:pt x="1461" y="2039"/>
                      </a:cubicBezTo>
                      <a:cubicBezTo>
                        <a:pt x="1464" y="2042"/>
                        <a:pt x="1469" y="2042"/>
                        <a:pt x="1472" y="2042"/>
                      </a:cubicBezTo>
                      <a:cubicBezTo>
                        <a:pt x="1474" y="2043"/>
                        <a:pt x="1476" y="2041"/>
                        <a:pt x="1477" y="2042"/>
                      </a:cubicBezTo>
                      <a:cubicBezTo>
                        <a:pt x="1478" y="2044"/>
                        <a:pt x="1483" y="2056"/>
                        <a:pt x="1487" y="2057"/>
                      </a:cubicBezTo>
                      <a:cubicBezTo>
                        <a:pt x="1490" y="2058"/>
                        <a:pt x="1492" y="2055"/>
                        <a:pt x="1494" y="2055"/>
                      </a:cubicBezTo>
                      <a:cubicBezTo>
                        <a:pt x="1500" y="2057"/>
                        <a:pt x="1526" y="2072"/>
                        <a:pt x="1532" y="2076"/>
                      </a:cubicBezTo>
                      <a:cubicBezTo>
                        <a:pt x="1535" y="2079"/>
                        <a:pt x="1538" y="2084"/>
                        <a:pt x="1542" y="2085"/>
                      </a:cubicBezTo>
                      <a:cubicBezTo>
                        <a:pt x="1545" y="2087"/>
                        <a:pt x="1548" y="2084"/>
                        <a:pt x="1551" y="2084"/>
                      </a:cubicBezTo>
                      <a:cubicBezTo>
                        <a:pt x="1552" y="2084"/>
                        <a:pt x="1552" y="2084"/>
                        <a:pt x="1552" y="2084"/>
                      </a:cubicBezTo>
                      <a:cubicBezTo>
                        <a:pt x="1552" y="2084"/>
                        <a:pt x="1552" y="2084"/>
                        <a:pt x="1552" y="2084"/>
                      </a:cubicBezTo>
                      <a:cubicBezTo>
                        <a:pt x="1552" y="2084"/>
                        <a:pt x="1552" y="2084"/>
                        <a:pt x="1553" y="2084"/>
                      </a:cubicBezTo>
                      <a:cubicBezTo>
                        <a:pt x="1554" y="2084"/>
                        <a:pt x="1554" y="2084"/>
                        <a:pt x="1555" y="2084"/>
                      </a:cubicBezTo>
                      <a:cubicBezTo>
                        <a:pt x="1555" y="2086"/>
                        <a:pt x="1555" y="2086"/>
                        <a:pt x="1555" y="2086"/>
                      </a:cubicBezTo>
                      <a:cubicBezTo>
                        <a:pt x="1546" y="2118"/>
                        <a:pt x="1552" y="2101"/>
                        <a:pt x="1543" y="2125"/>
                      </a:cubicBezTo>
                      <a:cubicBezTo>
                        <a:pt x="1541" y="2130"/>
                        <a:pt x="1545" y="2145"/>
                        <a:pt x="1543" y="2146"/>
                      </a:cubicBezTo>
                      <a:cubicBezTo>
                        <a:pt x="1538" y="2153"/>
                        <a:pt x="1517" y="2163"/>
                        <a:pt x="1509" y="2157"/>
                      </a:cubicBezTo>
                      <a:cubicBezTo>
                        <a:pt x="1496" y="2147"/>
                        <a:pt x="1527" y="2152"/>
                        <a:pt x="1494" y="2144"/>
                      </a:cubicBezTo>
                      <a:cubicBezTo>
                        <a:pt x="1492" y="2143"/>
                        <a:pt x="1492" y="2147"/>
                        <a:pt x="1491" y="2147"/>
                      </a:cubicBezTo>
                      <a:cubicBezTo>
                        <a:pt x="1490" y="2147"/>
                        <a:pt x="1477" y="2143"/>
                        <a:pt x="1473" y="2141"/>
                      </a:cubicBezTo>
                      <a:cubicBezTo>
                        <a:pt x="1462" y="2136"/>
                        <a:pt x="1462" y="2136"/>
                        <a:pt x="1462" y="2136"/>
                      </a:cubicBezTo>
                      <a:close/>
                      <a:moveTo>
                        <a:pt x="237" y="1058"/>
                      </a:moveTo>
                      <a:cubicBezTo>
                        <a:pt x="241" y="1058"/>
                        <a:pt x="254" y="1061"/>
                        <a:pt x="255" y="1061"/>
                      </a:cubicBezTo>
                      <a:cubicBezTo>
                        <a:pt x="261" y="1064"/>
                        <a:pt x="266" y="1071"/>
                        <a:pt x="273" y="1074"/>
                      </a:cubicBezTo>
                      <a:cubicBezTo>
                        <a:pt x="284" y="1079"/>
                        <a:pt x="299" y="1077"/>
                        <a:pt x="308" y="1086"/>
                      </a:cubicBezTo>
                      <a:cubicBezTo>
                        <a:pt x="313" y="1090"/>
                        <a:pt x="318" y="1094"/>
                        <a:pt x="322" y="1099"/>
                      </a:cubicBezTo>
                      <a:cubicBezTo>
                        <a:pt x="324" y="1101"/>
                        <a:pt x="323" y="1105"/>
                        <a:pt x="325" y="1108"/>
                      </a:cubicBezTo>
                      <a:cubicBezTo>
                        <a:pt x="327" y="1109"/>
                        <a:pt x="331" y="1108"/>
                        <a:pt x="332" y="1111"/>
                      </a:cubicBezTo>
                      <a:cubicBezTo>
                        <a:pt x="333" y="1115"/>
                        <a:pt x="333" y="1120"/>
                        <a:pt x="330" y="1124"/>
                      </a:cubicBezTo>
                      <a:cubicBezTo>
                        <a:pt x="329" y="1126"/>
                        <a:pt x="323" y="1123"/>
                        <a:pt x="323" y="1125"/>
                      </a:cubicBezTo>
                      <a:cubicBezTo>
                        <a:pt x="322" y="1128"/>
                        <a:pt x="327" y="1129"/>
                        <a:pt x="329" y="1131"/>
                      </a:cubicBezTo>
                      <a:cubicBezTo>
                        <a:pt x="330" y="1133"/>
                        <a:pt x="329" y="1135"/>
                        <a:pt x="330" y="1137"/>
                      </a:cubicBezTo>
                      <a:cubicBezTo>
                        <a:pt x="330" y="1140"/>
                        <a:pt x="331" y="1145"/>
                        <a:pt x="330" y="1149"/>
                      </a:cubicBezTo>
                      <a:cubicBezTo>
                        <a:pt x="325" y="1164"/>
                        <a:pt x="307" y="1144"/>
                        <a:pt x="300" y="1154"/>
                      </a:cubicBezTo>
                      <a:cubicBezTo>
                        <a:pt x="293" y="1164"/>
                        <a:pt x="304" y="1178"/>
                        <a:pt x="300" y="1180"/>
                      </a:cubicBezTo>
                      <a:cubicBezTo>
                        <a:pt x="294" y="1184"/>
                        <a:pt x="284" y="1185"/>
                        <a:pt x="283" y="1185"/>
                      </a:cubicBezTo>
                      <a:cubicBezTo>
                        <a:pt x="282" y="1182"/>
                        <a:pt x="286" y="1180"/>
                        <a:pt x="285" y="1177"/>
                      </a:cubicBezTo>
                      <a:cubicBezTo>
                        <a:pt x="284" y="1174"/>
                        <a:pt x="283" y="1172"/>
                        <a:pt x="281" y="1169"/>
                      </a:cubicBezTo>
                      <a:cubicBezTo>
                        <a:pt x="279" y="1168"/>
                        <a:pt x="276" y="1168"/>
                        <a:pt x="274" y="1167"/>
                      </a:cubicBezTo>
                      <a:cubicBezTo>
                        <a:pt x="266" y="1158"/>
                        <a:pt x="265" y="1151"/>
                        <a:pt x="260" y="1146"/>
                      </a:cubicBezTo>
                      <a:cubicBezTo>
                        <a:pt x="258" y="1144"/>
                        <a:pt x="249" y="1139"/>
                        <a:pt x="248" y="1137"/>
                      </a:cubicBezTo>
                      <a:cubicBezTo>
                        <a:pt x="245" y="1134"/>
                        <a:pt x="247" y="1130"/>
                        <a:pt x="245" y="1127"/>
                      </a:cubicBezTo>
                      <a:cubicBezTo>
                        <a:pt x="237" y="1116"/>
                        <a:pt x="223" y="1115"/>
                        <a:pt x="214" y="1107"/>
                      </a:cubicBezTo>
                      <a:cubicBezTo>
                        <a:pt x="212" y="1105"/>
                        <a:pt x="221" y="1111"/>
                        <a:pt x="220" y="1109"/>
                      </a:cubicBezTo>
                      <a:cubicBezTo>
                        <a:pt x="219" y="1106"/>
                        <a:pt x="212" y="1107"/>
                        <a:pt x="212" y="1104"/>
                      </a:cubicBezTo>
                      <a:cubicBezTo>
                        <a:pt x="212" y="1095"/>
                        <a:pt x="230" y="1082"/>
                        <a:pt x="232" y="1074"/>
                      </a:cubicBezTo>
                      <a:cubicBezTo>
                        <a:pt x="232" y="1073"/>
                        <a:pt x="228" y="1074"/>
                        <a:pt x="228" y="1073"/>
                      </a:cubicBezTo>
                      <a:cubicBezTo>
                        <a:pt x="228" y="1070"/>
                        <a:pt x="230" y="1067"/>
                        <a:pt x="231" y="1065"/>
                      </a:cubicBezTo>
                      <a:cubicBezTo>
                        <a:pt x="231" y="1062"/>
                        <a:pt x="231" y="1058"/>
                        <a:pt x="233" y="1057"/>
                      </a:cubicBezTo>
                      <a:cubicBezTo>
                        <a:pt x="234" y="1056"/>
                        <a:pt x="239" y="1057"/>
                        <a:pt x="237" y="1058"/>
                      </a:cubicBezTo>
                      <a:close/>
                      <a:moveTo>
                        <a:pt x="446" y="0"/>
                      </a:moveTo>
                      <a:cubicBezTo>
                        <a:pt x="438" y="0"/>
                        <a:pt x="438" y="0"/>
                        <a:pt x="438" y="0"/>
                      </a:cubicBezTo>
                      <a:cubicBezTo>
                        <a:pt x="436" y="3"/>
                        <a:pt x="434" y="5"/>
                        <a:pt x="430" y="3"/>
                      </a:cubicBezTo>
                      <a:cubicBezTo>
                        <a:pt x="429" y="3"/>
                        <a:pt x="428" y="2"/>
                        <a:pt x="427" y="0"/>
                      </a:cubicBezTo>
                      <a:cubicBezTo>
                        <a:pt x="392" y="0"/>
                        <a:pt x="392" y="0"/>
                        <a:pt x="392" y="0"/>
                      </a:cubicBezTo>
                      <a:cubicBezTo>
                        <a:pt x="392" y="1"/>
                        <a:pt x="392" y="2"/>
                        <a:pt x="392" y="2"/>
                      </a:cubicBezTo>
                      <a:cubicBezTo>
                        <a:pt x="391" y="11"/>
                        <a:pt x="374" y="13"/>
                        <a:pt x="381" y="26"/>
                      </a:cubicBezTo>
                      <a:cubicBezTo>
                        <a:pt x="383" y="31"/>
                        <a:pt x="386" y="35"/>
                        <a:pt x="390" y="37"/>
                      </a:cubicBezTo>
                      <a:cubicBezTo>
                        <a:pt x="391" y="38"/>
                        <a:pt x="394" y="35"/>
                        <a:pt x="395" y="36"/>
                      </a:cubicBezTo>
                      <a:cubicBezTo>
                        <a:pt x="396" y="36"/>
                        <a:pt x="395" y="38"/>
                        <a:pt x="395" y="39"/>
                      </a:cubicBezTo>
                      <a:cubicBezTo>
                        <a:pt x="396" y="40"/>
                        <a:pt x="399" y="38"/>
                        <a:pt x="398" y="39"/>
                      </a:cubicBezTo>
                      <a:cubicBezTo>
                        <a:pt x="395" y="41"/>
                        <a:pt x="391" y="40"/>
                        <a:pt x="389" y="43"/>
                      </a:cubicBezTo>
                      <a:cubicBezTo>
                        <a:pt x="387" y="44"/>
                        <a:pt x="383" y="59"/>
                        <a:pt x="388" y="61"/>
                      </a:cubicBezTo>
                      <a:cubicBezTo>
                        <a:pt x="394" y="63"/>
                        <a:pt x="401" y="51"/>
                        <a:pt x="407" y="55"/>
                      </a:cubicBezTo>
                      <a:cubicBezTo>
                        <a:pt x="408" y="55"/>
                        <a:pt x="407" y="58"/>
                        <a:pt x="407" y="59"/>
                      </a:cubicBezTo>
                      <a:cubicBezTo>
                        <a:pt x="407" y="63"/>
                        <a:pt x="403" y="68"/>
                        <a:pt x="405" y="72"/>
                      </a:cubicBezTo>
                      <a:cubicBezTo>
                        <a:pt x="407" y="75"/>
                        <a:pt x="414" y="73"/>
                        <a:pt x="415" y="77"/>
                      </a:cubicBezTo>
                      <a:cubicBezTo>
                        <a:pt x="416" y="80"/>
                        <a:pt x="410" y="83"/>
                        <a:pt x="411" y="87"/>
                      </a:cubicBezTo>
                      <a:cubicBezTo>
                        <a:pt x="411" y="90"/>
                        <a:pt x="414" y="93"/>
                        <a:pt x="416" y="95"/>
                      </a:cubicBezTo>
                      <a:cubicBezTo>
                        <a:pt x="417" y="97"/>
                        <a:pt x="421" y="98"/>
                        <a:pt x="420" y="98"/>
                      </a:cubicBezTo>
                      <a:cubicBezTo>
                        <a:pt x="416" y="101"/>
                        <a:pt x="410" y="98"/>
                        <a:pt x="406" y="101"/>
                      </a:cubicBezTo>
                      <a:cubicBezTo>
                        <a:pt x="399" y="107"/>
                        <a:pt x="413" y="126"/>
                        <a:pt x="416" y="130"/>
                      </a:cubicBezTo>
                      <a:cubicBezTo>
                        <a:pt x="422" y="136"/>
                        <a:pt x="445" y="157"/>
                        <a:pt x="450" y="134"/>
                      </a:cubicBezTo>
                      <a:cubicBezTo>
                        <a:pt x="450" y="131"/>
                        <a:pt x="440" y="126"/>
                        <a:pt x="443" y="123"/>
                      </a:cubicBezTo>
                      <a:cubicBezTo>
                        <a:pt x="447" y="120"/>
                        <a:pt x="450" y="129"/>
                        <a:pt x="454" y="131"/>
                      </a:cubicBezTo>
                      <a:cubicBezTo>
                        <a:pt x="458" y="133"/>
                        <a:pt x="465" y="134"/>
                        <a:pt x="465" y="127"/>
                      </a:cubicBezTo>
                      <a:cubicBezTo>
                        <a:pt x="465" y="123"/>
                        <a:pt x="462" y="119"/>
                        <a:pt x="462" y="115"/>
                      </a:cubicBezTo>
                      <a:cubicBezTo>
                        <a:pt x="462" y="112"/>
                        <a:pt x="464" y="121"/>
                        <a:pt x="466" y="123"/>
                      </a:cubicBezTo>
                      <a:cubicBezTo>
                        <a:pt x="468" y="126"/>
                        <a:pt x="471" y="128"/>
                        <a:pt x="475" y="129"/>
                      </a:cubicBezTo>
                      <a:cubicBezTo>
                        <a:pt x="476" y="130"/>
                        <a:pt x="478" y="131"/>
                        <a:pt x="478" y="129"/>
                      </a:cubicBezTo>
                      <a:cubicBezTo>
                        <a:pt x="478" y="128"/>
                        <a:pt x="478" y="125"/>
                        <a:pt x="478" y="123"/>
                      </a:cubicBezTo>
                      <a:cubicBezTo>
                        <a:pt x="478" y="124"/>
                        <a:pt x="479" y="125"/>
                        <a:pt x="480" y="127"/>
                      </a:cubicBezTo>
                      <a:cubicBezTo>
                        <a:pt x="480" y="129"/>
                        <a:pt x="477" y="132"/>
                        <a:pt x="479" y="132"/>
                      </a:cubicBezTo>
                      <a:cubicBezTo>
                        <a:pt x="484" y="133"/>
                        <a:pt x="489" y="132"/>
                        <a:pt x="493" y="129"/>
                      </a:cubicBezTo>
                      <a:cubicBezTo>
                        <a:pt x="493" y="129"/>
                        <a:pt x="493" y="128"/>
                        <a:pt x="493" y="128"/>
                      </a:cubicBezTo>
                      <a:cubicBezTo>
                        <a:pt x="495" y="129"/>
                        <a:pt x="502" y="125"/>
                        <a:pt x="500" y="128"/>
                      </a:cubicBezTo>
                      <a:cubicBezTo>
                        <a:pt x="497" y="133"/>
                        <a:pt x="484" y="136"/>
                        <a:pt x="487" y="140"/>
                      </a:cubicBezTo>
                      <a:cubicBezTo>
                        <a:pt x="490" y="144"/>
                        <a:pt x="497" y="141"/>
                        <a:pt x="499" y="145"/>
                      </a:cubicBezTo>
                      <a:cubicBezTo>
                        <a:pt x="502" y="148"/>
                        <a:pt x="498" y="154"/>
                        <a:pt x="501" y="157"/>
                      </a:cubicBezTo>
                      <a:cubicBezTo>
                        <a:pt x="503" y="159"/>
                        <a:pt x="505" y="152"/>
                        <a:pt x="508" y="151"/>
                      </a:cubicBezTo>
                      <a:cubicBezTo>
                        <a:pt x="511" y="150"/>
                        <a:pt x="513" y="153"/>
                        <a:pt x="516" y="153"/>
                      </a:cubicBezTo>
                      <a:cubicBezTo>
                        <a:pt x="518" y="153"/>
                        <a:pt x="520" y="151"/>
                        <a:pt x="520" y="149"/>
                      </a:cubicBezTo>
                      <a:cubicBezTo>
                        <a:pt x="520" y="149"/>
                        <a:pt x="518" y="148"/>
                        <a:pt x="519" y="148"/>
                      </a:cubicBezTo>
                      <a:cubicBezTo>
                        <a:pt x="523" y="147"/>
                        <a:pt x="544" y="149"/>
                        <a:pt x="546" y="146"/>
                      </a:cubicBezTo>
                      <a:cubicBezTo>
                        <a:pt x="549" y="142"/>
                        <a:pt x="536" y="134"/>
                        <a:pt x="540" y="131"/>
                      </a:cubicBezTo>
                      <a:cubicBezTo>
                        <a:pt x="547" y="127"/>
                        <a:pt x="561" y="125"/>
                        <a:pt x="568" y="123"/>
                      </a:cubicBezTo>
                      <a:cubicBezTo>
                        <a:pt x="566" y="121"/>
                        <a:pt x="563" y="121"/>
                        <a:pt x="559" y="121"/>
                      </a:cubicBezTo>
                      <a:cubicBezTo>
                        <a:pt x="559" y="120"/>
                        <a:pt x="557" y="122"/>
                        <a:pt x="557" y="121"/>
                      </a:cubicBezTo>
                      <a:cubicBezTo>
                        <a:pt x="558" y="107"/>
                        <a:pt x="600" y="112"/>
                        <a:pt x="581" y="97"/>
                      </a:cubicBezTo>
                      <a:cubicBezTo>
                        <a:pt x="578" y="94"/>
                        <a:pt x="567" y="98"/>
                        <a:pt x="563" y="98"/>
                      </a:cubicBezTo>
                      <a:cubicBezTo>
                        <a:pt x="553" y="99"/>
                        <a:pt x="542" y="95"/>
                        <a:pt x="532" y="93"/>
                      </a:cubicBezTo>
                      <a:cubicBezTo>
                        <a:pt x="520" y="90"/>
                        <a:pt x="501" y="80"/>
                        <a:pt x="490" y="72"/>
                      </a:cubicBezTo>
                      <a:cubicBezTo>
                        <a:pt x="488" y="70"/>
                        <a:pt x="487" y="67"/>
                        <a:pt x="484" y="65"/>
                      </a:cubicBezTo>
                      <a:cubicBezTo>
                        <a:pt x="482" y="65"/>
                        <a:pt x="480" y="69"/>
                        <a:pt x="477" y="68"/>
                      </a:cubicBezTo>
                      <a:cubicBezTo>
                        <a:pt x="470" y="63"/>
                        <a:pt x="473" y="53"/>
                        <a:pt x="469" y="47"/>
                      </a:cubicBezTo>
                      <a:cubicBezTo>
                        <a:pt x="467" y="43"/>
                        <a:pt x="463" y="42"/>
                        <a:pt x="459" y="40"/>
                      </a:cubicBezTo>
                      <a:cubicBezTo>
                        <a:pt x="458" y="39"/>
                        <a:pt x="458" y="35"/>
                        <a:pt x="455" y="35"/>
                      </a:cubicBezTo>
                      <a:cubicBezTo>
                        <a:pt x="452" y="35"/>
                        <a:pt x="450" y="42"/>
                        <a:pt x="448" y="39"/>
                      </a:cubicBezTo>
                      <a:cubicBezTo>
                        <a:pt x="447" y="35"/>
                        <a:pt x="452" y="32"/>
                        <a:pt x="452" y="28"/>
                      </a:cubicBezTo>
                      <a:cubicBezTo>
                        <a:pt x="453" y="24"/>
                        <a:pt x="453" y="19"/>
                        <a:pt x="451" y="16"/>
                      </a:cubicBezTo>
                      <a:cubicBezTo>
                        <a:pt x="450" y="13"/>
                        <a:pt x="447" y="12"/>
                        <a:pt x="445" y="12"/>
                      </a:cubicBezTo>
                      <a:cubicBezTo>
                        <a:pt x="442" y="13"/>
                        <a:pt x="438" y="19"/>
                        <a:pt x="437" y="16"/>
                      </a:cubicBezTo>
                      <a:cubicBezTo>
                        <a:pt x="432" y="8"/>
                        <a:pt x="458" y="9"/>
                        <a:pt x="446" y="0"/>
                      </a:cubicBezTo>
                      <a:close/>
                      <a:moveTo>
                        <a:pt x="619" y="87"/>
                      </a:moveTo>
                      <a:cubicBezTo>
                        <a:pt x="623" y="82"/>
                        <a:pt x="640" y="93"/>
                        <a:pt x="643" y="93"/>
                      </a:cubicBezTo>
                      <a:cubicBezTo>
                        <a:pt x="652" y="94"/>
                        <a:pt x="686" y="86"/>
                        <a:pt x="686" y="103"/>
                      </a:cubicBezTo>
                      <a:cubicBezTo>
                        <a:pt x="686" y="107"/>
                        <a:pt x="672" y="119"/>
                        <a:pt x="670" y="119"/>
                      </a:cubicBezTo>
                      <a:cubicBezTo>
                        <a:pt x="665" y="119"/>
                        <a:pt x="662" y="112"/>
                        <a:pt x="658" y="112"/>
                      </a:cubicBezTo>
                      <a:cubicBezTo>
                        <a:pt x="654" y="113"/>
                        <a:pt x="652" y="118"/>
                        <a:pt x="649" y="121"/>
                      </a:cubicBezTo>
                      <a:cubicBezTo>
                        <a:pt x="647" y="120"/>
                        <a:pt x="622" y="115"/>
                        <a:pt x="620" y="110"/>
                      </a:cubicBezTo>
                      <a:cubicBezTo>
                        <a:pt x="620" y="107"/>
                        <a:pt x="628" y="106"/>
                        <a:pt x="627" y="104"/>
                      </a:cubicBezTo>
                      <a:cubicBezTo>
                        <a:pt x="626" y="101"/>
                        <a:pt x="620" y="106"/>
                        <a:pt x="618" y="104"/>
                      </a:cubicBezTo>
                      <a:cubicBezTo>
                        <a:pt x="616" y="103"/>
                        <a:pt x="620" y="102"/>
                        <a:pt x="620" y="100"/>
                      </a:cubicBezTo>
                      <a:cubicBezTo>
                        <a:pt x="620" y="95"/>
                        <a:pt x="616" y="90"/>
                        <a:pt x="619" y="87"/>
                      </a:cubicBezTo>
                      <a:close/>
                      <a:moveTo>
                        <a:pt x="493" y="297"/>
                      </a:moveTo>
                      <a:cubicBezTo>
                        <a:pt x="503" y="298"/>
                        <a:pt x="508" y="296"/>
                        <a:pt x="516" y="303"/>
                      </a:cubicBezTo>
                      <a:cubicBezTo>
                        <a:pt x="518" y="305"/>
                        <a:pt x="520" y="312"/>
                        <a:pt x="520" y="315"/>
                      </a:cubicBezTo>
                      <a:cubicBezTo>
                        <a:pt x="518" y="318"/>
                        <a:pt x="518" y="305"/>
                        <a:pt x="514" y="305"/>
                      </a:cubicBezTo>
                      <a:cubicBezTo>
                        <a:pt x="510" y="305"/>
                        <a:pt x="515" y="329"/>
                        <a:pt x="515" y="329"/>
                      </a:cubicBezTo>
                      <a:cubicBezTo>
                        <a:pt x="515" y="336"/>
                        <a:pt x="508" y="348"/>
                        <a:pt x="503" y="353"/>
                      </a:cubicBezTo>
                      <a:cubicBezTo>
                        <a:pt x="502" y="353"/>
                        <a:pt x="501" y="351"/>
                        <a:pt x="499" y="352"/>
                      </a:cubicBezTo>
                      <a:cubicBezTo>
                        <a:pt x="486" y="357"/>
                        <a:pt x="482" y="349"/>
                        <a:pt x="475" y="338"/>
                      </a:cubicBezTo>
                      <a:cubicBezTo>
                        <a:pt x="462" y="316"/>
                        <a:pt x="462" y="296"/>
                        <a:pt x="493" y="297"/>
                      </a:cubicBezTo>
                      <a:close/>
                      <a:moveTo>
                        <a:pt x="411" y="1066"/>
                      </a:moveTo>
                      <a:cubicBezTo>
                        <a:pt x="402" y="1068"/>
                        <a:pt x="412" y="1057"/>
                        <a:pt x="395" y="1041"/>
                      </a:cubicBezTo>
                      <a:cubicBezTo>
                        <a:pt x="388" y="1033"/>
                        <a:pt x="333" y="1031"/>
                        <a:pt x="354" y="1011"/>
                      </a:cubicBezTo>
                      <a:cubicBezTo>
                        <a:pt x="323" y="998"/>
                        <a:pt x="351" y="998"/>
                        <a:pt x="341" y="981"/>
                      </a:cubicBezTo>
                      <a:cubicBezTo>
                        <a:pt x="348" y="982"/>
                        <a:pt x="357" y="1001"/>
                        <a:pt x="370" y="1008"/>
                      </a:cubicBezTo>
                      <a:cubicBezTo>
                        <a:pt x="370" y="998"/>
                        <a:pt x="362" y="988"/>
                        <a:pt x="365" y="986"/>
                      </a:cubicBezTo>
                      <a:cubicBezTo>
                        <a:pt x="386" y="954"/>
                        <a:pt x="341" y="962"/>
                        <a:pt x="323" y="945"/>
                      </a:cubicBezTo>
                      <a:cubicBezTo>
                        <a:pt x="341" y="943"/>
                        <a:pt x="353" y="951"/>
                        <a:pt x="372" y="957"/>
                      </a:cubicBezTo>
                      <a:cubicBezTo>
                        <a:pt x="379" y="994"/>
                        <a:pt x="387" y="998"/>
                        <a:pt x="404" y="1012"/>
                      </a:cubicBezTo>
                      <a:cubicBezTo>
                        <a:pt x="432" y="1026"/>
                        <a:pt x="430" y="1047"/>
                        <a:pt x="423" y="1047"/>
                      </a:cubicBezTo>
                      <a:cubicBezTo>
                        <a:pt x="416" y="1046"/>
                        <a:pt x="421" y="1065"/>
                        <a:pt x="411" y="1066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</a:bodyPr>
                <a:lstStyle>
                  <a:defPPr>
                    <a:defRPr lang="es-E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12" name="Russia" descr="{&quot;Key&quot;:&quot;russia&quot;,&quot;Name&quot;:&quot;Russia&quot;,&quot;Value&quot;:1.0,&quot;Formula&quot;:&quot;&quot;,&quot;Text&quot;:&quot;&quot;,&quot;OfficeApplication&quot;:1,&quot;HasValue&quot;:true}">
                  <a:extLst>
                    <a:ext uri="{FF2B5EF4-FFF2-40B4-BE49-F238E27FC236}">
                      <a16:creationId xmlns:a16="http://schemas.microsoft.com/office/drawing/2014/main" id="{9F592C31-E4F8-3EB0-357E-0FD3EE5A746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248084" y="7206044"/>
                  <a:ext cx="226588" cy="135396"/>
                </a:xfrm>
                <a:custGeom>
                  <a:avLst/>
                  <a:gdLst>
                    <a:gd name="T0" fmla="*/ 136 w 136"/>
                    <a:gd name="T1" fmla="*/ 57 h 75"/>
                    <a:gd name="T2" fmla="*/ 132 w 136"/>
                    <a:gd name="T3" fmla="*/ 19 h 75"/>
                    <a:gd name="T4" fmla="*/ 125 w 136"/>
                    <a:gd name="T5" fmla="*/ 14 h 75"/>
                    <a:gd name="T6" fmla="*/ 122 w 136"/>
                    <a:gd name="T7" fmla="*/ 14 h 75"/>
                    <a:gd name="T8" fmla="*/ 119 w 136"/>
                    <a:gd name="T9" fmla="*/ 7 h 75"/>
                    <a:gd name="T10" fmla="*/ 94 w 136"/>
                    <a:gd name="T11" fmla="*/ 13 h 75"/>
                    <a:gd name="T12" fmla="*/ 94 w 136"/>
                    <a:gd name="T13" fmla="*/ 10 h 75"/>
                    <a:gd name="T14" fmla="*/ 68 w 136"/>
                    <a:gd name="T15" fmla="*/ 5 h 75"/>
                    <a:gd name="T16" fmla="*/ 65 w 136"/>
                    <a:gd name="T17" fmla="*/ 0 h 75"/>
                    <a:gd name="T18" fmla="*/ 61 w 136"/>
                    <a:gd name="T19" fmla="*/ 3 h 75"/>
                    <a:gd name="T20" fmla="*/ 61 w 136"/>
                    <a:gd name="T21" fmla="*/ 7 h 75"/>
                    <a:gd name="T22" fmla="*/ 58 w 136"/>
                    <a:gd name="T23" fmla="*/ 7 h 75"/>
                    <a:gd name="T24" fmla="*/ 63 w 136"/>
                    <a:gd name="T25" fmla="*/ 26 h 75"/>
                    <a:gd name="T26" fmla="*/ 33 w 136"/>
                    <a:gd name="T27" fmla="*/ 29 h 75"/>
                    <a:gd name="T28" fmla="*/ 34 w 136"/>
                    <a:gd name="T29" fmla="*/ 26 h 75"/>
                    <a:gd name="T30" fmla="*/ 12 w 136"/>
                    <a:gd name="T31" fmla="*/ 33 h 75"/>
                    <a:gd name="T32" fmla="*/ 9 w 136"/>
                    <a:gd name="T33" fmla="*/ 34 h 75"/>
                    <a:gd name="T34" fmla="*/ 11 w 136"/>
                    <a:gd name="T35" fmla="*/ 48 h 75"/>
                    <a:gd name="T36" fmla="*/ 0 w 136"/>
                    <a:gd name="T37" fmla="*/ 71 h 75"/>
                    <a:gd name="T38" fmla="*/ 135 w 136"/>
                    <a:gd name="T39" fmla="*/ 57 h 75"/>
                    <a:gd name="T40" fmla="*/ 136 w 136"/>
                    <a:gd name="T41" fmla="*/ 57 h 75"/>
                    <a:gd name="T42" fmla="*/ 48 w 136"/>
                    <a:gd name="T43" fmla="*/ 2 h 75"/>
                    <a:gd name="T44" fmla="*/ 47 w 136"/>
                    <a:gd name="T45" fmla="*/ 2 h 75"/>
                    <a:gd name="T46" fmla="*/ 45 w 136"/>
                    <a:gd name="T47" fmla="*/ 8 h 75"/>
                    <a:gd name="T48" fmla="*/ 48 w 136"/>
                    <a:gd name="T49" fmla="*/ 2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36" h="75">
                      <a:moveTo>
                        <a:pt x="136" y="57"/>
                      </a:moveTo>
                      <a:cubicBezTo>
                        <a:pt x="123" y="40"/>
                        <a:pt x="135" y="24"/>
                        <a:pt x="132" y="19"/>
                      </a:cubicBezTo>
                      <a:cubicBezTo>
                        <a:pt x="130" y="17"/>
                        <a:pt x="128" y="15"/>
                        <a:pt x="125" y="14"/>
                      </a:cubicBezTo>
                      <a:cubicBezTo>
                        <a:pt x="124" y="13"/>
                        <a:pt x="123" y="15"/>
                        <a:pt x="122" y="14"/>
                      </a:cubicBezTo>
                      <a:cubicBezTo>
                        <a:pt x="120" y="13"/>
                        <a:pt x="121" y="8"/>
                        <a:pt x="119" y="7"/>
                      </a:cubicBezTo>
                      <a:cubicBezTo>
                        <a:pt x="111" y="5"/>
                        <a:pt x="103" y="13"/>
                        <a:pt x="94" y="13"/>
                      </a:cubicBezTo>
                      <a:cubicBezTo>
                        <a:pt x="93" y="13"/>
                        <a:pt x="95" y="11"/>
                        <a:pt x="94" y="10"/>
                      </a:cubicBezTo>
                      <a:cubicBezTo>
                        <a:pt x="86" y="8"/>
                        <a:pt x="75" y="9"/>
                        <a:pt x="68" y="5"/>
                      </a:cubicBezTo>
                      <a:cubicBezTo>
                        <a:pt x="67" y="4"/>
                        <a:pt x="67" y="1"/>
                        <a:pt x="65" y="0"/>
                      </a:cubicBezTo>
                      <a:cubicBezTo>
                        <a:pt x="63" y="0"/>
                        <a:pt x="63" y="2"/>
                        <a:pt x="61" y="3"/>
                      </a:cubicBezTo>
                      <a:cubicBezTo>
                        <a:pt x="61" y="5"/>
                        <a:pt x="61" y="6"/>
                        <a:pt x="61" y="7"/>
                      </a:cubicBezTo>
                      <a:cubicBezTo>
                        <a:pt x="60" y="8"/>
                        <a:pt x="58" y="6"/>
                        <a:pt x="58" y="7"/>
                      </a:cubicBezTo>
                      <a:cubicBezTo>
                        <a:pt x="57" y="14"/>
                        <a:pt x="65" y="19"/>
                        <a:pt x="63" y="26"/>
                      </a:cubicBezTo>
                      <a:cubicBezTo>
                        <a:pt x="61" y="33"/>
                        <a:pt x="32" y="32"/>
                        <a:pt x="33" y="29"/>
                      </a:cubicBezTo>
                      <a:cubicBezTo>
                        <a:pt x="33" y="28"/>
                        <a:pt x="34" y="27"/>
                        <a:pt x="34" y="26"/>
                      </a:cubicBezTo>
                      <a:cubicBezTo>
                        <a:pt x="28" y="32"/>
                        <a:pt x="21" y="31"/>
                        <a:pt x="12" y="33"/>
                      </a:cubicBezTo>
                      <a:cubicBezTo>
                        <a:pt x="11" y="33"/>
                        <a:pt x="9" y="33"/>
                        <a:pt x="9" y="34"/>
                      </a:cubicBezTo>
                      <a:cubicBezTo>
                        <a:pt x="9" y="39"/>
                        <a:pt x="11" y="43"/>
                        <a:pt x="11" y="48"/>
                      </a:cubicBezTo>
                      <a:cubicBezTo>
                        <a:pt x="11" y="56"/>
                        <a:pt x="7" y="64"/>
                        <a:pt x="0" y="71"/>
                      </a:cubicBezTo>
                      <a:cubicBezTo>
                        <a:pt x="33" y="75"/>
                        <a:pt x="109" y="73"/>
                        <a:pt x="135" y="57"/>
                      </a:cubicBezTo>
                      <a:cubicBezTo>
                        <a:pt x="135" y="57"/>
                        <a:pt x="135" y="57"/>
                        <a:pt x="136" y="57"/>
                      </a:cubicBezTo>
                      <a:close/>
                      <a:moveTo>
                        <a:pt x="48" y="2"/>
                      </a:move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4"/>
                        <a:pt x="46" y="6"/>
                        <a:pt x="45" y="8"/>
                      </a:cubicBezTo>
                      <a:cubicBezTo>
                        <a:pt x="46" y="6"/>
                        <a:pt x="47" y="4"/>
                        <a:pt x="48" y="2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</a:bodyPr>
                <a:lstStyle>
                  <a:defPPr>
                    <a:defRPr lang="es-E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08" name="Montenegro" descr="{&quot;Key&quot;:&quot;montenegro&quot;,&quot;Name&quot;:&quot;Montenegro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ECB5D942-81FC-4DFB-57EF-B6FB09F2DD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23615" y="8778194"/>
                <a:ext cx="182160" cy="234153"/>
              </a:xfrm>
              <a:custGeom>
                <a:avLst/>
                <a:gdLst>
                  <a:gd name="T0" fmla="*/ 6 w 109"/>
                  <a:gd name="T1" fmla="*/ 88 h 130"/>
                  <a:gd name="T2" fmla="*/ 7 w 109"/>
                  <a:gd name="T3" fmla="*/ 92 h 130"/>
                  <a:gd name="T4" fmla="*/ 15 w 109"/>
                  <a:gd name="T5" fmla="*/ 92 h 130"/>
                  <a:gd name="T6" fmla="*/ 13 w 109"/>
                  <a:gd name="T7" fmla="*/ 96 h 130"/>
                  <a:gd name="T8" fmla="*/ 24 w 109"/>
                  <a:gd name="T9" fmla="*/ 103 h 130"/>
                  <a:gd name="T10" fmla="*/ 31 w 109"/>
                  <a:gd name="T11" fmla="*/ 101 h 130"/>
                  <a:gd name="T12" fmla="*/ 32 w 109"/>
                  <a:gd name="T13" fmla="*/ 107 h 130"/>
                  <a:gd name="T14" fmla="*/ 46 w 109"/>
                  <a:gd name="T15" fmla="*/ 117 h 130"/>
                  <a:gd name="T16" fmla="*/ 48 w 109"/>
                  <a:gd name="T17" fmla="*/ 124 h 130"/>
                  <a:gd name="T18" fmla="*/ 61 w 109"/>
                  <a:gd name="T19" fmla="*/ 130 h 130"/>
                  <a:gd name="T20" fmla="*/ 61 w 109"/>
                  <a:gd name="T21" fmla="*/ 119 h 130"/>
                  <a:gd name="T22" fmla="*/ 61 w 109"/>
                  <a:gd name="T23" fmla="*/ 112 h 130"/>
                  <a:gd name="T24" fmla="*/ 53 w 109"/>
                  <a:gd name="T25" fmla="*/ 106 h 130"/>
                  <a:gd name="T26" fmla="*/ 73 w 109"/>
                  <a:gd name="T27" fmla="*/ 68 h 130"/>
                  <a:gd name="T28" fmla="*/ 81 w 109"/>
                  <a:gd name="T29" fmla="*/ 82 h 130"/>
                  <a:gd name="T30" fmla="*/ 94 w 109"/>
                  <a:gd name="T31" fmla="*/ 72 h 130"/>
                  <a:gd name="T32" fmla="*/ 92 w 109"/>
                  <a:gd name="T33" fmla="*/ 60 h 130"/>
                  <a:gd name="T34" fmla="*/ 98 w 109"/>
                  <a:gd name="T35" fmla="*/ 56 h 130"/>
                  <a:gd name="T36" fmla="*/ 97 w 109"/>
                  <a:gd name="T37" fmla="*/ 51 h 130"/>
                  <a:gd name="T38" fmla="*/ 106 w 109"/>
                  <a:gd name="T39" fmla="*/ 47 h 130"/>
                  <a:gd name="T40" fmla="*/ 86 w 109"/>
                  <a:gd name="T41" fmla="*/ 31 h 130"/>
                  <a:gd name="T42" fmla="*/ 83 w 109"/>
                  <a:gd name="T43" fmla="*/ 18 h 130"/>
                  <a:gd name="T44" fmla="*/ 53 w 109"/>
                  <a:gd name="T45" fmla="*/ 3 h 130"/>
                  <a:gd name="T46" fmla="*/ 49 w 109"/>
                  <a:gd name="T47" fmla="*/ 2 h 130"/>
                  <a:gd name="T48" fmla="*/ 45 w 109"/>
                  <a:gd name="T49" fmla="*/ 0 h 130"/>
                  <a:gd name="T50" fmla="*/ 39 w 109"/>
                  <a:gd name="T51" fmla="*/ 9 h 130"/>
                  <a:gd name="T52" fmla="*/ 32 w 109"/>
                  <a:gd name="T53" fmla="*/ 9 h 130"/>
                  <a:gd name="T54" fmla="*/ 24 w 109"/>
                  <a:gd name="T55" fmla="*/ 10 h 130"/>
                  <a:gd name="T56" fmla="*/ 32 w 109"/>
                  <a:gd name="T57" fmla="*/ 31 h 130"/>
                  <a:gd name="T58" fmla="*/ 29 w 109"/>
                  <a:gd name="T59" fmla="*/ 31 h 130"/>
                  <a:gd name="T60" fmla="*/ 32 w 109"/>
                  <a:gd name="T61" fmla="*/ 31 h 130"/>
                  <a:gd name="T62" fmla="*/ 20 w 109"/>
                  <a:gd name="T63" fmla="*/ 23 h 130"/>
                  <a:gd name="T64" fmla="*/ 21 w 109"/>
                  <a:gd name="T65" fmla="*/ 22 h 130"/>
                  <a:gd name="T66" fmla="*/ 20 w 109"/>
                  <a:gd name="T67" fmla="*/ 23 h 130"/>
                  <a:gd name="T68" fmla="*/ 11 w 109"/>
                  <a:gd name="T69" fmla="*/ 48 h 130"/>
                  <a:gd name="T70" fmla="*/ 6 w 109"/>
                  <a:gd name="T71" fmla="*/ 50 h 130"/>
                  <a:gd name="T72" fmla="*/ 3 w 109"/>
                  <a:gd name="T73" fmla="*/ 54 h 130"/>
                  <a:gd name="T74" fmla="*/ 5 w 109"/>
                  <a:gd name="T75" fmla="*/ 83 h 130"/>
                  <a:gd name="T76" fmla="*/ 7 w 109"/>
                  <a:gd name="T77" fmla="*/ 83 h 130"/>
                  <a:gd name="T78" fmla="*/ 8 w 109"/>
                  <a:gd name="T79" fmla="*/ 92 h 130"/>
                  <a:gd name="T80" fmla="*/ 6 w 109"/>
                  <a:gd name="T81" fmla="*/ 88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09" h="130">
                    <a:moveTo>
                      <a:pt x="6" y="88"/>
                    </a:moveTo>
                    <a:cubicBezTo>
                      <a:pt x="7" y="92"/>
                      <a:pt x="7" y="92"/>
                      <a:pt x="7" y="92"/>
                    </a:cubicBezTo>
                    <a:cubicBezTo>
                      <a:pt x="10" y="92"/>
                      <a:pt x="12" y="92"/>
                      <a:pt x="15" y="92"/>
                    </a:cubicBezTo>
                    <a:cubicBezTo>
                      <a:pt x="14" y="94"/>
                      <a:pt x="13" y="95"/>
                      <a:pt x="13" y="96"/>
                    </a:cubicBezTo>
                    <a:cubicBezTo>
                      <a:pt x="18" y="107"/>
                      <a:pt x="21" y="105"/>
                      <a:pt x="24" y="103"/>
                    </a:cubicBezTo>
                    <a:cubicBezTo>
                      <a:pt x="26" y="101"/>
                      <a:pt x="28" y="100"/>
                      <a:pt x="31" y="101"/>
                    </a:cubicBezTo>
                    <a:cubicBezTo>
                      <a:pt x="32" y="103"/>
                      <a:pt x="31" y="105"/>
                      <a:pt x="32" y="107"/>
                    </a:cubicBezTo>
                    <a:cubicBezTo>
                      <a:pt x="37" y="112"/>
                      <a:pt x="43" y="111"/>
                      <a:pt x="46" y="117"/>
                    </a:cubicBezTo>
                    <a:cubicBezTo>
                      <a:pt x="48" y="119"/>
                      <a:pt x="46" y="122"/>
                      <a:pt x="48" y="124"/>
                    </a:cubicBezTo>
                    <a:cubicBezTo>
                      <a:pt x="52" y="127"/>
                      <a:pt x="56" y="129"/>
                      <a:pt x="61" y="130"/>
                    </a:cubicBezTo>
                    <a:cubicBezTo>
                      <a:pt x="61" y="126"/>
                      <a:pt x="61" y="122"/>
                      <a:pt x="61" y="119"/>
                    </a:cubicBezTo>
                    <a:cubicBezTo>
                      <a:pt x="61" y="117"/>
                      <a:pt x="62" y="114"/>
                      <a:pt x="61" y="112"/>
                    </a:cubicBezTo>
                    <a:cubicBezTo>
                      <a:pt x="59" y="109"/>
                      <a:pt x="54" y="109"/>
                      <a:pt x="53" y="106"/>
                    </a:cubicBezTo>
                    <a:cubicBezTo>
                      <a:pt x="53" y="105"/>
                      <a:pt x="71" y="69"/>
                      <a:pt x="73" y="68"/>
                    </a:cubicBezTo>
                    <a:cubicBezTo>
                      <a:pt x="74" y="67"/>
                      <a:pt x="76" y="81"/>
                      <a:pt x="81" y="82"/>
                    </a:cubicBezTo>
                    <a:cubicBezTo>
                      <a:pt x="94" y="72"/>
                      <a:pt x="94" y="72"/>
                      <a:pt x="94" y="72"/>
                    </a:cubicBezTo>
                    <a:cubicBezTo>
                      <a:pt x="93" y="66"/>
                      <a:pt x="94" y="66"/>
                      <a:pt x="92" y="60"/>
                    </a:cubicBezTo>
                    <a:cubicBezTo>
                      <a:pt x="91" y="57"/>
                      <a:pt x="95" y="59"/>
                      <a:pt x="98" y="56"/>
                    </a:cubicBezTo>
                    <a:cubicBezTo>
                      <a:pt x="100" y="55"/>
                      <a:pt x="99" y="53"/>
                      <a:pt x="97" y="51"/>
                    </a:cubicBezTo>
                    <a:cubicBezTo>
                      <a:pt x="95" y="49"/>
                      <a:pt x="109" y="49"/>
                      <a:pt x="106" y="47"/>
                    </a:cubicBezTo>
                    <a:cubicBezTo>
                      <a:pt x="99" y="42"/>
                      <a:pt x="92" y="34"/>
                      <a:pt x="86" y="31"/>
                    </a:cubicBezTo>
                    <a:cubicBezTo>
                      <a:pt x="82" y="29"/>
                      <a:pt x="87" y="22"/>
                      <a:pt x="83" y="18"/>
                    </a:cubicBezTo>
                    <a:cubicBezTo>
                      <a:pt x="76" y="11"/>
                      <a:pt x="59" y="7"/>
                      <a:pt x="53" y="3"/>
                    </a:cubicBezTo>
                    <a:cubicBezTo>
                      <a:pt x="52" y="4"/>
                      <a:pt x="51" y="3"/>
                      <a:pt x="49" y="2"/>
                    </a:cubicBezTo>
                    <a:cubicBezTo>
                      <a:pt x="48" y="1"/>
                      <a:pt x="47" y="0"/>
                      <a:pt x="45" y="0"/>
                    </a:cubicBezTo>
                    <a:cubicBezTo>
                      <a:pt x="42" y="1"/>
                      <a:pt x="41" y="6"/>
                      <a:pt x="39" y="9"/>
                    </a:cubicBezTo>
                    <a:cubicBezTo>
                      <a:pt x="38" y="9"/>
                      <a:pt x="35" y="9"/>
                      <a:pt x="32" y="9"/>
                    </a:cubicBezTo>
                    <a:cubicBezTo>
                      <a:pt x="28" y="9"/>
                      <a:pt x="24" y="9"/>
                      <a:pt x="24" y="10"/>
                    </a:cubicBezTo>
                    <a:cubicBezTo>
                      <a:pt x="22" y="18"/>
                      <a:pt x="36" y="19"/>
                      <a:pt x="32" y="31"/>
                    </a:cubicBezTo>
                    <a:cubicBezTo>
                      <a:pt x="29" y="31"/>
                      <a:pt x="29" y="31"/>
                      <a:pt x="29" y="31"/>
                    </a:cubicBezTo>
                    <a:cubicBezTo>
                      <a:pt x="32" y="31"/>
                      <a:pt x="32" y="31"/>
                      <a:pt x="32" y="31"/>
                    </a:cubicBezTo>
                    <a:cubicBezTo>
                      <a:pt x="26" y="27"/>
                      <a:pt x="26" y="23"/>
                      <a:pt x="20" y="23"/>
                    </a:cubicBezTo>
                    <a:cubicBezTo>
                      <a:pt x="21" y="22"/>
                      <a:pt x="21" y="22"/>
                      <a:pt x="21" y="22"/>
                    </a:cubicBezTo>
                    <a:cubicBezTo>
                      <a:pt x="20" y="23"/>
                      <a:pt x="20" y="23"/>
                      <a:pt x="20" y="23"/>
                    </a:cubicBezTo>
                    <a:cubicBezTo>
                      <a:pt x="12" y="32"/>
                      <a:pt x="13" y="45"/>
                      <a:pt x="11" y="48"/>
                    </a:cubicBezTo>
                    <a:cubicBezTo>
                      <a:pt x="9" y="51"/>
                      <a:pt x="7" y="51"/>
                      <a:pt x="6" y="50"/>
                    </a:cubicBezTo>
                    <a:cubicBezTo>
                      <a:pt x="5" y="50"/>
                      <a:pt x="4" y="49"/>
                      <a:pt x="3" y="54"/>
                    </a:cubicBezTo>
                    <a:cubicBezTo>
                      <a:pt x="0" y="70"/>
                      <a:pt x="18" y="71"/>
                      <a:pt x="5" y="83"/>
                    </a:cubicBezTo>
                    <a:cubicBezTo>
                      <a:pt x="7" y="83"/>
                      <a:pt x="7" y="83"/>
                      <a:pt x="7" y="83"/>
                    </a:cubicBezTo>
                    <a:cubicBezTo>
                      <a:pt x="8" y="92"/>
                      <a:pt x="8" y="92"/>
                      <a:pt x="8" y="92"/>
                    </a:cubicBezTo>
                    <a:cubicBezTo>
                      <a:pt x="7" y="90"/>
                      <a:pt x="7" y="89"/>
                      <a:pt x="6" y="88"/>
                    </a:cubicBezTo>
                  </a:path>
                </a:pathLst>
              </a:custGeom>
              <a:grpFill/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9" name="Serbia" descr="{&quot;Key&quot;:&quot;serbia&quot;,&quot;Name&quot;:&quot;Serbia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0C9D832C-6ACE-E125-50DB-CC851F7F83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17684" y="8422980"/>
                <a:ext cx="420596" cy="584585"/>
              </a:xfrm>
              <a:custGeom>
                <a:avLst/>
                <a:gdLst>
                  <a:gd name="T0" fmla="*/ 108 w 251"/>
                  <a:gd name="T1" fmla="*/ 286 h 325"/>
                  <a:gd name="T2" fmla="*/ 114 w 251"/>
                  <a:gd name="T3" fmla="*/ 285 h 325"/>
                  <a:gd name="T4" fmla="*/ 129 w 251"/>
                  <a:gd name="T5" fmla="*/ 315 h 325"/>
                  <a:gd name="T6" fmla="*/ 141 w 251"/>
                  <a:gd name="T7" fmla="*/ 299 h 325"/>
                  <a:gd name="T8" fmla="*/ 170 w 251"/>
                  <a:gd name="T9" fmla="*/ 293 h 325"/>
                  <a:gd name="T10" fmla="*/ 181 w 251"/>
                  <a:gd name="T11" fmla="*/ 280 h 325"/>
                  <a:gd name="T12" fmla="*/ 224 w 251"/>
                  <a:gd name="T13" fmla="*/ 268 h 325"/>
                  <a:gd name="T14" fmla="*/ 228 w 251"/>
                  <a:gd name="T15" fmla="*/ 250 h 325"/>
                  <a:gd name="T16" fmla="*/ 224 w 251"/>
                  <a:gd name="T17" fmla="*/ 249 h 325"/>
                  <a:gd name="T18" fmla="*/ 221 w 251"/>
                  <a:gd name="T19" fmla="*/ 231 h 325"/>
                  <a:gd name="T20" fmla="*/ 237 w 251"/>
                  <a:gd name="T21" fmla="*/ 223 h 325"/>
                  <a:gd name="T22" fmla="*/ 220 w 251"/>
                  <a:gd name="T23" fmla="*/ 183 h 325"/>
                  <a:gd name="T24" fmla="*/ 217 w 251"/>
                  <a:gd name="T25" fmla="*/ 138 h 325"/>
                  <a:gd name="T26" fmla="*/ 204 w 251"/>
                  <a:gd name="T27" fmla="*/ 108 h 325"/>
                  <a:gd name="T28" fmla="*/ 187 w 251"/>
                  <a:gd name="T29" fmla="*/ 111 h 325"/>
                  <a:gd name="T30" fmla="*/ 167 w 251"/>
                  <a:gd name="T31" fmla="*/ 102 h 325"/>
                  <a:gd name="T32" fmla="*/ 155 w 251"/>
                  <a:gd name="T33" fmla="*/ 97 h 325"/>
                  <a:gd name="T34" fmla="*/ 142 w 251"/>
                  <a:gd name="T35" fmla="*/ 90 h 325"/>
                  <a:gd name="T36" fmla="*/ 141 w 251"/>
                  <a:gd name="T37" fmla="*/ 80 h 325"/>
                  <a:gd name="T38" fmla="*/ 105 w 251"/>
                  <a:gd name="T39" fmla="*/ 50 h 325"/>
                  <a:gd name="T40" fmla="*/ 103 w 251"/>
                  <a:gd name="T41" fmla="*/ 29 h 325"/>
                  <a:gd name="T42" fmla="*/ 91 w 251"/>
                  <a:gd name="T43" fmla="*/ 20 h 325"/>
                  <a:gd name="T44" fmla="*/ 72 w 251"/>
                  <a:gd name="T45" fmla="*/ 7 h 325"/>
                  <a:gd name="T46" fmla="*/ 48 w 251"/>
                  <a:gd name="T47" fmla="*/ 9 h 325"/>
                  <a:gd name="T48" fmla="*/ 21 w 251"/>
                  <a:gd name="T49" fmla="*/ 23 h 325"/>
                  <a:gd name="T50" fmla="*/ 12 w 251"/>
                  <a:gd name="T51" fmla="*/ 23 h 325"/>
                  <a:gd name="T52" fmla="*/ 0 w 251"/>
                  <a:gd name="T53" fmla="*/ 33 h 325"/>
                  <a:gd name="T54" fmla="*/ 12 w 251"/>
                  <a:gd name="T55" fmla="*/ 58 h 325"/>
                  <a:gd name="T56" fmla="*/ 14 w 251"/>
                  <a:gd name="T57" fmla="*/ 61 h 325"/>
                  <a:gd name="T58" fmla="*/ 15 w 251"/>
                  <a:gd name="T59" fmla="*/ 67 h 325"/>
                  <a:gd name="T60" fmla="*/ 36 w 251"/>
                  <a:gd name="T61" fmla="*/ 78 h 325"/>
                  <a:gd name="T62" fmla="*/ 23 w 251"/>
                  <a:gd name="T63" fmla="*/ 81 h 325"/>
                  <a:gd name="T64" fmla="*/ 25 w 251"/>
                  <a:gd name="T65" fmla="*/ 101 h 325"/>
                  <a:gd name="T66" fmla="*/ 36 w 251"/>
                  <a:gd name="T67" fmla="*/ 103 h 325"/>
                  <a:gd name="T68" fmla="*/ 34 w 251"/>
                  <a:gd name="T69" fmla="*/ 149 h 325"/>
                  <a:gd name="T70" fmla="*/ 52 w 251"/>
                  <a:gd name="T71" fmla="*/ 162 h 325"/>
                  <a:gd name="T72" fmla="*/ 45 w 251"/>
                  <a:gd name="T73" fmla="*/ 170 h 325"/>
                  <a:gd name="T74" fmla="*/ 56 w 251"/>
                  <a:gd name="T75" fmla="*/ 200 h 325"/>
                  <a:gd name="T76" fmla="*/ 90 w 251"/>
                  <a:gd name="T77" fmla="*/ 230 h 325"/>
                  <a:gd name="T78" fmla="*/ 101 w 251"/>
                  <a:gd name="T79" fmla="*/ 249 h 325"/>
                  <a:gd name="T80" fmla="*/ 97 w 251"/>
                  <a:gd name="T81" fmla="*/ 269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51" h="325">
                    <a:moveTo>
                      <a:pt x="96" y="269"/>
                    </a:moveTo>
                    <a:cubicBezTo>
                      <a:pt x="105" y="269"/>
                      <a:pt x="103" y="283"/>
                      <a:pt x="108" y="286"/>
                    </a:cubicBezTo>
                    <a:cubicBezTo>
                      <a:pt x="109" y="287"/>
                      <a:pt x="110" y="286"/>
                      <a:pt x="111" y="286"/>
                    </a:cubicBezTo>
                    <a:cubicBezTo>
                      <a:pt x="112" y="286"/>
                      <a:pt x="113" y="285"/>
                      <a:pt x="114" y="285"/>
                    </a:cubicBezTo>
                    <a:cubicBezTo>
                      <a:pt x="118" y="287"/>
                      <a:pt x="122" y="288"/>
                      <a:pt x="125" y="291"/>
                    </a:cubicBezTo>
                    <a:cubicBezTo>
                      <a:pt x="132" y="299"/>
                      <a:pt x="131" y="307"/>
                      <a:pt x="129" y="315"/>
                    </a:cubicBezTo>
                    <a:cubicBezTo>
                      <a:pt x="131" y="315"/>
                      <a:pt x="131" y="315"/>
                      <a:pt x="131" y="315"/>
                    </a:cubicBezTo>
                    <a:cubicBezTo>
                      <a:pt x="145" y="325"/>
                      <a:pt x="137" y="301"/>
                      <a:pt x="141" y="299"/>
                    </a:cubicBezTo>
                    <a:cubicBezTo>
                      <a:pt x="147" y="295"/>
                      <a:pt x="154" y="290"/>
                      <a:pt x="161" y="289"/>
                    </a:cubicBezTo>
                    <a:cubicBezTo>
                      <a:pt x="164" y="289"/>
                      <a:pt x="169" y="296"/>
                      <a:pt x="170" y="293"/>
                    </a:cubicBezTo>
                    <a:cubicBezTo>
                      <a:pt x="171" y="291"/>
                      <a:pt x="168" y="289"/>
                      <a:pt x="169" y="287"/>
                    </a:cubicBezTo>
                    <a:cubicBezTo>
                      <a:pt x="172" y="279"/>
                      <a:pt x="176" y="279"/>
                      <a:pt x="181" y="280"/>
                    </a:cubicBezTo>
                    <a:cubicBezTo>
                      <a:pt x="183" y="281"/>
                      <a:pt x="186" y="281"/>
                      <a:pt x="189" y="280"/>
                    </a:cubicBezTo>
                    <a:cubicBezTo>
                      <a:pt x="198" y="279"/>
                      <a:pt x="216" y="261"/>
                      <a:pt x="224" y="268"/>
                    </a:cubicBezTo>
                    <a:cubicBezTo>
                      <a:pt x="227" y="263"/>
                      <a:pt x="234" y="262"/>
                      <a:pt x="232" y="254"/>
                    </a:cubicBezTo>
                    <a:cubicBezTo>
                      <a:pt x="231" y="252"/>
                      <a:pt x="229" y="251"/>
                      <a:pt x="228" y="250"/>
                    </a:cubicBezTo>
                    <a:cubicBezTo>
                      <a:pt x="227" y="250"/>
                      <a:pt x="227" y="250"/>
                      <a:pt x="226" y="250"/>
                    </a:cubicBezTo>
                    <a:cubicBezTo>
                      <a:pt x="225" y="250"/>
                      <a:pt x="225" y="250"/>
                      <a:pt x="224" y="249"/>
                    </a:cubicBezTo>
                    <a:cubicBezTo>
                      <a:pt x="224" y="246"/>
                      <a:pt x="224" y="244"/>
                      <a:pt x="224" y="241"/>
                    </a:cubicBezTo>
                    <a:cubicBezTo>
                      <a:pt x="224" y="237"/>
                      <a:pt x="220" y="234"/>
                      <a:pt x="221" y="231"/>
                    </a:cubicBezTo>
                    <a:cubicBezTo>
                      <a:pt x="231" y="216"/>
                      <a:pt x="229" y="220"/>
                      <a:pt x="229" y="224"/>
                    </a:cubicBezTo>
                    <a:cubicBezTo>
                      <a:pt x="229" y="226"/>
                      <a:pt x="229" y="229"/>
                      <a:pt x="237" y="223"/>
                    </a:cubicBezTo>
                    <a:cubicBezTo>
                      <a:pt x="239" y="222"/>
                      <a:pt x="251" y="201"/>
                      <a:pt x="248" y="197"/>
                    </a:cubicBezTo>
                    <a:cubicBezTo>
                      <a:pt x="243" y="194"/>
                      <a:pt x="221" y="184"/>
                      <a:pt x="220" y="183"/>
                    </a:cubicBezTo>
                    <a:cubicBezTo>
                      <a:pt x="214" y="177"/>
                      <a:pt x="203" y="153"/>
                      <a:pt x="207" y="145"/>
                    </a:cubicBezTo>
                    <a:cubicBezTo>
                      <a:pt x="208" y="141"/>
                      <a:pt x="215" y="141"/>
                      <a:pt x="217" y="138"/>
                    </a:cubicBezTo>
                    <a:cubicBezTo>
                      <a:pt x="219" y="134"/>
                      <a:pt x="216" y="129"/>
                      <a:pt x="218" y="125"/>
                    </a:cubicBezTo>
                    <a:cubicBezTo>
                      <a:pt x="210" y="121"/>
                      <a:pt x="203" y="116"/>
                      <a:pt x="204" y="108"/>
                    </a:cubicBezTo>
                    <a:cubicBezTo>
                      <a:pt x="205" y="103"/>
                      <a:pt x="223" y="103"/>
                      <a:pt x="218" y="100"/>
                    </a:cubicBezTo>
                    <a:cubicBezTo>
                      <a:pt x="158" y="70"/>
                      <a:pt x="211" y="97"/>
                      <a:pt x="187" y="111"/>
                    </a:cubicBezTo>
                    <a:cubicBezTo>
                      <a:pt x="183" y="114"/>
                      <a:pt x="181" y="104"/>
                      <a:pt x="177" y="102"/>
                    </a:cubicBezTo>
                    <a:cubicBezTo>
                      <a:pt x="174" y="101"/>
                      <a:pt x="170" y="102"/>
                      <a:pt x="167" y="102"/>
                    </a:cubicBezTo>
                    <a:cubicBezTo>
                      <a:pt x="164" y="102"/>
                      <a:pt x="160" y="104"/>
                      <a:pt x="157" y="103"/>
                    </a:cubicBezTo>
                    <a:cubicBezTo>
                      <a:pt x="155" y="102"/>
                      <a:pt x="156" y="99"/>
                      <a:pt x="155" y="97"/>
                    </a:cubicBezTo>
                    <a:cubicBezTo>
                      <a:pt x="154" y="94"/>
                      <a:pt x="149" y="94"/>
                      <a:pt x="144" y="95"/>
                    </a:cubicBezTo>
                    <a:cubicBezTo>
                      <a:pt x="138" y="95"/>
                      <a:pt x="134" y="96"/>
                      <a:pt x="142" y="90"/>
                    </a:cubicBezTo>
                    <a:cubicBezTo>
                      <a:pt x="145" y="88"/>
                      <a:pt x="154" y="86"/>
                      <a:pt x="151" y="84"/>
                    </a:cubicBezTo>
                    <a:cubicBezTo>
                      <a:pt x="148" y="82"/>
                      <a:pt x="142" y="84"/>
                      <a:pt x="141" y="80"/>
                    </a:cubicBezTo>
                    <a:cubicBezTo>
                      <a:pt x="141" y="77"/>
                      <a:pt x="152" y="71"/>
                      <a:pt x="145" y="66"/>
                    </a:cubicBezTo>
                    <a:cubicBezTo>
                      <a:pt x="134" y="60"/>
                      <a:pt x="112" y="63"/>
                      <a:pt x="105" y="50"/>
                    </a:cubicBezTo>
                    <a:cubicBezTo>
                      <a:pt x="103" y="47"/>
                      <a:pt x="103" y="33"/>
                      <a:pt x="103" y="30"/>
                    </a:cubicBezTo>
                    <a:cubicBezTo>
                      <a:pt x="103" y="29"/>
                      <a:pt x="103" y="29"/>
                      <a:pt x="103" y="29"/>
                    </a:cubicBezTo>
                    <a:cubicBezTo>
                      <a:pt x="102" y="29"/>
                      <a:pt x="100" y="33"/>
                      <a:pt x="99" y="32"/>
                    </a:cubicBezTo>
                    <a:cubicBezTo>
                      <a:pt x="95" y="29"/>
                      <a:pt x="95" y="23"/>
                      <a:pt x="91" y="20"/>
                    </a:cubicBezTo>
                    <a:cubicBezTo>
                      <a:pt x="88" y="18"/>
                      <a:pt x="83" y="19"/>
                      <a:pt x="79" y="16"/>
                    </a:cubicBezTo>
                    <a:cubicBezTo>
                      <a:pt x="76" y="14"/>
                      <a:pt x="74" y="10"/>
                      <a:pt x="72" y="7"/>
                    </a:cubicBezTo>
                    <a:cubicBezTo>
                      <a:pt x="69" y="7"/>
                      <a:pt x="66" y="4"/>
                      <a:pt x="64" y="4"/>
                    </a:cubicBezTo>
                    <a:cubicBezTo>
                      <a:pt x="63" y="4"/>
                      <a:pt x="48" y="9"/>
                      <a:pt x="48" y="9"/>
                    </a:cubicBezTo>
                    <a:cubicBezTo>
                      <a:pt x="38" y="8"/>
                      <a:pt x="49" y="0"/>
                      <a:pt x="36" y="8"/>
                    </a:cubicBezTo>
                    <a:cubicBezTo>
                      <a:pt x="30" y="12"/>
                      <a:pt x="26" y="19"/>
                      <a:pt x="21" y="23"/>
                    </a:cubicBezTo>
                    <a:cubicBezTo>
                      <a:pt x="18" y="25"/>
                      <a:pt x="16" y="24"/>
                      <a:pt x="15" y="23"/>
                    </a:cubicBezTo>
                    <a:cubicBezTo>
                      <a:pt x="14" y="22"/>
                      <a:pt x="13" y="22"/>
                      <a:pt x="12" y="23"/>
                    </a:cubicBezTo>
                    <a:cubicBezTo>
                      <a:pt x="5" y="31"/>
                      <a:pt x="4" y="32"/>
                      <a:pt x="0" y="32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10" y="46"/>
                      <a:pt x="8" y="43"/>
                      <a:pt x="6" y="56"/>
                    </a:cubicBezTo>
                    <a:cubicBezTo>
                      <a:pt x="6" y="59"/>
                      <a:pt x="9" y="58"/>
                      <a:pt x="12" y="58"/>
                    </a:cubicBezTo>
                    <a:cubicBezTo>
                      <a:pt x="15" y="58"/>
                      <a:pt x="18" y="57"/>
                      <a:pt x="18" y="60"/>
                    </a:cubicBezTo>
                    <a:cubicBezTo>
                      <a:pt x="17" y="63"/>
                      <a:pt x="16" y="62"/>
                      <a:pt x="14" y="61"/>
                    </a:cubicBezTo>
                    <a:cubicBezTo>
                      <a:pt x="14" y="61"/>
                      <a:pt x="13" y="61"/>
                      <a:pt x="13" y="61"/>
                    </a:cubicBezTo>
                    <a:cubicBezTo>
                      <a:pt x="9" y="64"/>
                      <a:pt x="15" y="65"/>
                      <a:pt x="15" y="67"/>
                    </a:cubicBezTo>
                    <a:cubicBezTo>
                      <a:pt x="15" y="68"/>
                      <a:pt x="10" y="69"/>
                      <a:pt x="13" y="71"/>
                    </a:cubicBezTo>
                    <a:cubicBezTo>
                      <a:pt x="19" y="76"/>
                      <a:pt x="29" y="78"/>
                      <a:pt x="36" y="78"/>
                    </a:cubicBezTo>
                    <a:cubicBezTo>
                      <a:pt x="37" y="85"/>
                      <a:pt x="33" y="83"/>
                      <a:pt x="28" y="82"/>
                    </a:cubicBezTo>
                    <a:cubicBezTo>
                      <a:pt x="26" y="81"/>
                      <a:pt x="24" y="80"/>
                      <a:pt x="23" y="81"/>
                    </a:cubicBezTo>
                    <a:cubicBezTo>
                      <a:pt x="23" y="88"/>
                      <a:pt x="18" y="91"/>
                      <a:pt x="25" y="98"/>
                    </a:cubicBezTo>
                    <a:cubicBezTo>
                      <a:pt x="26" y="99"/>
                      <a:pt x="26" y="100"/>
                      <a:pt x="25" y="101"/>
                    </a:cubicBezTo>
                    <a:cubicBezTo>
                      <a:pt x="23" y="104"/>
                      <a:pt x="14" y="102"/>
                      <a:pt x="19" y="107"/>
                    </a:cubicBezTo>
                    <a:cubicBezTo>
                      <a:pt x="25" y="106"/>
                      <a:pt x="30" y="102"/>
                      <a:pt x="36" y="103"/>
                    </a:cubicBezTo>
                    <a:cubicBezTo>
                      <a:pt x="36" y="120"/>
                      <a:pt x="26" y="132"/>
                      <a:pt x="27" y="143"/>
                    </a:cubicBezTo>
                    <a:cubicBezTo>
                      <a:pt x="29" y="151"/>
                      <a:pt x="31" y="150"/>
                      <a:pt x="34" y="149"/>
                    </a:cubicBezTo>
                    <a:cubicBezTo>
                      <a:pt x="36" y="149"/>
                      <a:pt x="38" y="148"/>
                      <a:pt x="41" y="150"/>
                    </a:cubicBezTo>
                    <a:cubicBezTo>
                      <a:pt x="46" y="152"/>
                      <a:pt x="47" y="159"/>
                      <a:pt x="52" y="162"/>
                    </a:cubicBezTo>
                    <a:cubicBezTo>
                      <a:pt x="54" y="163"/>
                      <a:pt x="60" y="161"/>
                      <a:pt x="58" y="166"/>
                    </a:cubicBezTo>
                    <a:cubicBezTo>
                      <a:pt x="56" y="173"/>
                      <a:pt x="50" y="171"/>
                      <a:pt x="45" y="170"/>
                    </a:cubicBezTo>
                    <a:cubicBezTo>
                      <a:pt x="42" y="168"/>
                      <a:pt x="39" y="167"/>
                      <a:pt x="38" y="169"/>
                    </a:cubicBezTo>
                    <a:cubicBezTo>
                      <a:pt x="38" y="169"/>
                      <a:pt x="63" y="193"/>
                      <a:pt x="56" y="200"/>
                    </a:cubicBezTo>
                    <a:cubicBezTo>
                      <a:pt x="70" y="207"/>
                      <a:pt x="63" y="204"/>
                      <a:pt x="84" y="213"/>
                    </a:cubicBezTo>
                    <a:cubicBezTo>
                      <a:pt x="91" y="215"/>
                      <a:pt x="84" y="227"/>
                      <a:pt x="90" y="230"/>
                    </a:cubicBezTo>
                    <a:cubicBezTo>
                      <a:pt x="100" y="234"/>
                      <a:pt x="100" y="239"/>
                      <a:pt x="107" y="242"/>
                    </a:cubicBezTo>
                    <a:cubicBezTo>
                      <a:pt x="113" y="246"/>
                      <a:pt x="97" y="246"/>
                      <a:pt x="101" y="249"/>
                    </a:cubicBezTo>
                    <a:cubicBezTo>
                      <a:pt x="108" y="254"/>
                      <a:pt x="96" y="253"/>
                      <a:pt x="95" y="256"/>
                    </a:cubicBezTo>
                    <a:cubicBezTo>
                      <a:pt x="99" y="271"/>
                      <a:pt x="98" y="270"/>
                      <a:pt x="97" y="269"/>
                    </a:cubicBezTo>
                    <a:cubicBezTo>
                      <a:pt x="97" y="268"/>
                      <a:pt x="96" y="268"/>
                      <a:pt x="96" y="269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0" name="Malta" descr="{&quot;Key&quot;:&quot;malta&quot;,&quot;Name&quot;:&quot;Malta&quot;,&quot;Value&quot;:1.0,&quot;Formula&quot;:&quot;&quot;,&quot;Text&quot;:&quot;&quot;,&quot;OfficeApplication&quot;:1,&quot;HasValue&quot;:true}">
                <a:extLst>
                  <a:ext uri="{FF2B5EF4-FFF2-40B4-BE49-F238E27FC236}">
                    <a16:creationId xmlns:a16="http://schemas.microsoft.com/office/drawing/2014/main" id="{19CE1610-0032-7499-5EC9-269DC4465D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51739" y="9851220"/>
                <a:ext cx="53976" cy="42862"/>
              </a:xfrm>
              <a:custGeom>
                <a:avLst/>
                <a:gdLst>
                  <a:gd name="T0" fmla="*/ 0 w 67"/>
                  <a:gd name="T1" fmla="*/ 0 h 54"/>
                  <a:gd name="T2" fmla="*/ 0 w 67"/>
                  <a:gd name="T3" fmla="*/ 41 h 54"/>
                  <a:gd name="T4" fmla="*/ 27 w 67"/>
                  <a:gd name="T5" fmla="*/ 41 h 54"/>
                  <a:gd name="T6" fmla="*/ 67 w 67"/>
                  <a:gd name="T7" fmla="*/ 54 h 54"/>
                  <a:gd name="T8" fmla="*/ 67 w 67"/>
                  <a:gd name="T9" fmla="*/ 14 h 54"/>
                  <a:gd name="T10" fmla="*/ 40 w 67"/>
                  <a:gd name="T11" fmla="*/ 0 h 54"/>
                  <a:gd name="T12" fmla="*/ 0 w 67"/>
                  <a:gd name="T13" fmla="*/ 0 h 5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7"/>
                  <a:gd name="T22" fmla="*/ 0 h 54"/>
                  <a:gd name="T23" fmla="*/ 67 w 67"/>
                  <a:gd name="T24" fmla="*/ 54 h 5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7" h="54">
                    <a:moveTo>
                      <a:pt x="0" y="0"/>
                    </a:moveTo>
                    <a:lnTo>
                      <a:pt x="0" y="41"/>
                    </a:lnTo>
                    <a:lnTo>
                      <a:pt x="27" y="41"/>
                    </a:lnTo>
                    <a:lnTo>
                      <a:pt x="67" y="54"/>
                    </a:lnTo>
                    <a:lnTo>
                      <a:pt x="67" y="14"/>
                    </a:lnTo>
                    <a:lnTo>
                      <a:pt x="40" y="0"/>
                    </a:lnTo>
                    <a:lnTo>
                      <a:pt x="0" y="0"/>
                    </a:lnTo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" name="Cities">
              <a:extLst>
                <a:ext uri="{FF2B5EF4-FFF2-40B4-BE49-F238E27FC236}">
                  <a16:creationId xmlns:a16="http://schemas.microsoft.com/office/drawing/2014/main" id="{C55B2991-FF2C-AE78-54E7-FD33723357C0}"/>
                </a:ext>
              </a:extLst>
            </p:cNvPr>
            <p:cNvGrpSpPr/>
            <p:nvPr/>
          </p:nvGrpSpPr>
          <p:grpSpPr>
            <a:xfrm>
              <a:off x="5119554" y="5832804"/>
              <a:ext cx="3084643" cy="3606300"/>
              <a:chOff x="5119554" y="5832804"/>
              <a:chExt cx="3084643" cy="3606300"/>
            </a:xfrm>
            <a:grpFill/>
          </p:grpSpPr>
          <p:sp>
            <p:nvSpPr>
              <p:cNvPr id="44" name="Etiquette - Circle - Reykjavik">
                <a:extLst>
                  <a:ext uri="{FF2B5EF4-FFF2-40B4-BE49-F238E27FC236}">
                    <a16:creationId xmlns:a16="http://schemas.microsoft.com/office/drawing/2014/main" id="{88B9CD26-26E4-10D9-204F-83485F93CAC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119554" y="5832804"/>
                <a:ext cx="63360" cy="63360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" name="Etiquette - Circle - Dublin">
                <a:extLst>
                  <a:ext uri="{FF2B5EF4-FFF2-40B4-BE49-F238E27FC236}">
                    <a16:creationId xmlns:a16="http://schemas.microsoft.com/office/drawing/2014/main" id="{3176334B-C45F-C28F-4293-D14976FDB15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325911" y="7347819"/>
                <a:ext cx="63360" cy="63360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6" name="Etiquette - Circle - London">
                <a:extLst>
                  <a:ext uri="{FF2B5EF4-FFF2-40B4-BE49-F238E27FC236}">
                    <a16:creationId xmlns:a16="http://schemas.microsoft.com/office/drawing/2014/main" id="{F75AAC5D-7ED3-778E-C67D-6356123AA3C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770182" y="7603365"/>
                <a:ext cx="63360" cy="63360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" name="Etiquette - Circle - Oslo">
                <a:extLst>
                  <a:ext uri="{FF2B5EF4-FFF2-40B4-BE49-F238E27FC236}">
                    <a16:creationId xmlns:a16="http://schemas.microsoft.com/office/drawing/2014/main" id="{BC8B9570-5212-7328-294A-710039912FB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603024" y="6602455"/>
                <a:ext cx="63360" cy="63360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" name="Etiquette - Circle - Stockholm">
                <a:extLst>
                  <a:ext uri="{FF2B5EF4-FFF2-40B4-BE49-F238E27FC236}">
                    <a16:creationId xmlns:a16="http://schemas.microsoft.com/office/drawing/2014/main" id="{8D4AE263-E5C1-42C1-A0BD-41D432F35C6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022879" y="6552976"/>
                <a:ext cx="63360" cy="63360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" name="Etiquette - Circle - Tallinn">
                <a:extLst>
                  <a:ext uri="{FF2B5EF4-FFF2-40B4-BE49-F238E27FC236}">
                    <a16:creationId xmlns:a16="http://schemas.microsoft.com/office/drawing/2014/main" id="{249BC9DB-855D-ACF6-0618-25ADB286D0D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488999" y="6622670"/>
                <a:ext cx="63360" cy="63360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Etiquette - Circle - Vilnius">
                <a:extLst>
                  <a:ext uri="{FF2B5EF4-FFF2-40B4-BE49-F238E27FC236}">
                    <a16:creationId xmlns:a16="http://schemas.microsoft.com/office/drawing/2014/main" id="{16013B50-0494-F36C-9263-A03E77651BC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572755" y="7196815"/>
                <a:ext cx="63360" cy="63360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" name="Etiquette - Circle - Minsk">
                <a:extLst>
                  <a:ext uri="{FF2B5EF4-FFF2-40B4-BE49-F238E27FC236}">
                    <a16:creationId xmlns:a16="http://schemas.microsoft.com/office/drawing/2014/main" id="{C13FFCA3-FF09-EA54-2409-1FBF3506598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719630" y="7321268"/>
                <a:ext cx="63360" cy="63360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" name="Etiquette - Circle - Kiev">
                <a:extLst>
                  <a:ext uri="{FF2B5EF4-FFF2-40B4-BE49-F238E27FC236}">
                    <a16:creationId xmlns:a16="http://schemas.microsoft.com/office/drawing/2014/main" id="{73792FF5-EA88-D393-CBDC-5C9F48B3EF1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140837" y="7686333"/>
                <a:ext cx="63360" cy="63360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Etiquette - Circle - Copenhagen">
                <a:extLst>
                  <a:ext uri="{FF2B5EF4-FFF2-40B4-BE49-F238E27FC236}">
                    <a16:creationId xmlns:a16="http://schemas.microsoft.com/office/drawing/2014/main" id="{8D47ED08-9D77-36B5-3DA8-541F24DA373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673288" y="7161968"/>
                <a:ext cx="63360" cy="63360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" name="Etiquette - Circle - Amsterdam">
                <a:extLst>
                  <a:ext uri="{FF2B5EF4-FFF2-40B4-BE49-F238E27FC236}">
                    <a16:creationId xmlns:a16="http://schemas.microsoft.com/office/drawing/2014/main" id="{CCED771C-9AD3-4ACC-2806-35369848F29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161041" y="7550263"/>
                <a:ext cx="63360" cy="63360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" name="Etiquette - Circle - Athens">
                <a:extLst>
                  <a:ext uri="{FF2B5EF4-FFF2-40B4-BE49-F238E27FC236}">
                    <a16:creationId xmlns:a16="http://schemas.microsoft.com/office/drawing/2014/main" id="{DF0CCDCC-FDCD-775F-B522-512AF0185FE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836505" y="9375744"/>
                <a:ext cx="63360" cy="63360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" name="Etiquette - Circle - Budapest">
                <a:extLst>
                  <a:ext uri="{FF2B5EF4-FFF2-40B4-BE49-F238E27FC236}">
                    <a16:creationId xmlns:a16="http://schemas.microsoft.com/office/drawing/2014/main" id="{1C85F815-3678-60A7-D670-BC6765090F9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389462" y="8192444"/>
                <a:ext cx="63360" cy="63360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" name="Etiquette - Circle - Ljubljana">
                <a:extLst>
                  <a:ext uri="{FF2B5EF4-FFF2-40B4-BE49-F238E27FC236}">
                    <a16:creationId xmlns:a16="http://schemas.microsoft.com/office/drawing/2014/main" id="{2F2B3906-87EB-858F-0199-9146B6DDCF7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879643" y="8464583"/>
                <a:ext cx="63360" cy="63360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" name="Etiquette - Circle - Chisinau">
                <a:extLst>
                  <a:ext uri="{FF2B5EF4-FFF2-40B4-BE49-F238E27FC236}">
                    <a16:creationId xmlns:a16="http://schemas.microsoft.com/office/drawing/2014/main" id="{1D34EAF0-15CE-5F3B-76FC-ABFB5A67EF4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105635" y="8116113"/>
                <a:ext cx="63360" cy="63360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" name="Etiquette - Circle - Bern">
                <a:extLst>
                  <a:ext uri="{FF2B5EF4-FFF2-40B4-BE49-F238E27FC236}">
                    <a16:creationId xmlns:a16="http://schemas.microsoft.com/office/drawing/2014/main" id="{0A5F4C07-2BDC-520C-F265-82E66742878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276358" y="8389911"/>
                <a:ext cx="63360" cy="63360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" name="Etiquette - Circle - Podgorica">
                <a:extLst>
                  <a:ext uri="{FF2B5EF4-FFF2-40B4-BE49-F238E27FC236}">
                    <a16:creationId xmlns:a16="http://schemas.microsoft.com/office/drawing/2014/main" id="{0EE3D606-BFC7-2FF4-C5E7-14DE343D6A0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355476" y="8891043"/>
                <a:ext cx="63360" cy="63360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" name="Etiquette - Circle - Skopje">
                <a:extLst>
                  <a:ext uri="{FF2B5EF4-FFF2-40B4-BE49-F238E27FC236}">
                    <a16:creationId xmlns:a16="http://schemas.microsoft.com/office/drawing/2014/main" id="{864D614A-5354-31CA-9A69-EE0F90D1402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07959" y="8891041"/>
                <a:ext cx="63360" cy="63360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" name="Etiquette - Circle - Zagreb">
                <a:extLst>
                  <a:ext uri="{FF2B5EF4-FFF2-40B4-BE49-F238E27FC236}">
                    <a16:creationId xmlns:a16="http://schemas.microsoft.com/office/drawing/2014/main" id="{8D61F124-0FB7-9E69-A463-4F28AD0F558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016807" y="8504406"/>
                <a:ext cx="63360" cy="63360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2" name="GradientColorLegend">
              <a:extLst>
                <a:ext uri="{FF2B5EF4-FFF2-40B4-BE49-F238E27FC236}">
                  <a16:creationId xmlns:a16="http://schemas.microsoft.com/office/drawing/2014/main" id="{15E91000-3660-1EE2-0AB8-8D1C36D26297}"/>
                </a:ext>
              </a:extLst>
            </p:cNvPr>
            <p:cNvGrpSpPr/>
            <p:nvPr/>
          </p:nvGrpSpPr>
          <p:grpSpPr>
            <a:xfrm>
              <a:off x="3729040" y="6364230"/>
              <a:ext cx="236715" cy="1696719"/>
              <a:chOff x="3729046" y="6364230"/>
              <a:chExt cx="236718" cy="1696722"/>
            </a:xfrm>
            <a:grpFill/>
          </p:grpSpPr>
          <p:sp>
            <p:nvSpPr>
              <p:cNvPr id="41" name="Etiquette - GradientColorLegend - DARK - Shape" hidden="1">
                <a:extLst>
                  <a:ext uri="{FF2B5EF4-FFF2-40B4-BE49-F238E27FC236}">
                    <a16:creationId xmlns:a16="http://schemas.microsoft.com/office/drawing/2014/main" id="{5F2493F1-0099-6D7E-678C-3F222E34B1AC}"/>
                  </a:ext>
                </a:extLst>
              </p:cNvPr>
              <p:cNvSpPr/>
              <p:nvPr/>
            </p:nvSpPr>
            <p:spPr>
              <a:xfrm>
                <a:off x="3787370" y="6523860"/>
                <a:ext cx="120072" cy="1382397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" name="Etiquette - GradientColorLegend - DARK - MaxValue" hidden="1">
                <a:extLst>
                  <a:ext uri="{FF2B5EF4-FFF2-40B4-BE49-F238E27FC236}">
                    <a16:creationId xmlns:a16="http://schemas.microsoft.com/office/drawing/2014/main" id="{2506C2C8-0FC7-7F38-8353-BDF0D16D3C9D}"/>
                  </a:ext>
                </a:extLst>
              </p:cNvPr>
              <p:cNvSpPr txBox="1"/>
              <p:nvPr/>
            </p:nvSpPr>
            <p:spPr>
              <a:xfrm>
                <a:off x="3729046" y="6364230"/>
                <a:ext cx="236718" cy="152073"/>
              </a:xfrm>
              <a:prstGeom prst="rect">
                <a:avLst/>
              </a:prstGeom>
              <a:grpFill/>
            </p:spPr>
            <p:txBody>
              <a:bodyPr wrap="none" lIns="0" tIns="0" rIns="0" bIns="0" rtlCol="0" anchor="b">
                <a:spAutoFit/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Max</a:t>
                </a:r>
              </a:p>
            </p:txBody>
          </p:sp>
          <p:sp>
            <p:nvSpPr>
              <p:cNvPr id="43" name="Etiquette - GradientColorLegend - DARK - MinValue" hidden="1">
                <a:extLst>
                  <a:ext uri="{FF2B5EF4-FFF2-40B4-BE49-F238E27FC236}">
                    <a16:creationId xmlns:a16="http://schemas.microsoft.com/office/drawing/2014/main" id="{5980CCB5-8640-2C3B-7B35-8C78CD81513B}"/>
                  </a:ext>
                </a:extLst>
              </p:cNvPr>
              <p:cNvSpPr txBox="1"/>
              <p:nvPr/>
            </p:nvSpPr>
            <p:spPr>
              <a:xfrm>
                <a:off x="3746654" y="7908879"/>
                <a:ext cx="201504" cy="152073"/>
              </a:xfrm>
              <a:prstGeom prst="rect">
                <a:avLst/>
              </a:prstGeom>
              <a:grp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Min</a:t>
                </a:r>
              </a:p>
            </p:txBody>
          </p:sp>
        </p:grpSp>
        <p:grpSp>
          <p:nvGrpSpPr>
            <p:cNvPr id="13" name="RangeColorLegend">
              <a:extLst>
                <a:ext uri="{FF2B5EF4-FFF2-40B4-BE49-F238E27FC236}">
                  <a16:creationId xmlns:a16="http://schemas.microsoft.com/office/drawing/2014/main" id="{130B626B-5A57-A7E0-5061-A8D04549EE76}"/>
                </a:ext>
              </a:extLst>
            </p:cNvPr>
            <p:cNvGrpSpPr/>
            <p:nvPr/>
          </p:nvGrpSpPr>
          <p:grpSpPr>
            <a:xfrm>
              <a:off x="3282276" y="6816349"/>
              <a:ext cx="1270802" cy="1538879"/>
              <a:chOff x="3282276" y="6816349"/>
              <a:chExt cx="1270802" cy="1538899"/>
            </a:xfrm>
            <a:grpFill/>
          </p:grpSpPr>
          <p:sp>
            <p:nvSpPr>
              <p:cNvPr id="14" name="Etiquette - RangeColorLegend - DARK - Color - 2" hidden="1">
                <a:extLst>
                  <a:ext uri="{FF2B5EF4-FFF2-40B4-BE49-F238E27FC236}">
                    <a16:creationId xmlns:a16="http://schemas.microsoft.com/office/drawing/2014/main" id="{086CDFF8-6667-2BE2-A80A-74308851E7FE}"/>
                  </a:ext>
                </a:extLst>
              </p:cNvPr>
              <p:cNvSpPr/>
              <p:nvPr/>
            </p:nvSpPr>
            <p:spPr>
              <a:xfrm>
                <a:off x="3282276" y="6970238"/>
                <a:ext cx="154799" cy="153887"/>
              </a:xfrm>
              <a:prstGeom prst="rect">
                <a:avLst/>
              </a:prstGeom>
              <a:grpFill/>
              <a:ln>
                <a:solidFill>
                  <a:srgbClr val="404040"/>
                </a:solidFill>
              </a:ln>
            </p:spPr>
            <p:txBody>
              <a:bodyPr wrap="square" lIns="0" tIns="0" rIns="0" bIns="0" anchor="ctr">
                <a:noAutofit/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" name="Etiquette - RangeColorLegend - DARK - Color - 1" hidden="1">
                <a:extLst>
                  <a:ext uri="{FF2B5EF4-FFF2-40B4-BE49-F238E27FC236}">
                    <a16:creationId xmlns:a16="http://schemas.microsoft.com/office/drawing/2014/main" id="{70B0F52C-7914-8556-1779-BC035018180A}"/>
                  </a:ext>
                </a:extLst>
              </p:cNvPr>
              <p:cNvSpPr/>
              <p:nvPr/>
            </p:nvSpPr>
            <p:spPr>
              <a:xfrm>
                <a:off x="3282276" y="6816351"/>
                <a:ext cx="154799" cy="153887"/>
              </a:xfrm>
              <a:prstGeom prst="rect">
                <a:avLst/>
              </a:prstGeom>
              <a:grpFill/>
              <a:ln>
                <a:solidFill>
                  <a:srgbClr val="404040"/>
                </a:solidFill>
              </a:ln>
            </p:spPr>
            <p:txBody>
              <a:bodyPr wrap="square" lIns="0" tIns="0" rIns="0" bIns="0" anchor="ctr">
                <a:noAutofit/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" name="Etiquette - RangeColorLegend - DARK - Number - 2" hidden="1">
                <a:extLst>
                  <a:ext uri="{FF2B5EF4-FFF2-40B4-BE49-F238E27FC236}">
                    <a16:creationId xmlns:a16="http://schemas.microsoft.com/office/drawing/2014/main" id="{3AC66332-205F-80F0-058A-83CE48BE0E73}"/>
                  </a:ext>
                </a:extLst>
              </p:cNvPr>
              <p:cNvSpPr/>
              <p:nvPr/>
            </p:nvSpPr>
            <p:spPr>
              <a:xfrm>
                <a:off x="3437075" y="6970238"/>
                <a:ext cx="1116001" cy="153887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none" lIns="72000" tIns="0" rIns="0" bIns="0" anchor="ctr">
                <a:noAutofit/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[100 to 200[</a:t>
                </a:r>
              </a:p>
            </p:txBody>
          </p:sp>
          <p:sp>
            <p:nvSpPr>
              <p:cNvPr id="20" name="Etiquette - RangeColorLegend - DARK - Number - 1" hidden="1">
                <a:extLst>
                  <a:ext uri="{FF2B5EF4-FFF2-40B4-BE49-F238E27FC236}">
                    <a16:creationId xmlns:a16="http://schemas.microsoft.com/office/drawing/2014/main" id="{D03C3C9C-3887-28C6-FE31-9354252115E2}"/>
                  </a:ext>
                </a:extLst>
              </p:cNvPr>
              <p:cNvSpPr/>
              <p:nvPr/>
            </p:nvSpPr>
            <p:spPr>
              <a:xfrm>
                <a:off x="3437075" y="6816349"/>
                <a:ext cx="1116001" cy="153887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none" lIns="72000" tIns="0" rIns="0" bIns="0" anchor="ctr">
                <a:noAutofit/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[0 to 100[</a:t>
                </a:r>
              </a:p>
            </p:txBody>
          </p:sp>
          <p:sp>
            <p:nvSpPr>
              <p:cNvPr id="22" name="Etiquette - RangeColorLegend - DARK - Color - 4" hidden="1">
                <a:extLst>
                  <a:ext uri="{FF2B5EF4-FFF2-40B4-BE49-F238E27FC236}">
                    <a16:creationId xmlns:a16="http://schemas.microsoft.com/office/drawing/2014/main" id="{EAAC0B7F-8976-EE08-9CB0-85921A5F6E21}"/>
                  </a:ext>
                </a:extLst>
              </p:cNvPr>
              <p:cNvSpPr/>
              <p:nvPr/>
            </p:nvSpPr>
            <p:spPr>
              <a:xfrm>
                <a:off x="3282276" y="7278012"/>
                <a:ext cx="154799" cy="153887"/>
              </a:xfrm>
              <a:prstGeom prst="rect">
                <a:avLst/>
              </a:prstGeom>
              <a:grpFill/>
              <a:ln>
                <a:solidFill>
                  <a:srgbClr val="404040"/>
                </a:solidFill>
              </a:ln>
            </p:spPr>
            <p:txBody>
              <a:bodyPr wrap="square" lIns="0" tIns="0" rIns="0" bIns="0" anchor="ctr">
                <a:noAutofit/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" name="Etiquette - RangeColorLegend - DARK - Color - 3" hidden="1">
                <a:extLst>
                  <a:ext uri="{FF2B5EF4-FFF2-40B4-BE49-F238E27FC236}">
                    <a16:creationId xmlns:a16="http://schemas.microsoft.com/office/drawing/2014/main" id="{18A42B92-F573-67E9-15A0-580961549799}"/>
                  </a:ext>
                </a:extLst>
              </p:cNvPr>
              <p:cNvSpPr/>
              <p:nvPr/>
            </p:nvSpPr>
            <p:spPr>
              <a:xfrm>
                <a:off x="3282276" y="7124125"/>
                <a:ext cx="154799" cy="153887"/>
              </a:xfrm>
              <a:prstGeom prst="rect">
                <a:avLst/>
              </a:prstGeom>
              <a:grpFill/>
              <a:ln>
                <a:solidFill>
                  <a:srgbClr val="404040"/>
                </a:solidFill>
              </a:ln>
            </p:spPr>
            <p:txBody>
              <a:bodyPr wrap="square" lIns="0" tIns="0" rIns="0" bIns="0" anchor="ctr">
                <a:noAutofit/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" name="Etiquette - RangeColorLegend - DARK - Number - 4" hidden="1">
                <a:extLst>
                  <a:ext uri="{FF2B5EF4-FFF2-40B4-BE49-F238E27FC236}">
                    <a16:creationId xmlns:a16="http://schemas.microsoft.com/office/drawing/2014/main" id="{0367C1D0-5576-3E03-9E08-047FB1FAF81A}"/>
                  </a:ext>
                </a:extLst>
              </p:cNvPr>
              <p:cNvSpPr/>
              <p:nvPr/>
            </p:nvSpPr>
            <p:spPr>
              <a:xfrm>
                <a:off x="3437075" y="7278012"/>
                <a:ext cx="1116001" cy="153887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none" lIns="72000" tIns="0" rIns="0" bIns="0" anchor="ctr">
                <a:noAutofit/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[300 to 400[</a:t>
                </a:r>
              </a:p>
            </p:txBody>
          </p:sp>
          <p:sp>
            <p:nvSpPr>
              <p:cNvPr id="28" name="Etiquette - RangeColorLegend - DARK - Number - 3" hidden="1">
                <a:extLst>
                  <a:ext uri="{FF2B5EF4-FFF2-40B4-BE49-F238E27FC236}">
                    <a16:creationId xmlns:a16="http://schemas.microsoft.com/office/drawing/2014/main" id="{15A793A0-BA44-9EAB-7802-7E27C00DE865}"/>
                  </a:ext>
                </a:extLst>
              </p:cNvPr>
              <p:cNvSpPr/>
              <p:nvPr/>
            </p:nvSpPr>
            <p:spPr>
              <a:xfrm>
                <a:off x="3437075" y="7124123"/>
                <a:ext cx="1116001" cy="153887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none" lIns="72000" tIns="0" rIns="0" bIns="0" anchor="ctr">
                <a:noAutofit/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[200 to 300[</a:t>
                </a:r>
              </a:p>
            </p:txBody>
          </p:sp>
          <p:sp>
            <p:nvSpPr>
              <p:cNvPr id="29" name="Etiquette - RangeColorLegend - DARK - Color - 5" hidden="1">
                <a:extLst>
                  <a:ext uri="{FF2B5EF4-FFF2-40B4-BE49-F238E27FC236}">
                    <a16:creationId xmlns:a16="http://schemas.microsoft.com/office/drawing/2014/main" id="{83C9F668-B6A8-D15A-F6D7-76427B9114C3}"/>
                  </a:ext>
                </a:extLst>
              </p:cNvPr>
              <p:cNvSpPr/>
              <p:nvPr/>
            </p:nvSpPr>
            <p:spPr>
              <a:xfrm>
                <a:off x="3282276" y="7431899"/>
                <a:ext cx="154799" cy="153887"/>
              </a:xfrm>
              <a:prstGeom prst="rect">
                <a:avLst/>
              </a:prstGeom>
              <a:grpFill/>
              <a:ln>
                <a:solidFill>
                  <a:srgbClr val="404040"/>
                </a:solidFill>
              </a:ln>
            </p:spPr>
            <p:txBody>
              <a:bodyPr wrap="square" lIns="0" tIns="0" rIns="0" bIns="0" anchor="ctr">
                <a:noAutofit/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Etiquette - RangeColorLegend - DARK - Number - 5" hidden="1">
                <a:extLst>
                  <a:ext uri="{FF2B5EF4-FFF2-40B4-BE49-F238E27FC236}">
                    <a16:creationId xmlns:a16="http://schemas.microsoft.com/office/drawing/2014/main" id="{FE925ABD-69F7-A6D7-E3EA-53AA91BB97DF}"/>
                  </a:ext>
                </a:extLst>
              </p:cNvPr>
              <p:cNvSpPr/>
              <p:nvPr/>
            </p:nvSpPr>
            <p:spPr>
              <a:xfrm>
                <a:off x="3437075" y="7431897"/>
                <a:ext cx="1116001" cy="153887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none" lIns="72000" tIns="0" rIns="0" bIns="0" anchor="ctr">
                <a:noAutofit/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400+</a:t>
                </a:r>
              </a:p>
            </p:txBody>
          </p:sp>
          <p:sp>
            <p:nvSpPr>
              <p:cNvPr id="31" name="Etiquette - RangeColorLegend - DARK - Color - 6" hidden="1">
                <a:extLst>
                  <a:ext uri="{FF2B5EF4-FFF2-40B4-BE49-F238E27FC236}">
                    <a16:creationId xmlns:a16="http://schemas.microsoft.com/office/drawing/2014/main" id="{C3A3B1DD-803D-1651-3705-9C446B1ED835}"/>
                  </a:ext>
                </a:extLst>
              </p:cNvPr>
              <p:cNvSpPr/>
              <p:nvPr/>
            </p:nvSpPr>
            <p:spPr>
              <a:xfrm>
                <a:off x="3282276" y="7585784"/>
                <a:ext cx="154799" cy="153887"/>
              </a:xfrm>
              <a:prstGeom prst="rect">
                <a:avLst/>
              </a:prstGeom>
              <a:grpFill/>
              <a:ln>
                <a:solidFill>
                  <a:srgbClr val="404040"/>
                </a:solidFill>
              </a:ln>
            </p:spPr>
            <p:txBody>
              <a:bodyPr wrap="square" lIns="0" tIns="0" rIns="0" bIns="0" anchor="ctr">
                <a:noAutofit/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Etiquette - RangeColorLegend - DARK - Number - 6" hidden="1">
                <a:extLst>
                  <a:ext uri="{FF2B5EF4-FFF2-40B4-BE49-F238E27FC236}">
                    <a16:creationId xmlns:a16="http://schemas.microsoft.com/office/drawing/2014/main" id="{E5C0275E-A1AB-AD52-3DDA-90A728A8DC5D}"/>
                  </a:ext>
                </a:extLst>
              </p:cNvPr>
              <p:cNvSpPr/>
              <p:nvPr/>
            </p:nvSpPr>
            <p:spPr>
              <a:xfrm>
                <a:off x="3437075" y="7585784"/>
                <a:ext cx="1116001" cy="153887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none" lIns="72000" tIns="0" rIns="0" bIns="0" anchor="ctr">
                <a:noAutofit/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400+</a:t>
                </a:r>
              </a:p>
            </p:txBody>
          </p:sp>
          <p:sp>
            <p:nvSpPr>
              <p:cNvPr id="33" name="Etiquette - RangeColorLegend - DARK - Color - 7" hidden="1">
                <a:extLst>
                  <a:ext uri="{FF2B5EF4-FFF2-40B4-BE49-F238E27FC236}">
                    <a16:creationId xmlns:a16="http://schemas.microsoft.com/office/drawing/2014/main" id="{16000358-5297-B30D-AAAD-23ECC1CA90E5}"/>
                  </a:ext>
                </a:extLst>
              </p:cNvPr>
              <p:cNvSpPr/>
              <p:nvPr/>
            </p:nvSpPr>
            <p:spPr>
              <a:xfrm>
                <a:off x="3282276" y="7739669"/>
                <a:ext cx="154799" cy="153887"/>
              </a:xfrm>
              <a:prstGeom prst="rect">
                <a:avLst/>
              </a:prstGeom>
              <a:grpFill/>
              <a:ln>
                <a:solidFill>
                  <a:srgbClr val="404040"/>
                </a:solidFill>
              </a:ln>
            </p:spPr>
            <p:txBody>
              <a:bodyPr wrap="square" lIns="0" tIns="0" rIns="0" bIns="0" anchor="ctr">
                <a:noAutofit/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" name="Etiquette - RangeColorLegend - DARK - Number - 7" hidden="1">
                <a:extLst>
                  <a:ext uri="{FF2B5EF4-FFF2-40B4-BE49-F238E27FC236}">
                    <a16:creationId xmlns:a16="http://schemas.microsoft.com/office/drawing/2014/main" id="{EBCE0686-F796-28C6-5589-38F76768252C}"/>
                  </a:ext>
                </a:extLst>
              </p:cNvPr>
              <p:cNvSpPr/>
              <p:nvPr/>
            </p:nvSpPr>
            <p:spPr>
              <a:xfrm>
                <a:off x="3437075" y="7739671"/>
                <a:ext cx="1116001" cy="153887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none" lIns="72000" tIns="0" rIns="0" bIns="0" anchor="ctr">
                <a:noAutofit/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400+</a:t>
                </a:r>
              </a:p>
            </p:txBody>
          </p:sp>
          <p:sp>
            <p:nvSpPr>
              <p:cNvPr id="35" name="Etiquette - RangeColorLegend - DARK - Color - 8" hidden="1">
                <a:extLst>
                  <a:ext uri="{FF2B5EF4-FFF2-40B4-BE49-F238E27FC236}">
                    <a16:creationId xmlns:a16="http://schemas.microsoft.com/office/drawing/2014/main" id="{6E64AB4F-46F8-9047-FE53-9A22F2C6D853}"/>
                  </a:ext>
                </a:extLst>
              </p:cNvPr>
              <p:cNvSpPr/>
              <p:nvPr/>
            </p:nvSpPr>
            <p:spPr>
              <a:xfrm>
                <a:off x="3282276" y="7893554"/>
                <a:ext cx="154799" cy="153887"/>
              </a:xfrm>
              <a:prstGeom prst="rect">
                <a:avLst/>
              </a:prstGeom>
              <a:grpFill/>
              <a:ln>
                <a:solidFill>
                  <a:srgbClr val="404040"/>
                </a:solidFill>
              </a:ln>
            </p:spPr>
            <p:txBody>
              <a:bodyPr wrap="square" lIns="0" tIns="0" rIns="0" bIns="0" anchor="ctr">
                <a:noAutofit/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" name="Etiquette - RangeColorLegend - DARK - Number - 8" hidden="1">
                <a:extLst>
                  <a:ext uri="{FF2B5EF4-FFF2-40B4-BE49-F238E27FC236}">
                    <a16:creationId xmlns:a16="http://schemas.microsoft.com/office/drawing/2014/main" id="{C1914706-A965-1329-64DA-9DADBED956C0}"/>
                  </a:ext>
                </a:extLst>
              </p:cNvPr>
              <p:cNvSpPr/>
              <p:nvPr/>
            </p:nvSpPr>
            <p:spPr>
              <a:xfrm>
                <a:off x="3437075" y="7893558"/>
                <a:ext cx="1116001" cy="153887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none" lIns="72000" tIns="0" rIns="0" bIns="0" anchor="ctr">
                <a:noAutofit/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400+</a:t>
                </a:r>
              </a:p>
            </p:txBody>
          </p:sp>
          <p:sp>
            <p:nvSpPr>
              <p:cNvPr id="37" name="Etiquette - RangeColorLegend - DARK - Color - 9" hidden="1">
                <a:extLst>
                  <a:ext uri="{FF2B5EF4-FFF2-40B4-BE49-F238E27FC236}">
                    <a16:creationId xmlns:a16="http://schemas.microsoft.com/office/drawing/2014/main" id="{3AF356CC-0756-F4BD-71BB-4A5A29847A20}"/>
                  </a:ext>
                </a:extLst>
              </p:cNvPr>
              <p:cNvSpPr/>
              <p:nvPr/>
            </p:nvSpPr>
            <p:spPr>
              <a:xfrm>
                <a:off x="3282276" y="8047444"/>
                <a:ext cx="154799" cy="153887"/>
              </a:xfrm>
              <a:prstGeom prst="rect">
                <a:avLst/>
              </a:prstGeom>
              <a:grpFill/>
              <a:ln>
                <a:solidFill>
                  <a:srgbClr val="404040"/>
                </a:solidFill>
              </a:ln>
            </p:spPr>
            <p:txBody>
              <a:bodyPr wrap="square" lIns="0" tIns="0" rIns="0" bIns="0" anchor="ctr">
                <a:noAutofit/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" name="Etiquette - RangeColorLegend - DARK - Number - 9" hidden="1">
                <a:extLst>
                  <a:ext uri="{FF2B5EF4-FFF2-40B4-BE49-F238E27FC236}">
                    <a16:creationId xmlns:a16="http://schemas.microsoft.com/office/drawing/2014/main" id="{2082671F-9C38-934B-46EE-A679008FFA82}"/>
                  </a:ext>
                </a:extLst>
              </p:cNvPr>
              <p:cNvSpPr/>
              <p:nvPr/>
            </p:nvSpPr>
            <p:spPr>
              <a:xfrm>
                <a:off x="3437077" y="8047439"/>
                <a:ext cx="1116001" cy="153887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none" lIns="72000" tIns="0" rIns="0" bIns="0" anchor="ctr">
                <a:noAutofit/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400+</a:t>
                </a:r>
              </a:p>
            </p:txBody>
          </p:sp>
          <p:sp>
            <p:nvSpPr>
              <p:cNvPr id="39" name="Etiquette - RangeColorLegend - DARK - Color - 10" hidden="1">
                <a:extLst>
                  <a:ext uri="{FF2B5EF4-FFF2-40B4-BE49-F238E27FC236}">
                    <a16:creationId xmlns:a16="http://schemas.microsoft.com/office/drawing/2014/main" id="{85EE25B5-C9D5-5204-EDC8-84972D4E4A64}"/>
                  </a:ext>
                </a:extLst>
              </p:cNvPr>
              <p:cNvSpPr/>
              <p:nvPr/>
            </p:nvSpPr>
            <p:spPr>
              <a:xfrm>
                <a:off x="3282276" y="8201349"/>
                <a:ext cx="154799" cy="153887"/>
              </a:xfrm>
              <a:prstGeom prst="rect">
                <a:avLst/>
              </a:prstGeom>
              <a:grpFill/>
              <a:ln>
                <a:solidFill>
                  <a:srgbClr val="404040"/>
                </a:solidFill>
              </a:ln>
            </p:spPr>
            <p:txBody>
              <a:bodyPr wrap="square" lIns="0" tIns="0" rIns="0" bIns="0" anchor="ctr">
                <a:noAutofit/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" name="Etiquette - RangeColorLegend - DARK - Number - 10" hidden="1">
                <a:extLst>
                  <a:ext uri="{FF2B5EF4-FFF2-40B4-BE49-F238E27FC236}">
                    <a16:creationId xmlns:a16="http://schemas.microsoft.com/office/drawing/2014/main" id="{2CF11CF2-0ACB-EE63-DBCF-4CC1BC41265C}"/>
                  </a:ext>
                </a:extLst>
              </p:cNvPr>
              <p:cNvSpPr/>
              <p:nvPr/>
            </p:nvSpPr>
            <p:spPr>
              <a:xfrm>
                <a:off x="3437072" y="8201361"/>
                <a:ext cx="1116001" cy="153887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none" lIns="72000" tIns="0" rIns="0" bIns="0" anchor="ctr">
                <a:noAutofit/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400+</a:t>
                </a:r>
              </a:p>
            </p:txBody>
          </p:sp>
        </p:grpSp>
      </p:grpSp>
      <p:sp>
        <p:nvSpPr>
          <p:cNvPr id="321" name="Rectángulo 148">
            <a:extLst>
              <a:ext uri="{FF2B5EF4-FFF2-40B4-BE49-F238E27FC236}">
                <a16:creationId xmlns:a16="http://schemas.microsoft.com/office/drawing/2014/main" id="{33A921B4-27B1-EE36-5EB2-5827A9C78EC2}"/>
              </a:ext>
            </a:extLst>
          </p:cNvPr>
          <p:cNvSpPr/>
          <p:nvPr/>
        </p:nvSpPr>
        <p:spPr>
          <a:xfrm>
            <a:off x="456318" y="4181845"/>
            <a:ext cx="6122210" cy="1417444"/>
          </a:xfrm>
          <a:prstGeom prst="rect">
            <a:avLst/>
          </a:prstGeom>
          <a:noFill/>
          <a:ln>
            <a:solidFill>
              <a:srgbClr val="004494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/>
          </a:p>
        </p:txBody>
      </p:sp>
      <p:sp>
        <p:nvSpPr>
          <p:cNvPr id="322" name="CuadroTexto 150">
            <a:extLst>
              <a:ext uri="{FF2B5EF4-FFF2-40B4-BE49-F238E27FC236}">
                <a16:creationId xmlns:a16="http://schemas.microsoft.com/office/drawing/2014/main" id="{40A42FBC-8347-BF4A-8890-48DA1F542CB7}"/>
              </a:ext>
            </a:extLst>
          </p:cNvPr>
          <p:cNvSpPr txBox="1"/>
          <p:nvPr/>
        </p:nvSpPr>
        <p:spPr>
          <a:xfrm>
            <a:off x="758192" y="4039242"/>
            <a:ext cx="3536328" cy="276999"/>
          </a:xfrm>
          <a:prstGeom prst="rect">
            <a:avLst/>
          </a:prstGeom>
          <a:solidFill>
            <a:srgbClr val="00449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45720" rIns="91440" bIns="45720" anchor="t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600"/>
              </a:spcBef>
              <a:spcAft>
                <a:spcPts val="600"/>
              </a:spcAft>
              <a:defRPr/>
            </a:pPr>
            <a:r>
              <a:rPr lang="en-GB" sz="1200" b="1">
                <a:solidFill>
                  <a:schemeClr val="bg1"/>
                </a:solidFill>
                <a:latin typeface="Arial"/>
                <a:cs typeface="Arial"/>
              </a:rPr>
              <a:t>List of institutions in the ESC-Router</a:t>
            </a:r>
          </a:p>
        </p:txBody>
      </p:sp>
      <p:sp>
        <p:nvSpPr>
          <p:cNvPr id="323" name="TextBox 322">
            <a:extLst>
              <a:ext uri="{FF2B5EF4-FFF2-40B4-BE49-F238E27FC236}">
                <a16:creationId xmlns:a16="http://schemas.microsoft.com/office/drawing/2014/main" id="{480E37E8-5D19-A606-B08D-15E6C41F473C}"/>
              </a:ext>
            </a:extLst>
          </p:cNvPr>
          <p:cNvSpPr txBox="1"/>
          <p:nvPr/>
        </p:nvSpPr>
        <p:spPr>
          <a:xfrm>
            <a:off x="533362" y="4247005"/>
            <a:ext cx="5848927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2900" indent="-342900">
              <a:buFont typeface=""/>
              <a:buAutoNum type="arabicPeriod"/>
            </a:pPr>
            <a:endParaRPr lang="en-GB" sz="1200" i="1">
              <a:cs typeface="Arial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200" i="1">
                <a:cs typeface="Arial"/>
              </a:rPr>
              <a:t>University of Cypru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200" i="1"/>
              <a:t>EIMF Holding Limite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200" i="1"/>
              <a:t>University of Nicosi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200" i="1"/>
              <a:t>Ledra College</a:t>
            </a:r>
            <a:endParaRPr lang="en-GB" sz="1200" i="1">
              <a:cs typeface="Arial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200" i="1">
                <a:cs typeface="Arial"/>
              </a:rPr>
              <a:t>Cyprus University of Technology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A5CD785-94C3-CD88-B055-A3F39D436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</p:spPr>
        <p:txBody>
          <a:bodyPr/>
          <a:lstStyle/>
          <a:p>
            <a:r>
              <a:rPr lang="en-GB"/>
              <a:t>Cyprus snapshot – ESC</a:t>
            </a:r>
            <a:endParaRPr lang="es-MX"/>
          </a:p>
        </p:txBody>
      </p:sp>
      <p:sp>
        <p:nvSpPr>
          <p:cNvPr id="6" name="TextBox 4">
            <a:extLst>
              <a:ext uri="{FF2B5EF4-FFF2-40B4-BE49-F238E27FC236}">
                <a16:creationId xmlns:a16="http://schemas.microsoft.com/office/drawing/2014/main" id="{BBAB91AD-7178-F6C1-269E-5F7EB018E6C4}"/>
              </a:ext>
            </a:extLst>
          </p:cNvPr>
          <p:cNvSpPr txBox="1"/>
          <p:nvPr/>
        </p:nvSpPr>
        <p:spPr>
          <a:xfrm>
            <a:off x="758192" y="3310940"/>
            <a:ext cx="3327742" cy="2616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100" i="1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cs typeface="Arial"/>
              </a:rPr>
              <a:t>* </a:t>
            </a:r>
            <a:r>
              <a:rPr kumimoji="0" lang="en-GB" sz="1100" b="0" i="1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/>
              </a:rPr>
              <a:t>At least 10 active ESCs</a:t>
            </a:r>
            <a:endParaRPr lang="en-GB" sz="1100" b="0" i="1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088599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468F4FE0-33A1-71C5-22D7-A548EBC59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78060"/>
            <a:ext cx="10515600" cy="782357"/>
          </a:xfrm>
        </p:spPr>
        <p:txBody>
          <a:bodyPr/>
          <a:lstStyle/>
          <a:p>
            <a:r>
              <a:rPr lang="en-GB"/>
              <a:t>2024 ESC adoption rate in Cyprus</a:t>
            </a:r>
            <a:endParaRPr lang="es-MX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DA71644-7424-98C9-CFF7-10A0981347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9216" y="1043481"/>
            <a:ext cx="4296593" cy="5526652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1E5697B6-BCB4-AA78-9C67-6E3FE024377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9375121"/>
              </p:ext>
            </p:extLst>
          </p:nvPr>
        </p:nvGraphicFramePr>
        <p:xfrm>
          <a:off x="5403215" y="5159798"/>
          <a:ext cx="2757170" cy="1410335"/>
        </p:xfrm>
        <a:graphic>
          <a:graphicData uri="http://schemas.openxmlformats.org/drawingml/2006/table">
            <a:tbl>
              <a:tblPr firstRow="1" firstCol="1" bandRow="1"/>
              <a:tblGrid>
                <a:gridCol w="1265555">
                  <a:extLst>
                    <a:ext uri="{9D8B030D-6E8A-4147-A177-3AD203B41FA5}">
                      <a16:colId xmlns:a16="http://schemas.microsoft.com/office/drawing/2014/main" val="2682708444"/>
                    </a:ext>
                  </a:extLst>
                </a:gridCol>
                <a:gridCol w="1491615">
                  <a:extLst>
                    <a:ext uri="{9D8B030D-6E8A-4147-A177-3AD203B41FA5}">
                      <a16:colId xmlns:a16="http://schemas.microsoft.com/office/drawing/2014/main" val="610289485"/>
                    </a:ext>
                  </a:extLst>
                </a:gridCol>
              </a:tblGrid>
              <a:tr h="2667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  <a:tabLst>
                          <a:tab pos="1367155" algn="l"/>
                        </a:tabLst>
                      </a:pPr>
                      <a:r>
                        <a:rPr lang="en-IE" sz="1000" b="1" kern="10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MX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  <a:tabLst>
                          <a:tab pos="1367155" algn="l"/>
                        </a:tabLst>
                      </a:pPr>
                      <a:r>
                        <a:rPr lang="en-IE" sz="800" b="1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ESC adoption level</a:t>
                      </a:r>
                      <a:endParaRPr lang="es-MX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3441455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  <a:tabLst>
                          <a:tab pos="1367155" algn="l"/>
                        </a:tabLst>
                      </a:pPr>
                      <a:r>
                        <a:rPr lang="en-IE" sz="8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High </a:t>
                      </a:r>
                      <a:endParaRPr lang="es-MX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  <a:tabLst>
                          <a:tab pos="1367155" algn="l"/>
                        </a:tabLst>
                      </a:pPr>
                      <a:r>
                        <a:rPr lang="en-IE" sz="800" kern="10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70%-100%</a:t>
                      </a:r>
                      <a:endParaRPr lang="es-MX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4754794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  <a:tabLst>
                          <a:tab pos="1367155" algn="l"/>
                        </a:tabLst>
                      </a:pPr>
                      <a:r>
                        <a:rPr lang="en-IE" sz="8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Medium </a:t>
                      </a:r>
                      <a:endParaRPr lang="es-MX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  <a:tabLst>
                          <a:tab pos="1367155" algn="l"/>
                        </a:tabLst>
                      </a:pPr>
                      <a:r>
                        <a:rPr lang="en-IE" sz="800" kern="10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25%-69%</a:t>
                      </a:r>
                      <a:endParaRPr lang="es-MX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4814657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  <a:tabLst>
                          <a:tab pos="1367155" algn="l"/>
                        </a:tabLst>
                      </a:pPr>
                      <a:r>
                        <a:rPr lang="en-IE" sz="8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Low</a:t>
                      </a:r>
                      <a:endParaRPr lang="es-MX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  <a:tabLst>
                          <a:tab pos="1367155" algn="l"/>
                        </a:tabLst>
                      </a:pPr>
                      <a:r>
                        <a:rPr lang="en-IE" sz="800" kern="10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1%-24%</a:t>
                      </a:r>
                      <a:endParaRPr lang="es-MX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5289272"/>
                  </a:ext>
                </a:extLst>
              </a:tr>
              <a:tr h="34353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  <a:tabLst>
                          <a:tab pos="1367155" algn="l"/>
                        </a:tabLst>
                      </a:pPr>
                      <a:r>
                        <a:rPr lang="en-IE" sz="800" kern="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Not issuing active ESCs</a:t>
                      </a:r>
                      <a:endParaRPr lang="es-MX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  <a:tabLst>
                          <a:tab pos="1367155" algn="l"/>
                        </a:tabLst>
                      </a:pPr>
                      <a:r>
                        <a:rPr lang="en-IE" sz="800" kern="10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0%</a:t>
                      </a:r>
                      <a:endParaRPr lang="es-MX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17640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205911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C2FA32-7F51-4ADA-23A1-AFA4426923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in insights</a:t>
            </a:r>
            <a:endParaRPr lang="es-MX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E64A9E-BFED-55BB-282A-12178B609A6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A3FED6-A479-4C51-AC77-2E6E772484F6}" type="slidenum">
              <a:rPr lang="en-GB" altLang="fr-FR" smtClean="0"/>
              <a:pPr/>
              <a:t>19</a:t>
            </a:fld>
            <a:endParaRPr lang="en-GB" altLang="fr-FR" dirty="0"/>
          </a:p>
        </p:txBody>
      </p:sp>
      <p:pic>
        <p:nvPicPr>
          <p:cNvPr id="5" name="Picture 4" descr="A hand reaching for a light bulb&#10;&#10;AI-generated content may be incorrect.">
            <a:extLst>
              <a:ext uri="{FF2B5EF4-FFF2-40B4-BE49-F238E27FC236}">
                <a16:creationId xmlns:a16="http://schemas.microsoft.com/office/drawing/2014/main" id="{007A8A7E-BC09-EB9C-BA74-C95EBEC613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6982" y="0"/>
            <a:ext cx="4577715" cy="6858000"/>
          </a:xfrm>
          <a:prstGeom prst="rect">
            <a:avLst/>
          </a:prstGeom>
          <a:noFill/>
          <a:ln w="28575">
            <a:noFill/>
          </a:ln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B484857-3B4C-5A6D-B314-E9AAF5DDEE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7524" y="1516571"/>
            <a:ext cx="6537960" cy="4614715"/>
          </a:xfrm>
        </p:spPr>
        <p:txBody>
          <a:bodyPr wrap="square" anchor="t">
            <a:normAutofit fontScale="92500" lnSpcReduction="10000"/>
          </a:bodyPr>
          <a:lstStyle/>
          <a:p>
            <a:pPr algn="just">
              <a:lnSpc>
                <a:spcPct val="90000"/>
              </a:lnSpc>
              <a:spcAft>
                <a:spcPts val="600"/>
              </a:spcAft>
            </a:pPr>
            <a:r>
              <a:rPr lang="en-GB" sz="1700" b="1" dirty="0"/>
              <a:t>5 Cypriot HEIs are registered </a:t>
            </a:r>
            <a:r>
              <a:rPr lang="en-GB" sz="1700" dirty="0"/>
              <a:t>in the ESC-R (12.5% of all ECHE holders in Cyprus)</a:t>
            </a:r>
          </a:p>
          <a:p>
            <a:pPr algn="just">
              <a:lnSpc>
                <a:spcPct val="90000"/>
              </a:lnSpc>
              <a:spcAft>
                <a:spcPts val="600"/>
              </a:spcAft>
            </a:pPr>
            <a:endParaRPr lang="en-GB" sz="1700" dirty="0"/>
          </a:p>
          <a:p>
            <a:pPr algn="just">
              <a:lnSpc>
                <a:spcPct val="90000"/>
              </a:lnSpc>
              <a:spcAft>
                <a:spcPts val="600"/>
              </a:spcAft>
            </a:pPr>
            <a:r>
              <a:rPr lang="en-GB" sz="1700" b="1" dirty="0"/>
              <a:t>None is actively issuing ESCs</a:t>
            </a:r>
            <a:r>
              <a:rPr lang="en-GB" sz="1700" dirty="0"/>
              <a:t>.</a:t>
            </a:r>
            <a:r>
              <a:rPr lang="en-US" sz="1700" dirty="0"/>
              <a:t> </a:t>
            </a:r>
            <a:r>
              <a:rPr lang="en-GB" sz="1700" dirty="0"/>
              <a:t>Two have issued 1-3 ESCs, likely for testing purposes.</a:t>
            </a:r>
            <a:endParaRPr lang="en-US" sz="1700" dirty="0"/>
          </a:p>
          <a:p>
            <a:pPr algn="just">
              <a:lnSpc>
                <a:spcPct val="90000"/>
              </a:lnSpc>
              <a:spcAft>
                <a:spcPts val="600"/>
              </a:spcAft>
            </a:pPr>
            <a:endParaRPr lang="en-GB" sz="1700" dirty="0"/>
          </a:p>
          <a:p>
            <a:pPr algn="just">
              <a:lnSpc>
                <a:spcPct val="90000"/>
              </a:lnSpc>
              <a:spcAft>
                <a:spcPts val="600"/>
              </a:spcAft>
            </a:pPr>
            <a:r>
              <a:rPr lang="en-GB" sz="1700" dirty="0"/>
              <a:t>It’s important to </a:t>
            </a:r>
            <a:r>
              <a:rPr lang="en-GB" sz="1700" b="1" dirty="0"/>
              <a:t>identify any obstacles </a:t>
            </a:r>
            <a:r>
              <a:rPr lang="en-GB" sz="1700" dirty="0"/>
              <a:t>that keep Cypriot HEIs from issuing ESCs – especially those institutions already connected to the ESC-R.</a:t>
            </a:r>
          </a:p>
          <a:p>
            <a:pPr lvl="1" algn="just">
              <a:lnSpc>
                <a:spcPct val="90000"/>
              </a:lnSpc>
              <a:spcAft>
                <a:spcPts val="600"/>
              </a:spcAft>
            </a:pPr>
            <a:r>
              <a:rPr lang="en-GB" sz="1600" dirty="0"/>
              <a:t>The </a:t>
            </a:r>
            <a:r>
              <a:rPr lang="en-GB" sz="1600" b="1" dirty="0"/>
              <a:t>new ESC-R</a:t>
            </a:r>
            <a:r>
              <a:rPr lang="en-GB" sz="1600" dirty="0"/>
              <a:t>, hosted in the European Commission’s cloud, brings additional security, scalability and a better user experience. </a:t>
            </a:r>
          </a:p>
          <a:p>
            <a:pPr lvl="1" algn="just">
              <a:lnSpc>
                <a:spcPct val="90000"/>
              </a:lnSpc>
              <a:spcAft>
                <a:spcPts val="600"/>
              </a:spcAft>
            </a:pPr>
            <a:r>
              <a:rPr lang="en-GB" sz="1600" dirty="0"/>
              <a:t>The </a:t>
            </a:r>
            <a:r>
              <a:rPr lang="en-GB" sz="1600" b="1" dirty="0"/>
              <a:t>new</a:t>
            </a:r>
            <a:r>
              <a:rPr lang="en-GB" sz="1600" dirty="0"/>
              <a:t> </a:t>
            </a:r>
            <a:r>
              <a:rPr lang="en-GB" sz="1600" b="1" dirty="0"/>
              <a:t>ESC logo </a:t>
            </a:r>
            <a:r>
              <a:rPr lang="en-GB" sz="1600" dirty="0"/>
              <a:t>is </a:t>
            </a:r>
            <a:r>
              <a:rPr lang="en-GB" sz="1600" b="1" dirty="0"/>
              <a:t>easier</a:t>
            </a:r>
            <a:r>
              <a:rPr lang="en-GB" sz="1600" dirty="0"/>
              <a:t> to implement and doesn’t require the purchasing of holograms, facilitating ESC adoption.</a:t>
            </a:r>
          </a:p>
          <a:p>
            <a:pPr lvl="1" algn="just">
              <a:lnSpc>
                <a:spcPct val="90000"/>
              </a:lnSpc>
              <a:spcAft>
                <a:spcPts val="600"/>
              </a:spcAft>
            </a:pPr>
            <a:r>
              <a:rPr lang="en-GB" sz="1600" dirty="0"/>
              <a:t>The ESC </a:t>
            </a:r>
            <a:r>
              <a:rPr lang="en-GB" sz="1600" b="1" dirty="0"/>
              <a:t>Service Catalogue </a:t>
            </a:r>
            <a:r>
              <a:rPr lang="en-GB" sz="1600" dirty="0"/>
              <a:t>will allow HEIs and service providers to list the services they provide to ESC cardholders.</a:t>
            </a:r>
          </a:p>
          <a:p>
            <a:pPr algn="just">
              <a:lnSpc>
                <a:spcPct val="90000"/>
              </a:lnSpc>
              <a:spcAft>
                <a:spcPts val="600"/>
              </a:spcAft>
            </a:pPr>
            <a:endParaRPr lang="es-MX" sz="1700" dirty="0"/>
          </a:p>
        </p:txBody>
      </p:sp>
      <p:sp>
        <p:nvSpPr>
          <p:cNvPr id="9" name="TextBox 22">
            <a:extLst>
              <a:ext uri="{FF2B5EF4-FFF2-40B4-BE49-F238E27FC236}">
                <a16:creationId xmlns:a16="http://schemas.microsoft.com/office/drawing/2014/main" id="{E742FFCD-32DF-5F5A-CD2F-2B28D14D37B7}"/>
              </a:ext>
            </a:extLst>
          </p:cNvPr>
          <p:cNvSpPr txBox="1"/>
          <p:nvPr/>
        </p:nvSpPr>
        <p:spPr>
          <a:xfrm>
            <a:off x="7606982" y="6554034"/>
            <a:ext cx="34763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200" b="0" i="0">
                <a:solidFill>
                  <a:schemeClr val="bg1"/>
                </a:solidFill>
                <a:effectLst/>
                <a:latin typeface="+mj-lt"/>
              </a:rPr>
              <a:t>Photo by </a:t>
            </a:r>
            <a:r>
              <a:rPr lang="en-US" sz="1200" b="0" i="0">
                <a:solidFill>
                  <a:schemeClr val="bg1"/>
                </a:solidFill>
                <a:effectLst/>
                <a:latin typeface="+mj-l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únior Ferreira</a:t>
            </a:r>
            <a:r>
              <a:rPr lang="en-US" sz="1200" b="0" i="0">
                <a:solidFill>
                  <a:schemeClr val="bg1"/>
                </a:solidFill>
                <a:effectLst/>
                <a:latin typeface="+mj-lt"/>
              </a:rPr>
              <a:t> on </a:t>
            </a:r>
            <a:r>
              <a:rPr lang="en-US" sz="1200" b="0" i="0" err="1">
                <a:solidFill>
                  <a:schemeClr val="bg1"/>
                </a:solidFill>
                <a:effectLst/>
                <a:latin typeface="+mj-lt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nsplash</a:t>
            </a:r>
            <a:endParaRPr lang="pt-BR" sz="1050" kern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08250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and person walking with a child&#10;&#10;AI-generated content may be incorrect.">
            <a:extLst>
              <a:ext uri="{FF2B5EF4-FFF2-40B4-BE49-F238E27FC236}">
                <a16:creationId xmlns:a16="http://schemas.microsoft.com/office/drawing/2014/main" id="{39A40CD2-E017-12F8-0233-E59682AC621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411" b="842"/>
          <a:stretch/>
        </p:blipFill>
        <p:spPr>
          <a:xfrm>
            <a:off x="6402250" y="1825625"/>
            <a:ext cx="5328000" cy="3906435"/>
          </a:xfrm>
          <a:prstGeom prst="rect">
            <a:avLst/>
          </a:prstGeom>
          <a:noFill/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FD8DEF7-EF2F-C294-57F6-569EB1FCCD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97524" y="6131286"/>
            <a:ext cx="2743200" cy="365125"/>
          </a:xfrm>
        </p:spPr>
        <p:txBody>
          <a:bodyPr wrap="square" anchor="ctr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600"/>
              </a:spcAft>
              <a:buNone/>
            </a:pPr>
            <a:fld id="{00000000-1234-1234-1234-123412341234}" type="slidenum">
              <a:rPr lang="en-GB"/>
              <a:pPr marL="0" lvl="0" indent="0" rtl="0">
                <a:spcBef>
                  <a:spcPts val="0"/>
                </a:spcBef>
                <a:spcAft>
                  <a:spcPts val="600"/>
                </a:spcAft>
                <a:buNone/>
              </a:pPr>
              <a:t>2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8FAEFE9-BEEB-DF04-14C4-EC1B33CB4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</p:spPr>
        <p:txBody>
          <a:bodyPr wrap="square" anchor="b">
            <a:normAutofit/>
          </a:bodyPr>
          <a:lstStyle/>
          <a:p>
            <a:r>
              <a:rPr lang="en-US" sz="2500"/>
              <a:t>The European Student Card Initiative (ESCI)</a:t>
            </a:r>
            <a:br>
              <a:rPr lang="en-US" sz="2500"/>
            </a:br>
            <a:endParaRPr lang="en-US" sz="250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5121E7E-605E-A7DC-C7C6-6E0205504F8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38200" y="1507253"/>
            <a:ext cx="5733421" cy="4624033"/>
          </a:xfrm>
        </p:spPr>
        <p:txBody>
          <a:bodyPr wrap="square" anchor="t">
            <a:normAutofit fontScale="92500" lnSpcReduction="10000"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en" sz="2000"/>
              <a:t>Flagship initiative to make the European Education Area more inclusive, digital and interconnected.</a:t>
            </a:r>
          </a:p>
          <a:p>
            <a:pPr>
              <a:lnSpc>
                <a:spcPct val="90000"/>
              </a:lnSpc>
            </a:pPr>
            <a:r>
              <a:rPr lang="en" sz="1900"/>
              <a:t>Facilitates digital exchanges among higher education institutions (HEIs), simplifies student mobility and builds a shared European identity for higher education students.</a:t>
            </a:r>
          </a:p>
          <a:p>
            <a:pPr>
              <a:lnSpc>
                <a:spcPct val="90000"/>
              </a:lnSpc>
            </a:pPr>
            <a:r>
              <a:rPr lang="en" sz="1900"/>
              <a:t>All ECHE holders and HEIs participating in a European Universities alliance, commit to implementing the ESCI.</a:t>
            </a:r>
          </a:p>
          <a:p>
            <a:pPr>
              <a:lnSpc>
                <a:spcPct val="90000"/>
              </a:lnSpc>
            </a:pPr>
            <a:r>
              <a:rPr lang="en" sz="1900"/>
              <a:t>The </a:t>
            </a:r>
            <a:r>
              <a:rPr lang="en-US" sz="1900"/>
              <a:t>Council Recommendations on building bridges for effective European higher education cooperation (5 April 2022) and Europe on the Move – learning mobility opportunities for everyone (13 May 2024), call on Member States to support and widen ESCI implementation.</a:t>
            </a:r>
            <a:endParaRPr lang="en" sz="1900"/>
          </a:p>
        </p:txBody>
      </p:sp>
    </p:spTree>
    <p:extLst>
      <p:ext uri="{BB962C8B-B14F-4D97-AF65-F5344CB8AC3E}">
        <p14:creationId xmlns:p14="http://schemas.microsoft.com/office/powerpoint/2010/main" val="7453761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04EB6F6-D017-8483-65EE-2590D1A3DB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70189" y="1122363"/>
            <a:ext cx="10676038" cy="2387600"/>
          </a:xfrm>
        </p:spPr>
        <p:txBody>
          <a:bodyPr/>
          <a:lstStyle/>
          <a:p>
            <a:r>
              <a:rPr lang="en-GB" noProof="0">
                <a:solidFill>
                  <a:schemeClr val="bg1"/>
                </a:solidFill>
                <a:cs typeface="Arial"/>
              </a:rPr>
              <a:t>ESCI - Outlook until the end of </a:t>
            </a:r>
            <a:r>
              <a:rPr lang="en-GB">
                <a:solidFill>
                  <a:schemeClr val="bg1"/>
                </a:solidFill>
              </a:rPr>
              <a:t>the Erasmus+ programme</a:t>
            </a:r>
            <a:endParaRPr lang="en-GB" noProof="0">
              <a:solidFill>
                <a:schemeClr val="bg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0063699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05854A61-F109-1486-48B3-E33D8057B9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</p:spPr>
        <p:txBody>
          <a:bodyPr/>
          <a:lstStyle/>
          <a:p>
            <a:r>
              <a:rPr lang="en-US"/>
              <a:t>Guiding principles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4A4D14F-8357-B039-04BA-9E99DF43421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01387" y="1791099"/>
            <a:ext cx="5506274" cy="4110716"/>
          </a:xfrm>
        </p:spPr>
        <p:txBody>
          <a:bodyPr>
            <a:normAutofit fontScale="92500" lnSpcReduction="20000"/>
          </a:bodyPr>
          <a:lstStyle/>
          <a:p>
            <a:r>
              <a:rPr lang="en-US" b="1" dirty="0"/>
              <a:t>Consolidation</a:t>
            </a:r>
            <a:r>
              <a:rPr lang="en-US" dirty="0"/>
              <a:t> and improvement of existing processes.</a:t>
            </a:r>
          </a:p>
          <a:p>
            <a:r>
              <a:rPr lang="en-IE" b="1" dirty="0"/>
              <a:t>Continuation </a:t>
            </a:r>
            <a:r>
              <a:rPr lang="en-IE" dirty="0"/>
              <a:t>of services and infrastructure at least until the end of the current programming period.</a:t>
            </a:r>
          </a:p>
          <a:p>
            <a:r>
              <a:rPr lang="en-IE" b="1" dirty="0"/>
              <a:t>Stability and scale</a:t>
            </a:r>
            <a:r>
              <a:rPr lang="en-IE" dirty="0"/>
              <a:t>.</a:t>
            </a:r>
          </a:p>
          <a:p>
            <a:r>
              <a:rPr lang="en-US" b="1" dirty="0"/>
              <a:t>Building on </a:t>
            </a:r>
            <a:r>
              <a:rPr lang="en-US" dirty="0"/>
              <a:t>current investments.</a:t>
            </a:r>
          </a:p>
          <a:p>
            <a:r>
              <a:rPr lang="en-US" dirty="0"/>
              <a:t>Based on thorough </a:t>
            </a:r>
            <a:r>
              <a:rPr lang="en-US" b="1" dirty="0"/>
              <a:t>consultation </a:t>
            </a:r>
            <a:r>
              <a:rPr lang="en-US" dirty="0"/>
              <a:t>of users and providers to establish future requirements.</a:t>
            </a:r>
          </a:p>
          <a:p>
            <a:endParaRPr lang="en-IE"/>
          </a:p>
        </p:txBody>
      </p:sp>
      <p:pic>
        <p:nvPicPr>
          <p:cNvPr id="5" name="Picture 4" descr="White stones balanced in a stack">
            <a:extLst>
              <a:ext uri="{FF2B5EF4-FFF2-40B4-BE49-F238E27FC236}">
                <a16:creationId xmlns:a16="http://schemas.microsoft.com/office/drawing/2014/main" id="{F3950232-10A2-0BFD-3027-D6261860568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6996" y="2014210"/>
            <a:ext cx="5253110" cy="350645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9888586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9F5708F3-26E8-3ED1-AA50-BEF753E6CB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97524" y="6131286"/>
            <a:ext cx="2743200" cy="365125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fld id="{81A3FED6-A479-4C51-AC77-2E6E772484F6}" type="slidenum">
              <a:rPr lang="en-GB" altLang="fr-FR"/>
              <a:pPr>
                <a:spcAft>
                  <a:spcPts val="600"/>
                </a:spcAft>
              </a:pPr>
              <a:t>22</a:t>
            </a:fld>
            <a:endParaRPr lang="en-GB" altLang="fr-F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A1A53D-10B6-BBF2-F7C4-5BA553533A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722" y="358681"/>
            <a:ext cx="10515600" cy="982382"/>
          </a:xfrm>
        </p:spPr>
        <p:txBody>
          <a:bodyPr wrap="square" anchor="b">
            <a:noAutofit/>
          </a:bodyPr>
          <a:lstStyle/>
          <a:p>
            <a:r>
              <a:rPr lang="en-IE"/>
              <a:t>European Student Card</a:t>
            </a:r>
          </a:p>
        </p:txBody>
      </p:sp>
      <p:graphicFrame>
        <p:nvGraphicFramePr>
          <p:cNvPr id="6" name="Content Placeholder 3">
            <a:extLst>
              <a:ext uri="{FF2B5EF4-FFF2-40B4-BE49-F238E27FC236}">
                <a16:creationId xmlns:a16="http://schemas.microsoft.com/office/drawing/2014/main" id="{57E292F9-6419-4601-D1AE-583100966E1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13930096"/>
              </p:ext>
            </p:extLst>
          </p:nvPr>
        </p:nvGraphicFramePr>
        <p:xfrm>
          <a:off x="838200" y="1825625"/>
          <a:ext cx="10515600" cy="38819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81478531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6E2986F-F41E-838A-A30A-ADEE510E46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1998" y="1957159"/>
            <a:ext cx="10905699" cy="3881904"/>
          </a:xfrm>
        </p:spPr>
        <p:txBody>
          <a:bodyPr vert="horz" lIns="91440" tIns="45720" rIns="91440" bIns="45720" rtlCol="0" anchor="t">
            <a:noAutofit/>
          </a:bodyPr>
          <a:lstStyle/>
          <a:p>
            <a:pPr fontAlgn="base"/>
            <a:r>
              <a:rPr lang="en-US"/>
              <a:t>Reach 95% </a:t>
            </a:r>
            <a:r>
              <a:rPr lang="en-US" err="1"/>
              <a:t>digitalisation</a:t>
            </a:r>
            <a:r>
              <a:rPr lang="en-US"/>
              <a:t> target of DLAs concluded in the EWP network </a:t>
            </a:r>
          </a:p>
          <a:p>
            <a:pPr fontAlgn="base"/>
            <a:r>
              <a:rPr lang="en-US"/>
              <a:t>Introduction of nominations (beta testing) with a gradual roll out until the end of 2025 </a:t>
            </a:r>
          </a:p>
          <a:p>
            <a:pPr fontAlgn="base"/>
            <a:r>
              <a:rPr lang="en-US"/>
              <a:t>Review Transcript of Records modalities of deployment (2026 onwards) </a:t>
            </a:r>
          </a:p>
          <a:p>
            <a:pPr fontAlgn="base"/>
            <a:r>
              <a:rPr lang="en-US"/>
              <a:t>Prepare future IIA renewal scenarios (ongoing consultation) </a:t>
            </a:r>
          </a:p>
          <a:p>
            <a:pPr fontAlgn="base"/>
            <a:r>
              <a:rPr lang="en-US"/>
              <a:t>Acceptable use policy revision and implementation (2025) </a:t>
            </a:r>
          </a:p>
          <a:p>
            <a:endParaRPr lang="en-I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47B622C-CD56-AA37-33A2-5C143508A6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7048" y="515460"/>
            <a:ext cx="10515600" cy="782357"/>
          </a:xfrm>
        </p:spPr>
        <p:txBody>
          <a:bodyPr/>
          <a:lstStyle/>
          <a:p>
            <a:r>
              <a:rPr lang="en-IE"/>
              <a:t>Erasmus Without Paper</a:t>
            </a:r>
          </a:p>
        </p:txBody>
      </p:sp>
    </p:spTree>
    <p:extLst>
      <p:ext uri="{BB962C8B-B14F-4D97-AF65-F5344CB8AC3E}">
        <p14:creationId xmlns:p14="http://schemas.microsoft.com/office/powerpoint/2010/main" val="62317146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D3E3F6-234B-094E-2F43-E8AC9AA575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CF1C6178-020F-F582-A75A-36771EC4CBF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70189" y="1122363"/>
            <a:ext cx="10676038" cy="2387600"/>
          </a:xfrm>
        </p:spPr>
        <p:txBody>
          <a:bodyPr/>
          <a:lstStyle/>
          <a:p>
            <a:r>
              <a:rPr lang="en-GB" noProof="0">
                <a:solidFill>
                  <a:schemeClr val="bg1"/>
                </a:solidFill>
                <a:cs typeface="Arial"/>
              </a:rPr>
              <a:t>ESCI Champions</a:t>
            </a:r>
          </a:p>
        </p:txBody>
      </p:sp>
    </p:spTree>
    <p:extLst>
      <p:ext uri="{BB962C8B-B14F-4D97-AF65-F5344CB8AC3E}">
        <p14:creationId xmlns:p14="http://schemas.microsoft.com/office/powerpoint/2010/main" val="376590478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B9967C-1BBC-4A40-719E-E87923EC0A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92B9206-CC4C-62BC-4F57-96707D2A82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7048" y="515460"/>
            <a:ext cx="10515600" cy="782357"/>
          </a:xfrm>
        </p:spPr>
        <p:txBody>
          <a:bodyPr/>
          <a:lstStyle/>
          <a:p>
            <a:r>
              <a:rPr lang="en-IE"/>
              <a:t>ESCI Champions </a:t>
            </a:r>
          </a:p>
        </p:txBody>
      </p:sp>
      <p:pic>
        <p:nvPicPr>
          <p:cNvPr id="7" name="Picture 6" descr="Two people with cup illustration">
            <a:extLst>
              <a:ext uri="{FF2B5EF4-FFF2-40B4-BE49-F238E27FC236}">
                <a16:creationId xmlns:a16="http://schemas.microsoft.com/office/drawing/2014/main" id="{B6822DF4-8268-0824-7E76-6EE1C768EE9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7800" r="17800"/>
          <a:stretch/>
        </p:blipFill>
        <p:spPr>
          <a:xfrm>
            <a:off x="7773642" y="0"/>
            <a:ext cx="4418358" cy="6857989"/>
          </a:xfrm>
          <a:prstGeom prst="rect">
            <a:avLst/>
          </a:prstGeom>
          <a:noFill/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</p:pic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1D95FBA0-227A-7D81-7E8B-89EB726DB8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1999" y="1957159"/>
            <a:ext cx="6858002" cy="3881904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 sz="1400"/>
              <a:t>Institutions that have made </a:t>
            </a:r>
            <a:r>
              <a:rPr lang="en-GB" sz="1400" b="1"/>
              <a:t>significant progress </a:t>
            </a:r>
            <a:r>
              <a:rPr lang="en-GB" sz="1400"/>
              <a:t>in </a:t>
            </a:r>
            <a:r>
              <a:rPr lang="en-GB" sz="1400" b="1"/>
              <a:t>implementing the European Student Card Initiative </a:t>
            </a:r>
            <a:r>
              <a:rPr lang="en-GB" sz="1400"/>
              <a:t>(ESCI) and commit to </a:t>
            </a:r>
            <a:r>
              <a:rPr lang="en-GB" sz="1400" b="1"/>
              <a:t>sharing best practices </a:t>
            </a:r>
            <a:r>
              <a:rPr lang="en-GB" sz="1400"/>
              <a:t>with their peers.</a:t>
            </a:r>
          </a:p>
          <a:p>
            <a:r>
              <a:rPr lang="en-GB" sz="1400"/>
              <a:t>Builds and expands on the successful EWP Champions (2023-2025).</a:t>
            </a:r>
            <a:endParaRPr lang="en-GB" sz="1400" b="1"/>
          </a:p>
          <a:p>
            <a:pPr>
              <a:spcAft>
                <a:spcPts val="500"/>
              </a:spcAft>
            </a:pPr>
            <a:r>
              <a:rPr lang="en-GB" sz="1400" b="1"/>
              <a:t>31 organisations </a:t>
            </a:r>
            <a:r>
              <a:rPr lang="en-GB" sz="1400"/>
              <a:t>(one per National Agency)</a:t>
            </a:r>
            <a:r>
              <a:rPr lang="en-GB" sz="1400" b="1"/>
              <a:t> </a:t>
            </a:r>
            <a:r>
              <a:rPr lang="en-GB" sz="1400"/>
              <a:t>across </a:t>
            </a:r>
            <a:r>
              <a:rPr lang="en-GB" sz="1400" b="1"/>
              <a:t>three categories</a:t>
            </a:r>
            <a:endParaRPr lang="en-GB" sz="1000"/>
          </a:p>
          <a:p>
            <a:pPr marL="1085850" lvl="1" indent="-342900">
              <a:spcBef>
                <a:spcPts val="500"/>
              </a:spcBef>
              <a:spcAft>
                <a:spcPts val="500"/>
              </a:spcAft>
            </a:pPr>
            <a:r>
              <a:rPr lang="en-GB" sz="1400"/>
              <a:t>Erasmus Without Paper (EWP)</a:t>
            </a:r>
          </a:p>
          <a:p>
            <a:pPr marL="1085850" lvl="1" indent="-342900">
              <a:spcBef>
                <a:spcPts val="500"/>
              </a:spcBef>
              <a:spcAft>
                <a:spcPts val="500"/>
              </a:spcAft>
            </a:pPr>
            <a:r>
              <a:rPr lang="en-GB" sz="1400"/>
              <a:t>European Student Card (ESC)</a:t>
            </a:r>
          </a:p>
          <a:p>
            <a:pPr marL="1085850" lvl="1" indent="-342900">
              <a:spcBef>
                <a:spcPts val="500"/>
              </a:spcBef>
              <a:spcAft>
                <a:spcPts val="500"/>
              </a:spcAft>
            </a:pPr>
            <a:r>
              <a:rPr lang="en-GB" sz="1400"/>
              <a:t>Champion of excellence (EWP + ESC)</a:t>
            </a:r>
          </a:p>
          <a:p>
            <a:pPr marL="742950" lvl="1" indent="0">
              <a:spcBef>
                <a:spcPts val="500"/>
              </a:spcBef>
              <a:spcAft>
                <a:spcPts val="500"/>
              </a:spcAft>
              <a:buNone/>
            </a:pPr>
            <a:endParaRPr lang="en-IE" sz="1400" b="1"/>
          </a:p>
          <a:p>
            <a:r>
              <a:rPr lang="en-IE" sz="1400" b="1"/>
              <a:t>Nominated by Digital Officers in each Erasmus+ National Agency</a:t>
            </a:r>
          </a:p>
          <a:p>
            <a:r>
              <a:rPr lang="en-IE" sz="1400" b="1"/>
              <a:t>Cypriot ESCI Champion</a:t>
            </a:r>
            <a:r>
              <a:rPr lang="en-IE" sz="1400"/>
              <a:t>: University of Cyprus!</a:t>
            </a:r>
            <a:endParaRPr lang="en-IE" sz="1400" b="1"/>
          </a:p>
        </p:txBody>
      </p:sp>
    </p:spTree>
    <p:extLst>
      <p:ext uri="{BB962C8B-B14F-4D97-AF65-F5344CB8AC3E}">
        <p14:creationId xmlns:p14="http://schemas.microsoft.com/office/powerpoint/2010/main" val="322719843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819B2E-0A77-5C2B-C8D3-965E7E1017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3213244-F198-5310-5D8D-79768239BF79}"/>
              </a:ext>
            </a:extLst>
          </p:cNvPr>
          <p:cNvSpPr/>
          <p:nvPr/>
        </p:nvSpPr>
        <p:spPr>
          <a:xfrm>
            <a:off x="9787467" y="5466596"/>
            <a:ext cx="2223911" cy="119097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2B2A2B3-BE92-C562-ECEB-2BC6767B6B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2990" y="346127"/>
            <a:ext cx="10515600" cy="782357"/>
          </a:xfrm>
        </p:spPr>
        <p:txBody>
          <a:bodyPr/>
          <a:lstStyle/>
          <a:p>
            <a:r>
              <a:rPr lang="en-IE" sz="2800"/>
              <a:t>ESCI Champions kick-off meeting – Gothenburg (09 Sep 2025)</a:t>
            </a:r>
          </a:p>
        </p:txBody>
      </p:sp>
      <p:pic>
        <p:nvPicPr>
          <p:cNvPr id="4" name="Picture 3" descr="A group of people posing for a photo&#10;&#10;AI-generated content may be incorrect.">
            <a:extLst>
              <a:ext uri="{FF2B5EF4-FFF2-40B4-BE49-F238E27FC236}">
                <a16:creationId xmlns:a16="http://schemas.microsoft.com/office/drawing/2014/main" id="{F29D3EF0-561E-A764-F1CE-7B0F06225E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2990" y="1372913"/>
            <a:ext cx="10066020" cy="528466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0666049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548CB06-3EFA-9034-FAC6-CA0BFDC171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27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9C8F96E-8976-1B88-041F-F84C2DAB6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UPCOMING! ESCI Community Space</a:t>
            </a:r>
            <a:endParaRPr lang="es-MX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1A2B959-8287-EB60-5D43-6DA35F559722}"/>
              </a:ext>
            </a:extLst>
          </p:cNvPr>
          <p:cNvGrpSpPr/>
          <p:nvPr/>
        </p:nvGrpSpPr>
        <p:grpSpPr>
          <a:xfrm>
            <a:off x="412009" y="1395387"/>
            <a:ext cx="11367982" cy="4579696"/>
            <a:chOff x="671051" y="1395387"/>
            <a:chExt cx="11367982" cy="4579696"/>
          </a:xfrm>
        </p:grpSpPr>
        <p:pic>
          <p:nvPicPr>
            <p:cNvPr id="10" name="Picture 2">
              <a:extLst>
                <a:ext uri="{FF2B5EF4-FFF2-40B4-BE49-F238E27FC236}">
                  <a16:creationId xmlns:a16="http://schemas.microsoft.com/office/drawing/2014/main" id="{EBE12F8D-7F87-EB63-11F9-493399FAE9D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63529"/>
            <a:stretch>
              <a:fillRect/>
            </a:stretch>
          </p:blipFill>
          <p:spPr bwMode="auto">
            <a:xfrm>
              <a:off x="671051" y="1401825"/>
              <a:ext cx="3492000" cy="45668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2">
              <a:extLst>
                <a:ext uri="{FF2B5EF4-FFF2-40B4-BE49-F238E27FC236}">
                  <a16:creationId xmlns:a16="http://schemas.microsoft.com/office/drawing/2014/main" id="{5B08C3D7-32E8-16FD-3694-3B4464AD078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6471" b="26955"/>
            <a:stretch>
              <a:fillRect/>
            </a:stretch>
          </p:blipFill>
          <p:spPr bwMode="auto">
            <a:xfrm>
              <a:off x="4609042" y="1395387"/>
              <a:ext cx="3492000" cy="4579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2">
              <a:extLst>
                <a:ext uri="{FF2B5EF4-FFF2-40B4-BE49-F238E27FC236}">
                  <a16:creationId xmlns:a16="http://schemas.microsoft.com/office/drawing/2014/main" id="{E22D3074-2038-28E9-8100-B8C41E1C525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2845"/>
            <a:stretch>
              <a:fillRect/>
            </a:stretch>
          </p:blipFill>
          <p:spPr bwMode="auto">
            <a:xfrm>
              <a:off x="8547033" y="1985071"/>
              <a:ext cx="3492000" cy="34003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AAB086F2-0764-24AA-E127-2F23F65C2DC0}"/>
              </a:ext>
            </a:extLst>
          </p:cNvPr>
          <p:cNvSpPr txBox="1"/>
          <p:nvPr/>
        </p:nvSpPr>
        <p:spPr>
          <a:xfrm rot="19014531">
            <a:off x="643841" y="3223570"/>
            <a:ext cx="28906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5400" b="1">
                <a:solidFill>
                  <a:srgbClr val="C00000"/>
                </a:solidFill>
              </a:rPr>
              <a:t>DRAFT</a:t>
            </a:r>
            <a:endParaRPr lang="en-GB" sz="5400" b="1">
              <a:solidFill>
                <a:srgbClr val="C00000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4BED125-C625-8975-5348-C4E9963E11DF}"/>
              </a:ext>
            </a:extLst>
          </p:cNvPr>
          <p:cNvSpPr txBox="1"/>
          <p:nvPr/>
        </p:nvSpPr>
        <p:spPr>
          <a:xfrm rot="19014531">
            <a:off x="4650657" y="3130163"/>
            <a:ext cx="28906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5400" b="1">
                <a:solidFill>
                  <a:srgbClr val="C00000"/>
                </a:solidFill>
              </a:rPr>
              <a:t>DRAFT</a:t>
            </a:r>
            <a:endParaRPr lang="en-GB" sz="5400" b="1">
              <a:solidFill>
                <a:srgbClr val="C00000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3A60576-DB5C-DF21-2FA0-546A4DFFCA14}"/>
              </a:ext>
            </a:extLst>
          </p:cNvPr>
          <p:cNvSpPr txBox="1"/>
          <p:nvPr/>
        </p:nvSpPr>
        <p:spPr>
          <a:xfrm rot="19014531">
            <a:off x="8657477" y="3223571"/>
            <a:ext cx="28906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5400" b="1">
                <a:solidFill>
                  <a:srgbClr val="C00000"/>
                </a:solidFill>
              </a:rPr>
              <a:t>DRAFT</a:t>
            </a:r>
            <a:endParaRPr lang="en-GB" sz="5400" b="1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363127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786208-4B29-CCCB-9199-7D084EBB46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4845C788-7C65-E541-A908-2469EADB941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70189" y="1122363"/>
            <a:ext cx="10676038" cy="2387600"/>
          </a:xfrm>
        </p:spPr>
        <p:txBody>
          <a:bodyPr/>
          <a:lstStyle/>
          <a:p>
            <a:r>
              <a:rPr lang="en-GB">
                <a:solidFill>
                  <a:schemeClr val="bg1"/>
                </a:solidFill>
              </a:rPr>
              <a:t>Useful resources</a:t>
            </a:r>
            <a:endParaRPr lang="en-GB" noProof="0">
              <a:solidFill>
                <a:schemeClr val="bg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7743615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7B4B869B-CB0A-986A-4D61-D5E2450AAD4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02250" y="1825625"/>
            <a:ext cx="5328000" cy="3906435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>
                <a:hlinkClick r:id="rId3"/>
              </a:rPr>
              <a:t>ESCI portal </a:t>
            </a:r>
            <a:endParaRPr lang="en-US">
              <a:hlinkClick r:id="rId4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>
                <a:hlinkClick r:id="rId4"/>
              </a:rPr>
              <a:t>ESCI service desk </a:t>
            </a:r>
            <a:endParaRPr lang="en-US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>
                <a:hlinkClick r:id="rId5"/>
              </a:rPr>
              <a:t>ESCI bi-monthly newsletter</a:t>
            </a:r>
            <a:endParaRPr lang="en-US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>
                <a:hlinkClick r:id="rId6"/>
              </a:rPr>
              <a:t>EWP Champions</a:t>
            </a:r>
            <a:endParaRPr lang="en-US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>
                <a:hlinkClick r:id="rId7"/>
              </a:rPr>
              <a:t>EWP developers page</a:t>
            </a:r>
            <a:endParaRPr lang="en-US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>
                <a:hlinkClick r:id="rId8"/>
              </a:rPr>
              <a:t>EWP User Groups </a:t>
            </a:r>
            <a:endParaRPr lang="en-US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>
                <a:hlinkClick r:id="rId9"/>
              </a:rPr>
              <a:t>EWP User Guides </a:t>
            </a:r>
            <a:endParaRPr lang="en-US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>
                <a:hlinkClick r:id="rId10"/>
              </a:rPr>
              <a:t>EWP governance reports</a:t>
            </a:r>
            <a:endParaRPr lang="en-US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>
                <a:hlinkClick r:id="rId11"/>
              </a:rPr>
              <a:t>News</a:t>
            </a:r>
            <a:r>
              <a:rPr lang="en-US"/>
              <a:t> and </a:t>
            </a:r>
            <a:r>
              <a:rPr lang="en-US">
                <a:hlinkClick r:id="rId12"/>
              </a:rPr>
              <a:t>events</a:t>
            </a:r>
            <a:r>
              <a:rPr lang="en-US"/>
              <a:t>  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6BE0B976-394D-4E35-73B2-90FBEF60E5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</p:spPr>
        <p:txBody>
          <a:bodyPr/>
          <a:lstStyle/>
          <a:p>
            <a:r>
              <a:rPr lang="en-US" kern="1200">
                <a:ea typeface="+mn-ea"/>
              </a:rPr>
              <a:t>Support and useful resources – EWP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3C306FB-4CD8-EAAC-5C78-55FED49A0C1D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24359"/>
          <a:stretch/>
        </p:blipFill>
        <p:spPr>
          <a:xfrm>
            <a:off x="838201" y="1825624"/>
            <a:ext cx="5253110" cy="390643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6601746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1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-GB"/>
              <a:t>European Student Card Initiative</a:t>
            </a:r>
            <a:endParaRPr/>
          </a:p>
        </p:txBody>
      </p:sp>
      <p:pic>
        <p:nvPicPr>
          <p:cNvPr id="28" name="Picture 27" descr="A qr code with a blue flag&#10;&#10;AI-generated content may be incorrect.">
            <a:extLst>
              <a:ext uri="{FF2B5EF4-FFF2-40B4-BE49-F238E27FC236}">
                <a16:creationId xmlns:a16="http://schemas.microsoft.com/office/drawing/2014/main" id="{0203BB6B-893B-F0C2-8905-0E64FEFC90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6000" y="2277026"/>
            <a:ext cx="9360000" cy="1937455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383545C5-4FE5-58A9-8EB5-F8944DD2ED9D}"/>
              </a:ext>
            </a:extLst>
          </p:cNvPr>
          <p:cNvSpPr txBox="1"/>
          <p:nvPr/>
        </p:nvSpPr>
        <p:spPr>
          <a:xfrm>
            <a:off x="1416000" y="4308932"/>
            <a:ext cx="189547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77"/>
            <a:r>
              <a:rPr lang="en-GB" sz="1800" b="1">
                <a:solidFill>
                  <a:srgbClr val="2E3192"/>
                </a:solidFill>
              </a:rPr>
              <a:t>Erasmus Without Paper</a:t>
            </a:r>
            <a:endParaRPr lang="en-BE" sz="1800" b="1">
              <a:solidFill>
                <a:srgbClr val="2E3192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789C56D-4886-1D8B-DCFF-8D4B3D9AD5FC}"/>
              </a:ext>
            </a:extLst>
          </p:cNvPr>
          <p:cNvSpPr txBox="1"/>
          <p:nvPr/>
        </p:nvSpPr>
        <p:spPr>
          <a:xfrm>
            <a:off x="5148263" y="4308932"/>
            <a:ext cx="189547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77"/>
            <a:r>
              <a:rPr lang="en-GB" sz="1800" b="1">
                <a:solidFill>
                  <a:srgbClr val="2E3192"/>
                </a:solidFill>
              </a:rPr>
              <a:t>European Student Card</a:t>
            </a:r>
            <a:endParaRPr lang="en-BE" sz="1800" b="1">
              <a:solidFill>
                <a:srgbClr val="2E3192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F6CDA16-D8E3-7416-9C9D-06E3C86A8D2E}"/>
              </a:ext>
            </a:extLst>
          </p:cNvPr>
          <p:cNvSpPr txBox="1"/>
          <p:nvPr/>
        </p:nvSpPr>
        <p:spPr>
          <a:xfrm>
            <a:off x="8880525" y="4308931"/>
            <a:ext cx="189547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77"/>
            <a:r>
              <a:rPr lang="en-GB" sz="1800" b="1">
                <a:solidFill>
                  <a:srgbClr val="2E3192"/>
                </a:solidFill>
              </a:rPr>
              <a:t>Erasmus+ </a:t>
            </a:r>
          </a:p>
          <a:p>
            <a:pPr algn="ctr" defTabSz="914377"/>
            <a:r>
              <a:rPr lang="en-GB" sz="1800" b="1">
                <a:solidFill>
                  <a:srgbClr val="2E3192"/>
                </a:solidFill>
              </a:rPr>
              <a:t>App</a:t>
            </a:r>
            <a:endParaRPr lang="en-BE" sz="1800" b="1">
              <a:solidFill>
                <a:srgbClr val="2E3192"/>
              </a:solidFill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8FD7A90B-EC3C-9A19-B017-5517A2E2DA0E}"/>
              </a:ext>
            </a:extLst>
          </p:cNvPr>
          <p:cNvSpPr/>
          <p:nvPr/>
        </p:nvSpPr>
        <p:spPr>
          <a:xfrm>
            <a:off x="5135736" y="2291752"/>
            <a:ext cx="1908000" cy="1908000"/>
          </a:xfrm>
          <a:prstGeom prst="ellipse">
            <a:avLst/>
          </a:prstGeom>
          <a:noFill/>
          <a:ln w="3175">
            <a:solidFill>
              <a:srgbClr val="0084CF"/>
            </a:solidFill>
          </a:ln>
          <a:effectLst>
            <a:glow rad="76200">
              <a:srgbClr val="66E200">
                <a:alpha val="35000"/>
              </a:srgb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BE" sz="1867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A94BE237-B06D-C3BD-AE01-5BB2024871AC}"/>
              </a:ext>
            </a:extLst>
          </p:cNvPr>
          <p:cNvSpPr/>
          <p:nvPr/>
        </p:nvSpPr>
        <p:spPr>
          <a:xfrm>
            <a:off x="8851860" y="2291752"/>
            <a:ext cx="1908000" cy="1908000"/>
          </a:xfrm>
          <a:prstGeom prst="ellipse">
            <a:avLst/>
          </a:prstGeom>
          <a:noFill/>
          <a:ln w="3175">
            <a:solidFill>
              <a:srgbClr val="0084CF"/>
            </a:solidFill>
          </a:ln>
          <a:effectLst>
            <a:glow rad="76200">
              <a:srgbClr val="66E200">
                <a:alpha val="35000"/>
              </a:srgb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BE" sz="1867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C85BA706-5B41-BD6B-06CA-28D32B8CE393}"/>
              </a:ext>
            </a:extLst>
          </p:cNvPr>
          <p:cNvSpPr/>
          <p:nvPr/>
        </p:nvSpPr>
        <p:spPr>
          <a:xfrm>
            <a:off x="1432141" y="2277026"/>
            <a:ext cx="1908000" cy="1908000"/>
          </a:xfrm>
          <a:prstGeom prst="ellipse">
            <a:avLst/>
          </a:prstGeom>
          <a:noFill/>
          <a:ln w="3175">
            <a:solidFill>
              <a:srgbClr val="0084CF"/>
            </a:solidFill>
          </a:ln>
          <a:effectLst>
            <a:glow rad="76200">
              <a:srgbClr val="66E200">
                <a:alpha val="35000"/>
              </a:srgb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BE" sz="1867">
              <a:solidFill>
                <a:srgbClr val="FFFFFF"/>
              </a:solidFill>
              <a:latin typeface="Arial"/>
            </a:endParaRP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ook on the ground&#10;&#10;AI-generated content may be incorrect.">
            <a:extLst>
              <a:ext uri="{FF2B5EF4-FFF2-40B4-BE49-F238E27FC236}">
                <a16:creationId xmlns:a16="http://schemas.microsoft.com/office/drawing/2014/main" id="{1DBA28D7-34EB-8AE5-A7F4-1A4EF0BCB9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6982" y="26967"/>
            <a:ext cx="4564035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1C2FA32-7F51-4ADA-23A1-AFA4426923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solidFill>
                  <a:srgbClr val="3B2C71"/>
                </a:solidFill>
              </a:rPr>
              <a:t>Useful resources ESC</a:t>
            </a:r>
            <a:endParaRPr lang="es-MX">
              <a:solidFill>
                <a:srgbClr val="3B2C7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E64A9E-BFED-55BB-282A-12178B609A6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A3FED6-A479-4C51-AC77-2E6E772484F6}" type="slidenum">
              <a:rPr lang="en-GB" altLang="fr-FR" smtClean="0"/>
              <a:pPr/>
              <a:t>30</a:t>
            </a:fld>
            <a:endParaRPr lang="en-GB" altLang="fr-FR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B484857-3B4C-5A6D-B314-E9AAF5DDEE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7524" y="1488281"/>
            <a:ext cx="6537960" cy="5008130"/>
          </a:xfrm>
        </p:spPr>
        <p:txBody>
          <a:bodyPr wrap="square" anchor="t">
            <a:normAutofit/>
          </a:bodyPr>
          <a:lstStyle/>
          <a:p>
            <a:pPr algn="just">
              <a:lnSpc>
                <a:spcPct val="90000"/>
              </a:lnSpc>
              <a:spcAft>
                <a:spcPts val="600"/>
              </a:spcAft>
            </a:pPr>
            <a:r>
              <a:rPr lang="en-GB" sz="2000"/>
              <a:t>ESC </a:t>
            </a:r>
            <a:r>
              <a:rPr lang="en-GB" sz="2000">
                <a:hlinkClick r:id="rId3"/>
              </a:rPr>
              <a:t>General specifications</a:t>
            </a:r>
            <a:endParaRPr lang="en-GB" sz="2000"/>
          </a:p>
          <a:p>
            <a:pPr algn="just">
              <a:lnSpc>
                <a:spcPct val="90000"/>
              </a:lnSpc>
              <a:spcAft>
                <a:spcPts val="600"/>
              </a:spcAft>
            </a:pPr>
            <a:endParaRPr lang="en-GB" sz="2000"/>
          </a:p>
          <a:p>
            <a:pPr algn="just">
              <a:lnSpc>
                <a:spcPct val="90000"/>
              </a:lnSpc>
              <a:spcAft>
                <a:spcPts val="600"/>
              </a:spcAft>
            </a:pPr>
            <a:r>
              <a:rPr lang="en-GB" sz="2000"/>
              <a:t>ESC </a:t>
            </a:r>
            <a:r>
              <a:rPr lang="en-GB" sz="2000">
                <a:hlinkClick r:id="rId4"/>
              </a:rPr>
              <a:t>Technical specifications</a:t>
            </a:r>
            <a:endParaRPr lang="en-GB" sz="2000"/>
          </a:p>
          <a:p>
            <a:pPr algn="just">
              <a:lnSpc>
                <a:spcPct val="90000"/>
              </a:lnSpc>
              <a:spcAft>
                <a:spcPts val="600"/>
              </a:spcAft>
            </a:pPr>
            <a:endParaRPr lang="en-GB" sz="2000"/>
          </a:p>
          <a:p>
            <a:pPr algn="just">
              <a:lnSpc>
                <a:spcPct val="90000"/>
              </a:lnSpc>
              <a:spcAft>
                <a:spcPts val="600"/>
              </a:spcAft>
            </a:pPr>
            <a:r>
              <a:rPr lang="es-MX" sz="2000"/>
              <a:t>ESC </a:t>
            </a:r>
            <a:r>
              <a:rPr lang="es-MX" sz="2000">
                <a:hlinkClick r:id="rId5"/>
              </a:rPr>
              <a:t>graphic </a:t>
            </a:r>
            <a:r>
              <a:rPr lang="es-MX" sz="2000" err="1">
                <a:hlinkClick r:id="rId5"/>
              </a:rPr>
              <a:t>charter</a:t>
            </a:r>
            <a:endParaRPr lang="es-MX" sz="2000"/>
          </a:p>
          <a:p>
            <a:pPr algn="just">
              <a:lnSpc>
                <a:spcPct val="90000"/>
              </a:lnSpc>
              <a:spcAft>
                <a:spcPts val="600"/>
              </a:spcAft>
            </a:pPr>
            <a:endParaRPr lang="es-MX" sz="2000"/>
          </a:p>
          <a:p>
            <a:pPr algn="just">
              <a:lnSpc>
                <a:spcPct val="90000"/>
              </a:lnSpc>
              <a:spcAft>
                <a:spcPts val="600"/>
              </a:spcAft>
            </a:pPr>
            <a:r>
              <a:rPr lang="es-MX" sz="2000">
                <a:hlinkClick r:id="rId6"/>
              </a:rPr>
              <a:t>Video tutorial</a:t>
            </a:r>
            <a:r>
              <a:rPr lang="es-MX" sz="2000"/>
              <a:t>: </a:t>
            </a:r>
            <a:r>
              <a:rPr lang="es-MX" sz="2000" err="1"/>
              <a:t>how</a:t>
            </a:r>
            <a:r>
              <a:rPr lang="es-MX" sz="2000"/>
              <a:t> </a:t>
            </a:r>
            <a:r>
              <a:rPr lang="es-MX" sz="2000" err="1"/>
              <a:t>to</a:t>
            </a:r>
            <a:r>
              <a:rPr lang="es-MX" sz="2000"/>
              <a:t> </a:t>
            </a:r>
            <a:r>
              <a:rPr lang="es-MX" sz="2000" err="1"/>
              <a:t>access</a:t>
            </a:r>
            <a:r>
              <a:rPr lang="es-MX" sz="2000"/>
              <a:t> and </a:t>
            </a:r>
            <a:r>
              <a:rPr lang="es-MX" sz="2000" err="1"/>
              <a:t>manage</a:t>
            </a:r>
            <a:r>
              <a:rPr lang="es-MX" sz="2000"/>
              <a:t> </a:t>
            </a:r>
            <a:r>
              <a:rPr lang="es-MX" sz="2000" err="1"/>
              <a:t>ESCs</a:t>
            </a:r>
            <a:r>
              <a:rPr lang="es-MX" sz="2000"/>
              <a:t> in the ESC </a:t>
            </a:r>
            <a:r>
              <a:rPr lang="es-MX" sz="2000" err="1"/>
              <a:t>Router</a:t>
            </a:r>
            <a:endParaRPr lang="es-MX" sz="2000"/>
          </a:p>
          <a:p>
            <a:pPr algn="just">
              <a:lnSpc>
                <a:spcPct val="90000"/>
              </a:lnSpc>
              <a:spcAft>
                <a:spcPts val="600"/>
              </a:spcAft>
            </a:pPr>
            <a:endParaRPr lang="es-MX" sz="2000"/>
          </a:p>
          <a:p>
            <a:pPr algn="just">
              <a:lnSpc>
                <a:spcPct val="90000"/>
              </a:lnSpc>
              <a:spcAft>
                <a:spcPts val="600"/>
              </a:spcAft>
            </a:pPr>
            <a:r>
              <a:rPr lang="es-MX" sz="2000">
                <a:hlinkClick r:id="rId7"/>
              </a:rPr>
              <a:t>ESC </a:t>
            </a:r>
            <a:r>
              <a:rPr lang="es-MX" sz="2000" err="1">
                <a:hlinkClick r:id="rId7"/>
              </a:rPr>
              <a:t>Service</a:t>
            </a:r>
            <a:r>
              <a:rPr lang="es-MX" sz="2000">
                <a:hlinkClick r:id="rId7"/>
              </a:rPr>
              <a:t> </a:t>
            </a:r>
            <a:r>
              <a:rPr lang="es-MX" sz="2000" err="1">
                <a:hlinkClick r:id="rId7"/>
              </a:rPr>
              <a:t>Desk</a:t>
            </a:r>
            <a:endParaRPr lang="es-MX" sz="2000"/>
          </a:p>
          <a:p>
            <a:pPr marL="76200" indent="0" algn="just">
              <a:lnSpc>
                <a:spcPct val="90000"/>
              </a:lnSpc>
              <a:spcAft>
                <a:spcPts val="600"/>
              </a:spcAft>
              <a:buNone/>
            </a:pPr>
            <a:endParaRPr lang="es-MX" sz="2000"/>
          </a:p>
          <a:p>
            <a:pPr algn="just">
              <a:lnSpc>
                <a:spcPct val="90000"/>
              </a:lnSpc>
              <a:spcAft>
                <a:spcPts val="600"/>
              </a:spcAft>
            </a:pPr>
            <a:r>
              <a:rPr lang="es-MX" sz="2000"/>
              <a:t>ESC </a:t>
            </a:r>
            <a:r>
              <a:rPr lang="es-MX" sz="2000">
                <a:hlinkClick r:id="rId8"/>
              </a:rPr>
              <a:t>partnerships </a:t>
            </a:r>
            <a:r>
              <a:rPr lang="es-MX" sz="2000" err="1">
                <a:hlinkClick r:id="rId8"/>
              </a:rPr>
              <a:t>programme</a:t>
            </a:r>
            <a:endParaRPr lang="es-MX" sz="2000"/>
          </a:p>
          <a:p>
            <a:pPr algn="just">
              <a:lnSpc>
                <a:spcPct val="90000"/>
              </a:lnSpc>
              <a:spcAft>
                <a:spcPts val="600"/>
              </a:spcAft>
            </a:pPr>
            <a:endParaRPr lang="es-MX" sz="2000"/>
          </a:p>
        </p:txBody>
      </p:sp>
      <p:sp>
        <p:nvSpPr>
          <p:cNvPr id="9" name="TextBox 22">
            <a:extLst>
              <a:ext uri="{FF2B5EF4-FFF2-40B4-BE49-F238E27FC236}">
                <a16:creationId xmlns:a16="http://schemas.microsoft.com/office/drawing/2014/main" id="{E742FFCD-32DF-5F5A-CD2F-2B28D14D37B7}"/>
              </a:ext>
            </a:extLst>
          </p:cNvPr>
          <p:cNvSpPr txBox="1"/>
          <p:nvPr/>
        </p:nvSpPr>
        <p:spPr>
          <a:xfrm>
            <a:off x="7606982" y="6554034"/>
            <a:ext cx="34763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600" b="0" i="0">
                <a:solidFill>
                  <a:schemeClr val="bg1"/>
                </a:solidFill>
                <a:effectLst/>
                <a:latin typeface="+mj-lt"/>
              </a:rPr>
              <a:t>Photo by </a:t>
            </a:r>
            <a:r>
              <a:rPr lang="en-US" sz="1600" b="0" i="0">
                <a:solidFill>
                  <a:schemeClr val="bg1"/>
                </a:solidFill>
                <a:effectLst/>
                <a:latin typeface="+mj-lt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aura </a:t>
            </a:r>
            <a:r>
              <a:rPr lang="en-US" sz="1600" b="0" i="0" err="1">
                <a:solidFill>
                  <a:schemeClr val="bg1"/>
                </a:solidFill>
                <a:effectLst/>
                <a:latin typeface="+mj-lt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apfer</a:t>
            </a:r>
            <a:r>
              <a:rPr lang="en-US" sz="1600" b="0" i="0">
                <a:solidFill>
                  <a:schemeClr val="bg1"/>
                </a:solidFill>
                <a:effectLst/>
                <a:latin typeface="+mj-lt"/>
              </a:rPr>
              <a:t> on </a:t>
            </a:r>
            <a:r>
              <a:rPr lang="en-US" sz="1600" b="0" i="0" err="1">
                <a:solidFill>
                  <a:schemeClr val="bg1"/>
                </a:solidFill>
                <a:effectLst/>
                <a:latin typeface="+mj-lt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nsplash</a:t>
            </a:r>
            <a:endParaRPr lang="pt-BR" sz="1050" kern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948351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IE"/>
              <a:t>Thank you! </a:t>
            </a:r>
          </a:p>
        </p:txBody>
      </p:sp>
    </p:spTree>
    <p:extLst>
      <p:ext uri="{BB962C8B-B14F-4D97-AF65-F5344CB8AC3E}">
        <p14:creationId xmlns:p14="http://schemas.microsoft.com/office/powerpoint/2010/main" val="16185121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using a tablet&#10;&#10;Description automatically generated">
            <a:extLst>
              <a:ext uri="{FF2B5EF4-FFF2-40B4-BE49-F238E27FC236}">
                <a16:creationId xmlns:a16="http://schemas.microsoft.com/office/drawing/2014/main" id="{5D4C9885-21CA-9CAA-1D66-C58B5A900F2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7D457A5-3751-81BA-3B08-B7AA75D80B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75178" y="6132154"/>
            <a:ext cx="1848709" cy="48597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ECE5D4B-0F0C-0740-F52C-B4ACEE257E51}"/>
              </a:ext>
            </a:extLst>
          </p:cNvPr>
          <p:cNvSpPr/>
          <p:nvPr/>
        </p:nvSpPr>
        <p:spPr>
          <a:xfrm>
            <a:off x="88606" y="2146801"/>
            <a:ext cx="8642500" cy="160456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160"/>
              </a:lnSpc>
            </a:pPr>
            <a:endParaRPr lang="en-IE" sz="1351" b="1">
              <a:solidFill>
                <a:srgbClr val="002060"/>
              </a:solidFill>
            </a:endParaRPr>
          </a:p>
          <a:p>
            <a:pPr>
              <a:lnSpc>
                <a:spcPts val="2160"/>
              </a:lnSpc>
            </a:pPr>
            <a:endParaRPr lang="en-IE" sz="1351" b="1">
              <a:solidFill>
                <a:srgbClr val="002060"/>
              </a:solidFill>
            </a:endParaRPr>
          </a:p>
          <a:p>
            <a:pPr>
              <a:lnSpc>
                <a:spcPts val="2160"/>
              </a:lnSpc>
            </a:pPr>
            <a:r>
              <a:rPr lang="en-IE" sz="1350" b="1">
                <a:solidFill>
                  <a:srgbClr val="002060"/>
                </a:solidFill>
              </a:rPr>
              <a:t>ESCI is driving change across the European Education Area </a:t>
            </a:r>
          </a:p>
          <a:p>
            <a:pPr marL="285750" indent="-285750">
              <a:lnSpc>
                <a:spcPts val="2160"/>
              </a:lnSpc>
              <a:buFont typeface="Arial" panose="020B0604020202020204" pitchFamily="34" charset="0"/>
              <a:buChar char="•"/>
            </a:pPr>
            <a:r>
              <a:rPr lang="en-IE" sz="1350">
                <a:solidFill>
                  <a:srgbClr val="002060"/>
                </a:solidFill>
              </a:rPr>
              <a:t>Encouraging investments in </a:t>
            </a:r>
            <a:r>
              <a:rPr lang="en-US" sz="1350">
                <a:solidFill>
                  <a:srgbClr val="002060"/>
                </a:solidFill>
              </a:rPr>
              <a:t>digital infrastructure in higher education </a:t>
            </a:r>
          </a:p>
          <a:p>
            <a:pPr marL="285750" indent="-285750">
              <a:lnSpc>
                <a:spcPts val="2160"/>
              </a:lnSpc>
              <a:buFont typeface="Arial" panose="020B0604020202020204" pitchFamily="34" charset="0"/>
              <a:buChar char="•"/>
            </a:pPr>
            <a:r>
              <a:rPr lang="en-US" sz="1350">
                <a:solidFill>
                  <a:srgbClr val="002060"/>
                </a:solidFill>
              </a:rPr>
              <a:t>Connecting higher education institutions</a:t>
            </a:r>
          </a:p>
          <a:p>
            <a:pPr marL="285750" indent="-285750">
              <a:lnSpc>
                <a:spcPts val="2160"/>
              </a:lnSpc>
              <a:buFont typeface="Arial" panose="020B0604020202020204" pitchFamily="34" charset="0"/>
              <a:buChar char="•"/>
            </a:pPr>
            <a:r>
              <a:rPr lang="en-US" sz="1350">
                <a:solidFill>
                  <a:srgbClr val="002060"/>
                </a:solidFill>
              </a:rPr>
              <a:t>Enhancing students’ mobility experience </a:t>
            </a:r>
            <a:endParaRPr lang="en-US" sz="1350">
              <a:solidFill>
                <a:srgbClr val="002060"/>
              </a:solidFill>
              <a:cs typeface="Arial"/>
            </a:endParaRPr>
          </a:p>
          <a:p>
            <a:pPr>
              <a:lnSpc>
                <a:spcPts val="2160"/>
              </a:lnSpc>
            </a:pPr>
            <a:r>
              <a:rPr lang="en-IE" sz="1350" b="1">
                <a:solidFill>
                  <a:srgbClr val="002060"/>
                </a:solidFill>
              </a:rPr>
              <a:t>This is how ESCI is building a Europe fit for the Digital Age</a:t>
            </a:r>
            <a:endParaRPr lang="en-US" sz="1350" b="1">
              <a:solidFill>
                <a:srgbClr val="002060"/>
              </a:solidFill>
            </a:endParaRPr>
          </a:p>
          <a:p>
            <a:pPr>
              <a:lnSpc>
                <a:spcPts val="2160"/>
              </a:lnSpc>
            </a:pPr>
            <a:endParaRPr lang="en-US" sz="1351" b="1">
              <a:solidFill>
                <a:srgbClr val="002060"/>
              </a:solidFill>
            </a:endParaRPr>
          </a:p>
          <a:p>
            <a:r>
              <a:rPr lang="en-US" sz="1350">
                <a:solidFill>
                  <a:srgbClr val="002060"/>
                </a:solidFill>
              </a:rPr>
              <a:t> </a:t>
            </a:r>
            <a:endParaRPr lang="fr-BE" sz="1350">
              <a:solidFill>
                <a:srgbClr val="002060"/>
              </a:solidFill>
            </a:endParaRPr>
          </a:p>
        </p:txBody>
      </p:sp>
      <p:pic>
        <p:nvPicPr>
          <p:cNvPr id="7" name="Picture 6" descr="A blue check mark in a square&#10;&#10;Description automatically generated">
            <a:extLst>
              <a:ext uri="{FF2B5EF4-FFF2-40B4-BE49-F238E27FC236}">
                <a16:creationId xmlns:a16="http://schemas.microsoft.com/office/drawing/2014/main" id="{025D093A-6611-5818-DD18-70F63E66B62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6014" y="2378862"/>
            <a:ext cx="1516487" cy="1373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01839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C540BD9-3CCE-F146-EB52-C85D439AB99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5400">
                <a:solidFill>
                  <a:schemeClr val="bg1"/>
                </a:solidFill>
              </a:rPr>
              <a:t>Erasmus Without Paper (EWP) overview</a:t>
            </a:r>
            <a:br>
              <a:rPr lang="en-US" sz="5400">
                <a:solidFill>
                  <a:schemeClr val="bg1"/>
                </a:solidFill>
              </a:rPr>
            </a:b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B2F7857-438B-4744-6CEF-6BC17B2CC99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1497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ép helye 4"/>
          <p:cNvPicPr>
            <a:picLocks noGrp="1" noChangeAspect="1"/>
          </p:cNvPicPr>
          <p:nvPr>
            <p:ph type="pic" sz="quarter" idx="1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3" name="Tartalom helye 2"/>
          <p:cNvSpPr>
            <a:spLocks noGrp="1"/>
          </p:cNvSpPr>
          <p:nvPr>
            <p:ph idx="14"/>
          </p:nvPr>
        </p:nvSpPr>
        <p:spPr>
          <a:xfrm>
            <a:off x="6448025" y="1270720"/>
            <a:ext cx="5443745" cy="5355272"/>
          </a:xfrm>
        </p:spPr>
        <p:txBody>
          <a:bodyPr/>
          <a:lstStyle/>
          <a:p>
            <a:pPr>
              <a:spcAft>
                <a:spcPts val="0"/>
              </a:spcAft>
              <a:buFont typeface="Arial Black"/>
              <a:buChar char="•"/>
            </a:pPr>
            <a:r>
              <a:rPr lang="en-US" b="1"/>
              <a:t>Over 3,200</a:t>
            </a:r>
            <a:r>
              <a:rPr lang="en-US"/>
              <a:t> higher education institutions (HEIs) connected across all Erasmus+ </a:t>
            </a:r>
            <a:r>
              <a:rPr lang="en-US" err="1"/>
              <a:t>programme</a:t>
            </a:r>
            <a:r>
              <a:rPr lang="en-US"/>
              <a:t> countries</a:t>
            </a:r>
          </a:p>
          <a:p>
            <a:pPr lvl="1">
              <a:spcBef>
                <a:spcPts val="600"/>
              </a:spcBef>
              <a:spcAft>
                <a:spcPts val="0"/>
              </a:spcAft>
              <a:buFont typeface="Arial Black"/>
              <a:buChar char="•"/>
            </a:pPr>
            <a:r>
              <a:rPr lang="en-US" sz="2400" b="1"/>
              <a:t>20</a:t>
            </a:r>
            <a:r>
              <a:rPr lang="en-US" sz="2400"/>
              <a:t> </a:t>
            </a:r>
            <a:r>
              <a:rPr lang="de-DE" sz="2400"/>
              <a:t>t</a:t>
            </a:r>
            <a:r>
              <a:rPr lang="en-US" sz="2400" err="1"/>
              <a:t>hird</a:t>
            </a:r>
            <a:r>
              <a:rPr lang="en-US" sz="2400"/>
              <a:t>-party providers</a:t>
            </a:r>
          </a:p>
          <a:p>
            <a:pPr lvl="1">
              <a:spcBef>
                <a:spcPts val="600"/>
              </a:spcBef>
              <a:spcAft>
                <a:spcPts val="0"/>
              </a:spcAft>
              <a:buFont typeface="Arial Black"/>
              <a:buChar char="•"/>
            </a:pPr>
            <a:r>
              <a:rPr lang="en-US" sz="2400" b="1"/>
              <a:t>38</a:t>
            </a:r>
            <a:r>
              <a:rPr lang="en-US" sz="2400"/>
              <a:t> in-house systems</a:t>
            </a:r>
          </a:p>
          <a:p>
            <a:pPr lvl="1">
              <a:spcBef>
                <a:spcPts val="600"/>
              </a:spcBef>
              <a:spcAft>
                <a:spcPts val="0"/>
              </a:spcAft>
              <a:buFont typeface="Arial Black"/>
              <a:buChar char="•"/>
            </a:pPr>
            <a:r>
              <a:rPr lang="en-US" sz="2400" b="1"/>
              <a:t>EWP Dashboard</a:t>
            </a:r>
            <a:r>
              <a:rPr lang="en-US" sz="2400"/>
              <a:t>:</a:t>
            </a:r>
            <a:r>
              <a:rPr lang="en-US" sz="2400" b="1"/>
              <a:t> </a:t>
            </a:r>
            <a:r>
              <a:rPr lang="en-US" sz="2400"/>
              <a:t>EC-funded solution</a:t>
            </a:r>
          </a:p>
          <a:p>
            <a:pPr>
              <a:spcAft>
                <a:spcPts val="0"/>
              </a:spcAft>
              <a:buFont typeface="Arial Black"/>
              <a:buChar char="•"/>
            </a:pPr>
            <a:r>
              <a:rPr lang="en-US" b="1"/>
              <a:t>2/3 of all ECHE holders </a:t>
            </a:r>
            <a:r>
              <a:rPr lang="en-US"/>
              <a:t>exchange successfully on EWP.</a:t>
            </a:r>
          </a:p>
          <a:p>
            <a:pPr>
              <a:spcAft>
                <a:spcPts val="0"/>
              </a:spcAft>
              <a:buFont typeface="Arial Black"/>
              <a:buChar char="•"/>
            </a:pPr>
            <a:r>
              <a:rPr lang="en-US" b="1"/>
              <a:t>Erasmus+ App</a:t>
            </a:r>
            <a:r>
              <a:rPr lang="en-US"/>
              <a:t> backend connected to the EWP Dashboard and HOME module</a:t>
            </a:r>
            <a:endParaRPr lang="fr-BE"/>
          </a:p>
          <a:p>
            <a:pPr marL="0" indent="0">
              <a:buNone/>
            </a:pPr>
            <a:endParaRPr lang="nl-BE"/>
          </a:p>
        </p:txBody>
      </p:sp>
      <p:sp>
        <p:nvSpPr>
          <p:cNvPr id="4" name="Szöveg helye 3"/>
          <p:cNvSpPr>
            <a:spLocks noGrp="1"/>
          </p:cNvSpPr>
          <p:nvPr>
            <p:ph type="body" sz="quarter" idx="15"/>
          </p:nvPr>
        </p:nvSpPr>
        <p:spPr>
          <a:xfrm>
            <a:off x="6590211" y="536800"/>
            <a:ext cx="5159374" cy="646290"/>
          </a:xfrm>
        </p:spPr>
        <p:txBody>
          <a:bodyPr/>
          <a:lstStyle/>
          <a:p>
            <a:r>
              <a:rPr lang="sk-SK" sz="3600"/>
              <a:t>EWP </a:t>
            </a:r>
            <a:r>
              <a:rPr lang="en-GB" sz="3600"/>
              <a:t>statistics</a:t>
            </a:r>
            <a:endParaRPr lang="sk-SK" sz="3600">
              <a:cs typeface="Arial"/>
            </a:endParaRPr>
          </a:p>
        </p:txBody>
      </p:sp>
      <p:pic>
        <p:nvPicPr>
          <p:cNvPr id="8" name="Kép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8035" y="6065169"/>
            <a:ext cx="1283211" cy="466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34002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graph of blue rectangular shapes with numbers and a white background&#10;&#10;AI-generated content may be incorrect.">
            <a:extLst>
              <a:ext uri="{FF2B5EF4-FFF2-40B4-BE49-F238E27FC236}">
                <a16:creationId xmlns:a16="http://schemas.microsoft.com/office/drawing/2014/main" id="{E1F23CCA-6CAF-0C57-D1BD-DE18C4C0BD0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3325" r="18819" b="-2"/>
          <a:stretch/>
        </p:blipFill>
        <p:spPr>
          <a:xfrm>
            <a:off x="6402250" y="1825625"/>
            <a:ext cx="5328000" cy="3906435"/>
          </a:xfrm>
          <a:prstGeom prst="rect">
            <a:avLst/>
          </a:prstGeom>
          <a:noFill/>
        </p:spPr>
      </p:pic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4160A252-A32D-2C6B-BFF4-A090084F67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97524" y="6131286"/>
            <a:ext cx="2743200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F46C79FD-C571-418B-AB0F-5EE936C85276}" type="slidenum">
              <a:rPr lang="en-GB" smtClean="0"/>
              <a:pPr>
                <a:spcAft>
                  <a:spcPts val="600"/>
                </a:spcAft>
              </a:pPr>
              <a:t>7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E3B047-835B-DC42-4C83-82948B4E37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</p:spPr>
        <p:txBody>
          <a:bodyPr wrap="square" anchor="b">
            <a:normAutofit/>
          </a:bodyPr>
          <a:lstStyle/>
          <a:p>
            <a:r>
              <a:rPr lang="en-US" sz="3700"/>
              <a:t>Steady growth in digital exchanges through EWP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B68C3B-35EA-B542-17DE-CE3DBFA0CDE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42890" y="1825625"/>
            <a:ext cx="5253110" cy="4225219"/>
          </a:xfrm>
        </p:spPr>
        <p:txBody>
          <a:bodyPr wrap="square" anchor="t">
            <a:normAutofit/>
          </a:bodyPr>
          <a:lstStyle/>
          <a:p>
            <a:pPr marL="0" indent="0" algn="just">
              <a:buNone/>
            </a:pPr>
            <a:r>
              <a:rPr lang="en-US" sz="1800" dirty="0"/>
              <a:t>There are close to </a:t>
            </a:r>
            <a:r>
              <a:rPr lang="en-US" sz="1800" b="1" dirty="0"/>
              <a:t>250,000 Erasmus+ outgoing student mobilities for studies every year</a:t>
            </a:r>
            <a:r>
              <a:rPr lang="en-US" sz="1800" dirty="0"/>
              <a:t>.</a:t>
            </a:r>
          </a:p>
          <a:p>
            <a:pPr marL="0" indent="0" algn="just">
              <a:buNone/>
            </a:pPr>
            <a:endParaRPr lang="en-US" sz="1800" dirty="0"/>
          </a:p>
          <a:p>
            <a:pPr algn="just"/>
            <a:r>
              <a:rPr lang="en-US" sz="1800" b="1" dirty="0">
                <a:solidFill>
                  <a:srgbClr val="3492FB"/>
                </a:solidFill>
              </a:rPr>
              <a:t>Light blue</a:t>
            </a:r>
            <a:r>
              <a:rPr lang="en-US" sz="1800" dirty="0">
                <a:solidFill>
                  <a:srgbClr val="4D4D4D"/>
                </a:solidFill>
              </a:rPr>
              <a:t>: total number of outgoing student mobilities for studies (SMS) as reported in the Beneficiary Module (BM). </a:t>
            </a:r>
          </a:p>
          <a:p>
            <a:pPr algn="just"/>
            <a:r>
              <a:rPr lang="en-US" sz="1800" b="1" dirty="0">
                <a:solidFill>
                  <a:srgbClr val="023B7A"/>
                </a:solidFill>
              </a:rPr>
              <a:t>Dark blue</a:t>
            </a:r>
            <a:r>
              <a:rPr lang="en-US" sz="1800" dirty="0">
                <a:solidFill>
                  <a:srgbClr val="4D4D4D"/>
                </a:solidFill>
              </a:rPr>
              <a:t>: percentage of digital learning agreements (DLAs) signed through the EWP Network as reported in the EWP Stats Portal.</a:t>
            </a:r>
            <a:endParaRPr lang="en-US" sz="2800" dirty="0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40450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A95F5B-35E9-21B2-8D10-D6A4C788C6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514097-24C8-39A5-8E40-141D1EE82D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10697"/>
            <a:ext cx="10515600" cy="782357"/>
          </a:xfrm>
        </p:spPr>
        <p:txBody>
          <a:bodyPr/>
          <a:lstStyle/>
          <a:p>
            <a:r>
              <a:rPr lang="en-US">
                <a:solidFill>
                  <a:srgbClr val="3B2C71"/>
                </a:solidFill>
              </a:rPr>
              <a:t>Inter-institutional agreements (IIAs) in EW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3A23A4-95EE-B91A-F478-96BC56B778B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A3FED6-A479-4C51-AC77-2E6E772484F6}" type="slidenum">
              <a:rPr lang="en-GB" altLang="fr-FR"/>
              <a:pPr/>
              <a:t>8</a:t>
            </a:fld>
            <a:endParaRPr lang="en-GB" altLang="fr-FR"/>
          </a:p>
        </p:txBody>
      </p:sp>
      <p:graphicFrame>
        <p:nvGraphicFramePr>
          <p:cNvPr id="581" name="Content Placeholder 4">
            <a:extLst>
              <a:ext uri="{FF2B5EF4-FFF2-40B4-BE49-F238E27FC236}">
                <a16:creationId xmlns:a16="http://schemas.microsoft.com/office/drawing/2014/main" id="{DBC276EA-7CE1-BFB6-063B-ECFD0423678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65934586"/>
              </p:ext>
            </p:extLst>
          </p:nvPr>
        </p:nvGraphicFramePr>
        <p:xfrm>
          <a:off x="1126922" y="1791995"/>
          <a:ext cx="9938157" cy="35176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0373071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117FEC1-A68F-AC2D-6AFA-D1F316B3B6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97524" y="6131286"/>
            <a:ext cx="365963" cy="365125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fld id="{F46C79FD-C571-418B-AB0F-5EE936C85276}" type="slidenum">
              <a:rPr lang="en-GB" smtClean="0"/>
              <a:pPr>
                <a:spcAft>
                  <a:spcPts val="600"/>
                </a:spcAft>
              </a:pPr>
              <a:t>9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E7837E8-189F-FB31-034D-B36D314A23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</p:spPr>
        <p:txBody>
          <a:bodyPr wrap="square" anchor="b">
            <a:normAutofit/>
          </a:bodyPr>
          <a:lstStyle/>
          <a:p>
            <a:r>
              <a:rPr lang="en-US" dirty="0"/>
              <a:t>Cyprus snapshot – EWP 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9190799-ACA2-7FEA-BD39-E0B7770A34B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42890" y="1475782"/>
            <a:ext cx="5253110" cy="3906436"/>
          </a:xfrm>
        </p:spPr>
        <p:txBody>
          <a:bodyPr wrap="square" anchor="t">
            <a:normAutofit fontScale="85000" lnSpcReduction="20000"/>
          </a:bodyPr>
          <a:lstStyle/>
          <a:p>
            <a:pPr lvl="1">
              <a:lnSpc>
                <a:spcPct val="90000"/>
              </a:lnSpc>
            </a:pPr>
            <a:r>
              <a:rPr lang="en-US" b="1" dirty="0"/>
              <a:t>40 </a:t>
            </a:r>
            <a:r>
              <a:rPr lang="en-US" dirty="0">
                <a:hlinkClick r:id="rId2"/>
              </a:rPr>
              <a:t>ECHE holders</a:t>
            </a:r>
            <a:r>
              <a:rPr lang="en-US" dirty="0"/>
              <a:t> (as of 22 Aug 2025)</a:t>
            </a:r>
          </a:p>
          <a:p>
            <a:pPr lvl="1">
              <a:lnSpc>
                <a:spcPct val="90000"/>
              </a:lnSpc>
            </a:pPr>
            <a:r>
              <a:rPr lang="en-US" b="1" dirty="0"/>
              <a:t>34</a:t>
            </a:r>
            <a:r>
              <a:rPr lang="en-US" dirty="0"/>
              <a:t> institutions are connected to the EWP Network and exchanging</a:t>
            </a:r>
          </a:p>
          <a:p>
            <a:pPr lvl="1">
              <a:lnSpc>
                <a:spcPct val="90000"/>
              </a:lnSpc>
            </a:pPr>
            <a:r>
              <a:rPr lang="en-US" b="1" dirty="0"/>
              <a:t>2 </a:t>
            </a:r>
            <a:r>
              <a:rPr lang="en-US" dirty="0"/>
              <a:t>institutions are connected to the EWP Network but are not exchanging</a:t>
            </a:r>
          </a:p>
          <a:p>
            <a:pPr lvl="1">
              <a:lnSpc>
                <a:spcPct val="90000"/>
              </a:lnSpc>
            </a:pPr>
            <a:r>
              <a:rPr lang="en-US" b="1" dirty="0"/>
              <a:t>4 </a:t>
            </a:r>
            <a:r>
              <a:rPr lang="en-US" dirty="0"/>
              <a:t>institutions are not connected to the EWP Network</a:t>
            </a:r>
          </a:p>
          <a:p>
            <a:pPr lvl="1">
              <a:lnSpc>
                <a:spcPct val="90000"/>
              </a:lnSpc>
            </a:pPr>
            <a:r>
              <a:rPr lang="en-US" sz="2000" b="1" dirty="0"/>
              <a:t>System used</a:t>
            </a:r>
            <a:r>
              <a:rPr lang="en-US" sz="2000" dirty="0"/>
              <a:t>: 1: EWP Dashboard</a:t>
            </a:r>
          </a:p>
        </p:txBody>
      </p:sp>
      <p:pic>
        <p:nvPicPr>
          <p:cNvPr id="5" name="Picture 4" descr="A flag with a flag and a flag with a flag and a flag with a flag and a flag with a flag and a flag with a flag and a flag with a flag and a flag with&#10;&#10;AI-generated content may be incorrect.">
            <a:extLst>
              <a:ext uri="{FF2B5EF4-FFF2-40B4-BE49-F238E27FC236}">
                <a16:creationId xmlns:a16="http://schemas.microsoft.com/office/drawing/2014/main" id="{1F4A85B9-8C00-B454-952D-0DE3639BBA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90465" y="1802553"/>
            <a:ext cx="5421489" cy="325289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3865A35-0FB1-6BC2-20AD-3D0D25E3BD89}"/>
              </a:ext>
            </a:extLst>
          </p:cNvPr>
          <p:cNvSpPr txBox="1"/>
          <p:nvPr/>
        </p:nvSpPr>
        <p:spPr>
          <a:xfrm>
            <a:off x="1160314" y="6006071"/>
            <a:ext cx="6096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/>
              <a:t>Source: </a:t>
            </a:r>
            <a:r>
              <a:rPr lang="en-GB" dirty="0">
                <a:hlinkClick r:id="rId4"/>
              </a:rPr>
              <a:t>EWP Stats Portal, Sep 2025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1095503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Office Theme">
  <a:themeElements>
    <a:clrScheme name="EC colour scheme">
      <a:dk1>
        <a:srgbClr val="4D4D4D"/>
      </a:dk1>
      <a:lt1>
        <a:srgbClr val="FFFFFF"/>
      </a:lt1>
      <a:dk2>
        <a:srgbClr val="034EA2"/>
      </a:dk2>
      <a:lt2>
        <a:srgbClr val="D3E8F9"/>
      </a:lt2>
      <a:accent1>
        <a:srgbClr val="1E858B"/>
      </a:accent1>
      <a:accent2>
        <a:srgbClr val="4BC5DE"/>
      </a:accent2>
      <a:accent3>
        <a:srgbClr val="1EC08A"/>
      </a:accent3>
      <a:accent4>
        <a:srgbClr val="ED8D2F"/>
      </a:accent4>
      <a:accent5>
        <a:srgbClr val="FFC000"/>
      </a:accent5>
      <a:accent6>
        <a:srgbClr val="E76C53"/>
      </a:accent6>
      <a:hlink>
        <a:srgbClr val="0563C1"/>
      </a:hlink>
      <a:folHlink>
        <a:srgbClr val="24337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C_Corporate_PPT_Template_accessible_2023.pptx" id="{EC878A57-382A-4C39-A584-1AF0C626172A}" vid="{130AD24A-F7AC-477C-91ED-41AA5CF2692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06b583f-4acc-4bb7-ba6c-da4e49453f02">
      <Terms xmlns="http://schemas.microsoft.com/office/infopath/2007/PartnerControls"/>
    </lcf76f155ced4ddcb4097134ff3c332f>
    <TaxCatchAll xmlns="feb3fe3e-1f73-4b77-a62e-c224d1e95086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9B1DABA4ADB004A938639AD61BC7E8B" ma:contentTypeVersion="10" ma:contentTypeDescription="Create a new document." ma:contentTypeScope="" ma:versionID="7c314417bed4c6848cc1b6c8b75f78bf">
  <xsd:schema xmlns:xsd="http://www.w3.org/2001/XMLSchema" xmlns:xs="http://www.w3.org/2001/XMLSchema" xmlns:p="http://schemas.microsoft.com/office/2006/metadata/properties" xmlns:ns2="606b583f-4acc-4bb7-ba6c-da4e49453f02" xmlns:ns3="feb3fe3e-1f73-4b77-a62e-c224d1e95086" targetNamespace="http://schemas.microsoft.com/office/2006/metadata/properties" ma:root="true" ma:fieldsID="ded4bee466e7320a6e1101787790ac1b" ns2:_="" ns3:_="">
    <xsd:import namespace="606b583f-4acc-4bb7-ba6c-da4e49453f02"/>
    <xsd:import namespace="feb3fe3e-1f73-4b77-a62e-c224d1e9508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06b583f-4acc-4bb7-ba6c-da4e49453f0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22b2fad6-9d2c-441c-a321-3f5f1e9bd92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b3fe3e-1f73-4b77-a62e-c224d1e95086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48236840-948a-4e07-99bc-ac7da30d35d4}" ma:internalName="TaxCatchAll" ma:showField="CatchAllData" ma:web="feb3fe3e-1f73-4b77-a62e-c224d1e9508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E7A2FC8-2021-4FD3-846C-6F5EFFDE170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1295ED4-1957-41D6-AD2C-A0D6427B34DD}">
  <ds:schemaRefs>
    <ds:schemaRef ds:uri="http://purl.org/dc/terms/"/>
    <ds:schemaRef ds:uri="http://schemas.openxmlformats.org/package/2006/metadata/core-properties"/>
    <ds:schemaRef ds:uri="http://purl.org/dc/elements/1.1/"/>
    <ds:schemaRef ds:uri="606b583f-4acc-4bb7-ba6c-da4e49453f02"/>
    <ds:schemaRef ds:uri="http://www.w3.org/XML/1998/namespace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purl.org/dc/dcmitype/"/>
    <ds:schemaRef ds:uri="feb3fe3e-1f73-4b77-a62e-c224d1e95086"/>
  </ds:schemaRefs>
</ds:datastoreItem>
</file>

<file path=customXml/itemProps3.xml><?xml version="1.0" encoding="utf-8"?>
<ds:datastoreItem xmlns:ds="http://schemas.openxmlformats.org/officeDocument/2006/customXml" ds:itemID="{DDB106FC-896D-455C-9DB7-C4AFE13B465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06b583f-4acc-4bb7-ba6c-da4e49453f02"/>
    <ds:schemaRef ds:uri="feb3fe3e-1f73-4b77-a62e-c224d1e9508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8</TotalTime>
  <Words>1946</Words>
  <Application>Microsoft Office PowerPoint</Application>
  <PresentationFormat>Widescreen</PresentationFormat>
  <Paragraphs>368</Paragraphs>
  <Slides>31</Slides>
  <Notes>7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32" baseType="lpstr">
      <vt:lpstr>Office Theme</vt:lpstr>
      <vt:lpstr>ESCI Day Cyprus</vt:lpstr>
      <vt:lpstr>The European Student Card Initiative (ESCI) </vt:lpstr>
      <vt:lpstr>European Student Card Initiative</vt:lpstr>
      <vt:lpstr>PowerPoint Presentation</vt:lpstr>
      <vt:lpstr>Erasmus Without Paper (EWP) overview </vt:lpstr>
      <vt:lpstr>PowerPoint Presentation</vt:lpstr>
      <vt:lpstr>Steady growth in digital exchanges through EWP</vt:lpstr>
      <vt:lpstr>Inter-institutional agreements (IIAs) in EWP</vt:lpstr>
      <vt:lpstr>Cyprus snapshot – EWP </vt:lpstr>
      <vt:lpstr>2024 EWP digitalisation rate in Cyprus:</vt:lpstr>
      <vt:lpstr>Top HEIs in Cyprus by outgoing student mobility</vt:lpstr>
      <vt:lpstr>Main findings</vt:lpstr>
      <vt:lpstr>European Student Card (ESC) overview </vt:lpstr>
      <vt:lpstr>The European Student Card (ESC)</vt:lpstr>
      <vt:lpstr>The European Student Card (ESC)</vt:lpstr>
      <vt:lpstr>ESC state of play</vt:lpstr>
      <vt:lpstr>Cyprus snapshot – ESC</vt:lpstr>
      <vt:lpstr>2024 ESC adoption rate in Cyprus</vt:lpstr>
      <vt:lpstr>Main insights</vt:lpstr>
      <vt:lpstr>ESCI - Outlook until the end of the Erasmus+ programme</vt:lpstr>
      <vt:lpstr>Guiding principles</vt:lpstr>
      <vt:lpstr>European Student Card</vt:lpstr>
      <vt:lpstr>Erasmus Without Paper</vt:lpstr>
      <vt:lpstr>ESCI Champions</vt:lpstr>
      <vt:lpstr>ESCI Champions </vt:lpstr>
      <vt:lpstr>ESCI Champions kick-off meeting – Gothenburg (09 Sep 2025)</vt:lpstr>
      <vt:lpstr>UPCOMING! ESCI Community Space</vt:lpstr>
      <vt:lpstr>Useful resources</vt:lpstr>
      <vt:lpstr>Support and useful resources – EWP</vt:lpstr>
      <vt:lpstr>Useful resources ESC</vt:lpstr>
      <vt:lpstr>Thank you! </vt:lpstr>
    </vt:vector>
  </TitlesOfParts>
  <Company>European Commiss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pport and consultation channels</dc:title>
  <dc:creator>ARNARSDOTTIR Harpa Sif (EAC-EXT)</dc:creator>
  <cp:lastModifiedBy>AGUILAR MENDEZ Victor (EAC)</cp:lastModifiedBy>
  <cp:revision>4</cp:revision>
  <dcterms:created xsi:type="dcterms:W3CDTF">2024-06-27T07:32:08Z</dcterms:created>
  <dcterms:modified xsi:type="dcterms:W3CDTF">2025-09-30T16:44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9B1DABA4ADB004A938639AD61BC7E8B</vt:lpwstr>
  </property>
  <property fmtid="{D5CDD505-2E9C-101B-9397-08002B2CF9AE}" pid="3" name="MSIP_Label_6bd9ddd1-4d20-43f6-abfa-fc3c07406f94_Enabled">
    <vt:lpwstr>true</vt:lpwstr>
  </property>
  <property fmtid="{D5CDD505-2E9C-101B-9397-08002B2CF9AE}" pid="4" name="MSIP_Label_6bd9ddd1-4d20-43f6-abfa-fc3c07406f94_SetDate">
    <vt:lpwstr>2023-09-26T10:27:54Z</vt:lpwstr>
  </property>
  <property fmtid="{D5CDD505-2E9C-101B-9397-08002B2CF9AE}" pid="5" name="MSIP_Label_6bd9ddd1-4d20-43f6-abfa-fc3c07406f94_Method">
    <vt:lpwstr>Standard</vt:lpwstr>
  </property>
  <property fmtid="{D5CDD505-2E9C-101B-9397-08002B2CF9AE}" pid="6" name="MSIP_Label_6bd9ddd1-4d20-43f6-abfa-fc3c07406f94_Name">
    <vt:lpwstr>Commission Use</vt:lpwstr>
  </property>
  <property fmtid="{D5CDD505-2E9C-101B-9397-08002B2CF9AE}" pid="7" name="MSIP_Label_6bd9ddd1-4d20-43f6-abfa-fc3c07406f94_SiteId">
    <vt:lpwstr>b24c8b06-522c-46fe-9080-70926f8dddb1</vt:lpwstr>
  </property>
  <property fmtid="{D5CDD505-2E9C-101B-9397-08002B2CF9AE}" pid="8" name="MSIP_Label_6bd9ddd1-4d20-43f6-abfa-fc3c07406f94_ActionId">
    <vt:lpwstr>5f9041e0-26c3-439f-9557-91c751557f9e</vt:lpwstr>
  </property>
  <property fmtid="{D5CDD505-2E9C-101B-9397-08002B2CF9AE}" pid="9" name="MSIP_Label_6bd9ddd1-4d20-43f6-abfa-fc3c07406f94_ContentBits">
    <vt:lpwstr>0</vt:lpwstr>
  </property>
  <property fmtid="{D5CDD505-2E9C-101B-9397-08002B2CF9AE}" pid="10" name="MediaServiceImageTags">
    <vt:lpwstr/>
  </property>
</Properties>
</file>